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472383" r:id="rId2"/>
  </p:sldIdLst>
  <p:sldSz cx="18288000" cy="10287000"/>
  <p:notesSz cx="6858000" cy="9144000"/>
  <p:embeddedFontLst>
    <p:embeddedFont>
      <p:font typeface="Lato" panose="020F0502020204030203" pitchFamily="34" charset="0"/>
      <p:regular r:id="rId4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font" Target="fonts/font1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" name="Title 332">
            <a:extLst>
              <a:ext uri="{FF2B5EF4-FFF2-40B4-BE49-F238E27FC236}">
                <a16:creationId xmlns:a16="http://schemas.microsoft.com/office/drawing/2014/main" id="{D997407C-D019-C494-2E0B-9932D71B69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p Insight</a:t>
            </a:r>
          </a:p>
        </p:txBody>
      </p:sp>
      <p:sp>
        <p:nvSpPr>
          <p:cNvPr id="335" name="Rectangle 334">
            <a:extLst>
              <a:ext uri="{FF2B5EF4-FFF2-40B4-BE49-F238E27FC236}">
                <a16:creationId xmlns:a16="http://schemas.microsoft.com/office/drawing/2014/main" id="{3F7F07AD-5B48-EF47-E1A9-050A9A9C1862}"/>
              </a:ext>
            </a:extLst>
          </p:cNvPr>
          <p:cNvSpPr/>
          <p:nvPr/>
        </p:nvSpPr>
        <p:spPr>
          <a:xfrm>
            <a:off x="12039600" y="2482189"/>
            <a:ext cx="5534024" cy="614051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360000" indent="-360000">
              <a:spcBef>
                <a:spcPts val="300"/>
              </a:spcBef>
              <a:spcAft>
                <a:spcPts val="300"/>
              </a:spcAft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unc viverra imperdiet enim. Fusce est. Vivamus a tellus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llentesque habitant morbi tristique senectus et netus et malesuada fames ac turpis egestas. Proin pharetra nonummy pede. Mauris et orci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enean nec lorem. In porttitor. Donec laoreet nonummy augue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SzPct val="100000"/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uspendisse dui purus, scelerisque at, vulputate vitae, pretium mattis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636" name="Group 635">
            <a:extLst>
              <a:ext uri="{FF2B5EF4-FFF2-40B4-BE49-F238E27FC236}">
                <a16:creationId xmlns:a16="http://schemas.microsoft.com/office/drawing/2014/main" id="{766757FD-1C76-317C-63D0-52D3EBCF2B9B}"/>
              </a:ext>
            </a:extLst>
          </p:cNvPr>
          <p:cNvGrpSpPr>
            <a:grpSpLocks noChangeAspect="1"/>
          </p:cNvGrpSpPr>
          <p:nvPr/>
        </p:nvGrpSpPr>
        <p:grpSpPr>
          <a:xfrm>
            <a:off x="914400" y="2482189"/>
            <a:ext cx="10376286" cy="6140510"/>
            <a:chOff x="13290763" y="1598535"/>
            <a:chExt cx="8860930" cy="5243748"/>
          </a:xfrm>
          <a:solidFill>
            <a:schemeClr val="accent2"/>
          </a:solidFill>
        </p:grpSpPr>
        <p:sp>
          <p:nvSpPr>
            <p:cNvPr id="637" name="Freeform 5">
              <a:extLst>
                <a:ext uri="{FF2B5EF4-FFF2-40B4-BE49-F238E27FC236}">
                  <a16:creationId xmlns:a16="http://schemas.microsoft.com/office/drawing/2014/main" id="{C0850695-69DE-751A-2C71-D8938F62DA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03438" y="3426319"/>
              <a:ext cx="55861" cy="27522"/>
            </a:xfrm>
            <a:custGeom>
              <a:avLst/>
              <a:gdLst/>
              <a:ahLst/>
              <a:cxnLst>
                <a:cxn ang="0">
                  <a:pos x="1" y="7"/>
                </a:cxn>
                <a:cxn ang="0">
                  <a:pos x="1" y="6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12" y="2"/>
                </a:cxn>
                <a:cxn ang="0">
                  <a:pos x="14" y="2"/>
                </a:cxn>
                <a:cxn ang="0">
                  <a:pos x="14" y="4"/>
                </a:cxn>
                <a:cxn ang="0">
                  <a:pos x="17" y="2"/>
                </a:cxn>
                <a:cxn ang="0">
                  <a:pos x="17" y="2"/>
                </a:cxn>
                <a:cxn ang="0">
                  <a:pos x="11" y="6"/>
                </a:cxn>
                <a:cxn ang="0">
                  <a:pos x="8" y="7"/>
                </a:cxn>
                <a:cxn ang="0">
                  <a:pos x="4" y="7"/>
                </a:cxn>
                <a:cxn ang="0">
                  <a:pos x="1" y="9"/>
                </a:cxn>
                <a:cxn ang="0">
                  <a:pos x="1" y="7"/>
                </a:cxn>
              </a:cxnLst>
              <a:rect l="0" t="0" r="r" b="b"/>
              <a:pathLst>
                <a:path w="18" h="9">
                  <a:moveTo>
                    <a:pt x="1" y="7"/>
                  </a:moveTo>
                  <a:cubicBezTo>
                    <a:pt x="0" y="7"/>
                    <a:pt x="0" y="7"/>
                    <a:pt x="1" y="6"/>
                  </a:cubicBezTo>
                  <a:cubicBezTo>
                    <a:pt x="4" y="4"/>
                    <a:pt x="3" y="4"/>
                    <a:pt x="4" y="4"/>
                  </a:cubicBezTo>
                  <a:cubicBezTo>
                    <a:pt x="6" y="4"/>
                    <a:pt x="6" y="4"/>
                    <a:pt x="8" y="4"/>
                  </a:cubicBezTo>
                  <a:cubicBezTo>
                    <a:pt x="9" y="2"/>
                    <a:pt x="11" y="4"/>
                    <a:pt x="12" y="2"/>
                  </a:cubicBezTo>
                  <a:cubicBezTo>
                    <a:pt x="15" y="0"/>
                    <a:pt x="17" y="0"/>
                    <a:pt x="14" y="2"/>
                  </a:cubicBezTo>
                  <a:cubicBezTo>
                    <a:pt x="12" y="4"/>
                    <a:pt x="12" y="4"/>
                    <a:pt x="14" y="4"/>
                  </a:cubicBezTo>
                  <a:cubicBezTo>
                    <a:pt x="15" y="2"/>
                    <a:pt x="15" y="4"/>
                    <a:pt x="17" y="2"/>
                  </a:cubicBezTo>
                  <a:cubicBezTo>
                    <a:pt x="18" y="2"/>
                    <a:pt x="18" y="2"/>
                    <a:pt x="17" y="2"/>
                  </a:cubicBezTo>
                  <a:cubicBezTo>
                    <a:pt x="15" y="4"/>
                    <a:pt x="12" y="6"/>
                    <a:pt x="11" y="6"/>
                  </a:cubicBezTo>
                  <a:cubicBezTo>
                    <a:pt x="9" y="6"/>
                    <a:pt x="9" y="7"/>
                    <a:pt x="8" y="7"/>
                  </a:cubicBezTo>
                  <a:cubicBezTo>
                    <a:pt x="6" y="7"/>
                    <a:pt x="4" y="7"/>
                    <a:pt x="4" y="7"/>
                  </a:cubicBezTo>
                  <a:cubicBezTo>
                    <a:pt x="4" y="9"/>
                    <a:pt x="1" y="9"/>
                    <a:pt x="1" y="9"/>
                  </a:cubicBezTo>
                  <a:cubicBezTo>
                    <a:pt x="3" y="7"/>
                    <a:pt x="3" y="7"/>
                    <a:pt x="1" y="7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38" name="Freeform 7">
              <a:extLst>
                <a:ext uri="{FF2B5EF4-FFF2-40B4-BE49-F238E27FC236}">
                  <a16:creationId xmlns:a16="http://schemas.microsoft.com/office/drawing/2014/main" id="{45B64132-6B7A-3A0A-F11C-1D4A6575FA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13243" y="2437146"/>
              <a:ext cx="279309" cy="147324"/>
            </a:xfrm>
            <a:custGeom>
              <a:avLst/>
              <a:gdLst/>
              <a:ahLst/>
              <a:cxnLst>
                <a:cxn ang="0">
                  <a:pos x="81" y="13"/>
                </a:cxn>
                <a:cxn ang="0">
                  <a:pos x="86" y="16"/>
                </a:cxn>
                <a:cxn ang="0">
                  <a:pos x="89" y="25"/>
                </a:cxn>
                <a:cxn ang="0">
                  <a:pos x="83" y="30"/>
                </a:cxn>
                <a:cxn ang="0">
                  <a:pos x="72" y="34"/>
                </a:cxn>
                <a:cxn ang="0">
                  <a:pos x="60" y="41"/>
                </a:cxn>
                <a:cxn ang="0">
                  <a:pos x="51" y="45"/>
                </a:cxn>
                <a:cxn ang="0">
                  <a:pos x="40" y="44"/>
                </a:cxn>
                <a:cxn ang="0">
                  <a:pos x="26" y="39"/>
                </a:cxn>
                <a:cxn ang="0">
                  <a:pos x="17" y="37"/>
                </a:cxn>
                <a:cxn ang="0">
                  <a:pos x="22" y="36"/>
                </a:cxn>
                <a:cxn ang="0">
                  <a:pos x="20" y="30"/>
                </a:cxn>
                <a:cxn ang="0">
                  <a:pos x="17" y="27"/>
                </a:cxn>
                <a:cxn ang="0">
                  <a:pos x="7" y="25"/>
                </a:cxn>
                <a:cxn ang="0">
                  <a:pos x="14" y="24"/>
                </a:cxn>
                <a:cxn ang="0">
                  <a:pos x="22" y="24"/>
                </a:cxn>
                <a:cxn ang="0">
                  <a:pos x="19" y="20"/>
                </a:cxn>
                <a:cxn ang="0">
                  <a:pos x="20" y="17"/>
                </a:cxn>
                <a:cxn ang="0">
                  <a:pos x="10" y="17"/>
                </a:cxn>
                <a:cxn ang="0">
                  <a:pos x="2" y="16"/>
                </a:cxn>
                <a:cxn ang="0">
                  <a:pos x="5" y="14"/>
                </a:cxn>
                <a:cxn ang="0">
                  <a:pos x="8" y="11"/>
                </a:cxn>
                <a:cxn ang="0">
                  <a:pos x="13" y="8"/>
                </a:cxn>
                <a:cxn ang="0">
                  <a:pos x="20" y="10"/>
                </a:cxn>
                <a:cxn ang="0">
                  <a:pos x="13" y="6"/>
                </a:cxn>
                <a:cxn ang="0">
                  <a:pos x="19" y="3"/>
                </a:cxn>
                <a:cxn ang="0">
                  <a:pos x="26" y="8"/>
                </a:cxn>
                <a:cxn ang="0">
                  <a:pos x="28" y="16"/>
                </a:cxn>
                <a:cxn ang="0">
                  <a:pos x="34" y="14"/>
                </a:cxn>
                <a:cxn ang="0">
                  <a:pos x="36" y="11"/>
                </a:cxn>
                <a:cxn ang="0">
                  <a:pos x="39" y="10"/>
                </a:cxn>
                <a:cxn ang="0">
                  <a:pos x="43" y="11"/>
                </a:cxn>
                <a:cxn ang="0">
                  <a:pos x="49" y="8"/>
                </a:cxn>
                <a:cxn ang="0">
                  <a:pos x="52" y="10"/>
                </a:cxn>
                <a:cxn ang="0">
                  <a:pos x="57" y="10"/>
                </a:cxn>
                <a:cxn ang="0">
                  <a:pos x="63" y="6"/>
                </a:cxn>
                <a:cxn ang="0">
                  <a:pos x="66" y="5"/>
                </a:cxn>
                <a:cxn ang="0">
                  <a:pos x="72" y="3"/>
                </a:cxn>
                <a:cxn ang="0">
                  <a:pos x="78" y="5"/>
                </a:cxn>
                <a:cxn ang="0">
                  <a:pos x="80" y="6"/>
                </a:cxn>
                <a:cxn ang="0">
                  <a:pos x="81" y="11"/>
                </a:cxn>
                <a:cxn ang="0">
                  <a:pos x="81" y="13"/>
                </a:cxn>
              </a:cxnLst>
              <a:rect l="0" t="0" r="r" b="b"/>
              <a:pathLst>
                <a:path w="90" h="47">
                  <a:moveTo>
                    <a:pt x="81" y="13"/>
                  </a:moveTo>
                  <a:cubicBezTo>
                    <a:pt x="84" y="13"/>
                    <a:pt x="83" y="14"/>
                    <a:pt x="86" y="16"/>
                  </a:cubicBezTo>
                  <a:cubicBezTo>
                    <a:pt x="90" y="16"/>
                    <a:pt x="90" y="22"/>
                    <a:pt x="89" y="25"/>
                  </a:cubicBezTo>
                  <a:cubicBezTo>
                    <a:pt x="86" y="28"/>
                    <a:pt x="86" y="25"/>
                    <a:pt x="83" y="30"/>
                  </a:cubicBezTo>
                  <a:cubicBezTo>
                    <a:pt x="80" y="34"/>
                    <a:pt x="77" y="31"/>
                    <a:pt x="72" y="34"/>
                  </a:cubicBezTo>
                  <a:cubicBezTo>
                    <a:pt x="66" y="37"/>
                    <a:pt x="64" y="41"/>
                    <a:pt x="60" y="41"/>
                  </a:cubicBezTo>
                  <a:cubicBezTo>
                    <a:pt x="54" y="41"/>
                    <a:pt x="57" y="44"/>
                    <a:pt x="51" y="45"/>
                  </a:cubicBezTo>
                  <a:cubicBezTo>
                    <a:pt x="45" y="47"/>
                    <a:pt x="46" y="44"/>
                    <a:pt x="40" y="44"/>
                  </a:cubicBezTo>
                  <a:cubicBezTo>
                    <a:pt x="34" y="44"/>
                    <a:pt x="34" y="39"/>
                    <a:pt x="26" y="39"/>
                  </a:cubicBezTo>
                  <a:cubicBezTo>
                    <a:pt x="19" y="39"/>
                    <a:pt x="17" y="41"/>
                    <a:pt x="17" y="37"/>
                  </a:cubicBezTo>
                  <a:cubicBezTo>
                    <a:pt x="16" y="34"/>
                    <a:pt x="20" y="39"/>
                    <a:pt x="22" y="36"/>
                  </a:cubicBezTo>
                  <a:cubicBezTo>
                    <a:pt x="23" y="34"/>
                    <a:pt x="23" y="31"/>
                    <a:pt x="20" y="30"/>
                  </a:cubicBezTo>
                  <a:cubicBezTo>
                    <a:pt x="19" y="30"/>
                    <a:pt x="22" y="27"/>
                    <a:pt x="17" y="27"/>
                  </a:cubicBezTo>
                  <a:cubicBezTo>
                    <a:pt x="10" y="25"/>
                    <a:pt x="7" y="28"/>
                    <a:pt x="7" y="25"/>
                  </a:cubicBezTo>
                  <a:cubicBezTo>
                    <a:pt x="7" y="24"/>
                    <a:pt x="11" y="25"/>
                    <a:pt x="14" y="24"/>
                  </a:cubicBezTo>
                  <a:cubicBezTo>
                    <a:pt x="16" y="22"/>
                    <a:pt x="17" y="25"/>
                    <a:pt x="22" y="24"/>
                  </a:cubicBezTo>
                  <a:cubicBezTo>
                    <a:pt x="26" y="20"/>
                    <a:pt x="19" y="24"/>
                    <a:pt x="19" y="20"/>
                  </a:cubicBezTo>
                  <a:cubicBezTo>
                    <a:pt x="19" y="19"/>
                    <a:pt x="26" y="17"/>
                    <a:pt x="20" y="17"/>
                  </a:cubicBezTo>
                  <a:cubicBezTo>
                    <a:pt x="14" y="16"/>
                    <a:pt x="14" y="16"/>
                    <a:pt x="10" y="17"/>
                  </a:cubicBezTo>
                  <a:cubicBezTo>
                    <a:pt x="5" y="19"/>
                    <a:pt x="0" y="16"/>
                    <a:pt x="2" y="16"/>
                  </a:cubicBezTo>
                  <a:cubicBezTo>
                    <a:pt x="4" y="14"/>
                    <a:pt x="7" y="16"/>
                    <a:pt x="5" y="14"/>
                  </a:cubicBezTo>
                  <a:cubicBezTo>
                    <a:pt x="5" y="11"/>
                    <a:pt x="8" y="14"/>
                    <a:pt x="8" y="11"/>
                  </a:cubicBezTo>
                  <a:cubicBezTo>
                    <a:pt x="8" y="8"/>
                    <a:pt x="10" y="5"/>
                    <a:pt x="13" y="8"/>
                  </a:cubicBezTo>
                  <a:cubicBezTo>
                    <a:pt x="16" y="10"/>
                    <a:pt x="22" y="13"/>
                    <a:pt x="20" y="10"/>
                  </a:cubicBezTo>
                  <a:cubicBezTo>
                    <a:pt x="19" y="8"/>
                    <a:pt x="14" y="8"/>
                    <a:pt x="13" y="6"/>
                  </a:cubicBezTo>
                  <a:cubicBezTo>
                    <a:pt x="11" y="5"/>
                    <a:pt x="14" y="2"/>
                    <a:pt x="19" y="3"/>
                  </a:cubicBezTo>
                  <a:cubicBezTo>
                    <a:pt x="23" y="5"/>
                    <a:pt x="20" y="5"/>
                    <a:pt x="26" y="8"/>
                  </a:cubicBezTo>
                  <a:cubicBezTo>
                    <a:pt x="31" y="11"/>
                    <a:pt x="26" y="11"/>
                    <a:pt x="28" y="16"/>
                  </a:cubicBezTo>
                  <a:cubicBezTo>
                    <a:pt x="31" y="22"/>
                    <a:pt x="31" y="11"/>
                    <a:pt x="34" y="14"/>
                  </a:cubicBezTo>
                  <a:cubicBezTo>
                    <a:pt x="36" y="17"/>
                    <a:pt x="37" y="14"/>
                    <a:pt x="36" y="11"/>
                  </a:cubicBezTo>
                  <a:cubicBezTo>
                    <a:pt x="34" y="10"/>
                    <a:pt x="37" y="5"/>
                    <a:pt x="39" y="10"/>
                  </a:cubicBezTo>
                  <a:cubicBezTo>
                    <a:pt x="42" y="14"/>
                    <a:pt x="43" y="14"/>
                    <a:pt x="43" y="11"/>
                  </a:cubicBezTo>
                  <a:cubicBezTo>
                    <a:pt x="43" y="8"/>
                    <a:pt x="49" y="5"/>
                    <a:pt x="49" y="8"/>
                  </a:cubicBezTo>
                  <a:cubicBezTo>
                    <a:pt x="51" y="11"/>
                    <a:pt x="52" y="13"/>
                    <a:pt x="52" y="10"/>
                  </a:cubicBezTo>
                  <a:cubicBezTo>
                    <a:pt x="52" y="6"/>
                    <a:pt x="54" y="5"/>
                    <a:pt x="57" y="10"/>
                  </a:cubicBezTo>
                  <a:cubicBezTo>
                    <a:pt x="60" y="13"/>
                    <a:pt x="60" y="5"/>
                    <a:pt x="63" y="6"/>
                  </a:cubicBezTo>
                  <a:cubicBezTo>
                    <a:pt x="66" y="8"/>
                    <a:pt x="68" y="6"/>
                    <a:pt x="66" y="5"/>
                  </a:cubicBezTo>
                  <a:cubicBezTo>
                    <a:pt x="64" y="2"/>
                    <a:pt x="71" y="0"/>
                    <a:pt x="72" y="3"/>
                  </a:cubicBezTo>
                  <a:cubicBezTo>
                    <a:pt x="75" y="10"/>
                    <a:pt x="75" y="5"/>
                    <a:pt x="78" y="5"/>
                  </a:cubicBezTo>
                  <a:cubicBezTo>
                    <a:pt x="81" y="3"/>
                    <a:pt x="83" y="3"/>
                    <a:pt x="80" y="6"/>
                  </a:cubicBezTo>
                  <a:cubicBezTo>
                    <a:pt x="75" y="10"/>
                    <a:pt x="84" y="6"/>
                    <a:pt x="81" y="11"/>
                  </a:cubicBezTo>
                  <a:cubicBezTo>
                    <a:pt x="80" y="11"/>
                    <a:pt x="80" y="13"/>
                    <a:pt x="81" y="13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39" name="Freeform 12">
              <a:extLst>
                <a:ext uri="{FF2B5EF4-FFF2-40B4-BE49-F238E27FC236}">
                  <a16:creationId xmlns:a16="http://schemas.microsoft.com/office/drawing/2014/main" id="{0AECFDFC-3916-211B-31C3-BBFEC291D2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27378" y="1598535"/>
              <a:ext cx="1514651" cy="1126782"/>
            </a:xfrm>
            <a:custGeom>
              <a:avLst/>
              <a:gdLst/>
              <a:ahLst/>
              <a:cxnLst>
                <a:cxn ang="0">
                  <a:pos x="394" y="224"/>
                </a:cxn>
                <a:cxn ang="0">
                  <a:pos x="343" y="245"/>
                </a:cxn>
                <a:cxn ang="0">
                  <a:pos x="315" y="259"/>
                </a:cxn>
                <a:cxn ang="0">
                  <a:pos x="291" y="276"/>
                </a:cxn>
                <a:cxn ang="0">
                  <a:pos x="280" y="283"/>
                </a:cxn>
                <a:cxn ang="0">
                  <a:pos x="279" y="272"/>
                </a:cxn>
                <a:cxn ang="0">
                  <a:pos x="273" y="283"/>
                </a:cxn>
                <a:cxn ang="0">
                  <a:pos x="260" y="290"/>
                </a:cxn>
                <a:cxn ang="0">
                  <a:pos x="256" y="303"/>
                </a:cxn>
                <a:cxn ang="0">
                  <a:pos x="244" y="321"/>
                </a:cxn>
                <a:cxn ang="0">
                  <a:pos x="241" y="346"/>
                </a:cxn>
                <a:cxn ang="0">
                  <a:pos x="227" y="356"/>
                </a:cxn>
                <a:cxn ang="0">
                  <a:pos x="215" y="342"/>
                </a:cxn>
                <a:cxn ang="0">
                  <a:pos x="198" y="343"/>
                </a:cxn>
                <a:cxn ang="0">
                  <a:pos x="187" y="331"/>
                </a:cxn>
                <a:cxn ang="0">
                  <a:pos x="175" y="314"/>
                </a:cxn>
                <a:cxn ang="0">
                  <a:pos x="178" y="298"/>
                </a:cxn>
                <a:cxn ang="0">
                  <a:pos x="172" y="297"/>
                </a:cxn>
                <a:cxn ang="0">
                  <a:pos x="160" y="281"/>
                </a:cxn>
                <a:cxn ang="0">
                  <a:pos x="155" y="252"/>
                </a:cxn>
                <a:cxn ang="0">
                  <a:pos x="174" y="241"/>
                </a:cxn>
                <a:cxn ang="0">
                  <a:pos x="169" y="220"/>
                </a:cxn>
                <a:cxn ang="0">
                  <a:pos x="175" y="213"/>
                </a:cxn>
                <a:cxn ang="0">
                  <a:pos x="152" y="197"/>
                </a:cxn>
                <a:cxn ang="0">
                  <a:pos x="142" y="183"/>
                </a:cxn>
                <a:cxn ang="0">
                  <a:pos x="129" y="158"/>
                </a:cxn>
                <a:cxn ang="0">
                  <a:pos x="97" y="127"/>
                </a:cxn>
                <a:cxn ang="0">
                  <a:pos x="56" y="126"/>
                </a:cxn>
                <a:cxn ang="0">
                  <a:pos x="17" y="115"/>
                </a:cxn>
                <a:cxn ang="0">
                  <a:pos x="21" y="102"/>
                </a:cxn>
                <a:cxn ang="0">
                  <a:pos x="39" y="79"/>
                </a:cxn>
                <a:cxn ang="0">
                  <a:pos x="62" y="49"/>
                </a:cxn>
                <a:cxn ang="0">
                  <a:pos x="154" y="26"/>
                </a:cxn>
                <a:cxn ang="0">
                  <a:pos x="183" y="21"/>
                </a:cxn>
                <a:cxn ang="0">
                  <a:pos x="221" y="17"/>
                </a:cxn>
                <a:cxn ang="0">
                  <a:pos x="209" y="14"/>
                </a:cxn>
                <a:cxn ang="0">
                  <a:pos x="279" y="10"/>
                </a:cxn>
                <a:cxn ang="0">
                  <a:pos x="343" y="3"/>
                </a:cxn>
                <a:cxn ang="0">
                  <a:pos x="355" y="10"/>
                </a:cxn>
                <a:cxn ang="0">
                  <a:pos x="393" y="26"/>
                </a:cxn>
                <a:cxn ang="0">
                  <a:pos x="375" y="35"/>
                </a:cxn>
                <a:cxn ang="0">
                  <a:pos x="407" y="43"/>
                </a:cxn>
                <a:cxn ang="0">
                  <a:pos x="483" y="38"/>
                </a:cxn>
                <a:cxn ang="0">
                  <a:pos x="426" y="54"/>
                </a:cxn>
                <a:cxn ang="0">
                  <a:pos x="420" y="65"/>
                </a:cxn>
                <a:cxn ang="0">
                  <a:pos x="422" y="82"/>
                </a:cxn>
                <a:cxn ang="0">
                  <a:pos x="425" y="102"/>
                </a:cxn>
                <a:cxn ang="0">
                  <a:pos x="413" y="116"/>
                </a:cxn>
                <a:cxn ang="0">
                  <a:pos x="425" y="132"/>
                </a:cxn>
                <a:cxn ang="0">
                  <a:pos x="426" y="155"/>
                </a:cxn>
                <a:cxn ang="0">
                  <a:pos x="408" y="169"/>
                </a:cxn>
                <a:cxn ang="0">
                  <a:pos x="391" y="188"/>
                </a:cxn>
                <a:cxn ang="0">
                  <a:pos x="408" y="199"/>
                </a:cxn>
                <a:cxn ang="0">
                  <a:pos x="382" y="199"/>
                </a:cxn>
                <a:cxn ang="0">
                  <a:pos x="362" y="205"/>
                </a:cxn>
                <a:cxn ang="0">
                  <a:pos x="362" y="216"/>
                </a:cxn>
              </a:cxnLst>
              <a:rect l="0" t="0" r="r" b="b"/>
              <a:pathLst>
                <a:path w="489" h="359">
                  <a:moveTo>
                    <a:pt x="375" y="216"/>
                  </a:moveTo>
                  <a:cubicBezTo>
                    <a:pt x="382" y="210"/>
                    <a:pt x="387" y="219"/>
                    <a:pt x="396" y="219"/>
                  </a:cubicBezTo>
                  <a:cubicBezTo>
                    <a:pt x="405" y="217"/>
                    <a:pt x="408" y="217"/>
                    <a:pt x="402" y="220"/>
                  </a:cubicBezTo>
                  <a:cubicBezTo>
                    <a:pt x="396" y="222"/>
                    <a:pt x="401" y="224"/>
                    <a:pt x="394" y="224"/>
                  </a:cubicBezTo>
                  <a:cubicBezTo>
                    <a:pt x="390" y="224"/>
                    <a:pt x="396" y="227"/>
                    <a:pt x="390" y="228"/>
                  </a:cubicBezTo>
                  <a:cubicBezTo>
                    <a:pt x="384" y="228"/>
                    <a:pt x="381" y="231"/>
                    <a:pt x="378" y="236"/>
                  </a:cubicBezTo>
                  <a:cubicBezTo>
                    <a:pt x="375" y="239"/>
                    <a:pt x="362" y="239"/>
                    <a:pt x="353" y="242"/>
                  </a:cubicBezTo>
                  <a:cubicBezTo>
                    <a:pt x="344" y="247"/>
                    <a:pt x="344" y="241"/>
                    <a:pt x="343" y="245"/>
                  </a:cubicBezTo>
                  <a:cubicBezTo>
                    <a:pt x="341" y="248"/>
                    <a:pt x="335" y="248"/>
                    <a:pt x="332" y="247"/>
                  </a:cubicBezTo>
                  <a:cubicBezTo>
                    <a:pt x="327" y="245"/>
                    <a:pt x="318" y="238"/>
                    <a:pt x="324" y="244"/>
                  </a:cubicBezTo>
                  <a:cubicBezTo>
                    <a:pt x="329" y="248"/>
                    <a:pt x="327" y="250"/>
                    <a:pt x="324" y="250"/>
                  </a:cubicBezTo>
                  <a:cubicBezTo>
                    <a:pt x="321" y="250"/>
                    <a:pt x="317" y="253"/>
                    <a:pt x="315" y="259"/>
                  </a:cubicBezTo>
                  <a:cubicBezTo>
                    <a:pt x="315" y="264"/>
                    <a:pt x="305" y="273"/>
                    <a:pt x="300" y="273"/>
                  </a:cubicBezTo>
                  <a:cubicBezTo>
                    <a:pt x="300" y="273"/>
                    <a:pt x="300" y="272"/>
                    <a:pt x="298" y="272"/>
                  </a:cubicBezTo>
                  <a:cubicBezTo>
                    <a:pt x="297" y="272"/>
                    <a:pt x="298" y="275"/>
                    <a:pt x="297" y="275"/>
                  </a:cubicBezTo>
                  <a:cubicBezTo>
                    <a:pt x="295" y="275"/>
                    <a:pt x="292" y="278"/>
                    <a:pt x="291" y="276"/>
                  </a:cubicBezTo>
                  <a:cubicBezTo>
                    <a:pt x="288" y="278"/>
                    <a:pt x="288" y="278"/>
                    <a:pt x="288" y="278"/>
                  </a:cubicBezTo>
                  <a:cubicBezTo>
                    <a:pt x="289" y="280"/>
                    <a:pt x="289" y="281"/>
                    <a:pt x="288" y="280"/>
                  </a:cubicBezTo>
                  <a:cubicBezTo>
                    <a:pt x="286" y="278"/>
                    <a:pt x="286" y="280"/>
                    <a:pt x="285" y="281"/>
                  </a:cubicBezTo>
                  <a:cubicBezTo>
                    <a:pt x="283" y="283"/>
                    <a:pt x="282" y="283"/>
                    <a:pt x="280" y="283"/>
                  </a:cubicBezTo>
                  <a:cubicBezTo>
                    <a:pt x="279" y="281"/>
                    <a:pt x="280" y="278"/>
                    <a:pt x="280" y="276"/>
                  </a:cubicBezTo>
                  <a:cubicBezTo>
                    <a:pt x="280" y="275"/>
                    <a:pt x="283" y="275"/>
                    <a:pt x="283" y="273"/>
                  </a:cubicBezTo>
                  <a:cubicBezTo>
                    <a:pt x="283" y="272"/>
                    <a:pt x="286" y="272"/>
                    <a:pt x="283" y="272"/>
                  </a:cubicBezTo>
                  <a:cubicBezTo>
                    <a:pt x="280" y="272"/>
                    <a:pt x="280" y="270"/>
                    <a:pt x="279" y="272"/>
                  </a:cubicBezTo>
                  <a:cubicBezTo>
                    <a:pt x="279" y="272"/>
                    <a:pt x="283" y="273"/>
                    <a:pt x="280" y="275"/>
                  </a:cubicBezTo>
                  <a:cubicBezTo>
                    <a:pt x="277" y="276"/>
                    <a:pt x="280" y="276"/>
                    <a:pt x="279" y="278"/>
                  </a:cubicBezTo>
                  <a:cubicBezTo>
                    <a:pt x="276" y="280"/>
                    <a:pt x="279" y="280"/>
                    <a:pt x="277" y="281"/>
                  </a:cubicBezTo>
                  <a:cubicBezTo>
                    <a:pt x="277" y="283"/>
                    <a:pt x="276" y="281"/>
                    <a:pt x="273" y="283"/>
                  </a:cubicBezTo>
                  <a:cubicBezTo>
                    <a:pt x="270" y="283"/>
                    <a:pt x="268" y="281"/>
                    <a:pt x="266" y="283"/>
                  </a:cubicBezTo>
                  <a:cubicBezTo>
                    <a:pt x="263" y="284"/>
                    <a:pt x="262" y="283"/>
                    <a:pt x="265" y="284"/>
                  </a:cubicBezTo>
                  <a:cubicBezTo>
                    <a:pt x="268" y="286"/>
                    <a:pt x="268" y="287"/>
                    <a:pt x="266" y="286"/>
                  </a:cubicBezTo>
                  <a:cubicBezTo>
                    <a:pt x="263" y="286"/>
                    <a:pt x="263" y="292"/>
                    <a:pt x="260" y="290"/>
                  </a:cubicBezTo>
                  <a:cubicBezTo>
                    <a:pt x="257" y="289"/>
                    <a:pt x="251" y="289"/>
                    <a:pt x="256" y="293"/>
                  </a:cubicBezTo>
                  <a:cubicBezTo>
                    <a:pt x="260" y="298"/>
                    <a:pt x="260" y="300"/>
                    <a:pt x="259" y="300"/>
                  </a:cubicBezTo>
                  <a:cubicBezTo>
                    <a:pt x="256" y="298"/>
                    <a:pt x="256" y="301"/>
                    <a:pt x="253" y="300"/>
                  </a:cubicBezTo>
                  <a:cubicBezTo>
                    <a:pt x="250" y="298"/>
                    <a:pt x="251" y="303"/>
                    <a:pt x="256" y="303"/>
                  </a:cubicBezTo>
                  <a:cubicBezTo>
                    <a:pt x="260" y="303"/>
                    <a:pt x="257" y="303"/>
                    <a:pt x="259" y="306"/>
                  </a:cubicBezTo>
                  <a:cubicBezTo>
                    <a:pt x="259" y="311"/>
                    <a:pt x="254" y="311"/>
                    <a:pt x="254" y="314"/>
                  </a:cubicBezTo>
                  <a:cubicBezTo>
                    <a:pt x="254" y="318"/>
                    <a:pt x="251" y="311"/>
                    <a:pt x="251" y="315"/>
                  </a:cubicBezTo>
                  <a:cubicBezTo>
                    <a:pt x="250" y="321"/>
                    <a:pt x="244" y="318"/>
                    <a:pt x="244" y="321"/>
                  </a:cubicBezTo>
                  <a:cubicBezTo>
                    <a:pt x="242" y="323"/>
                    <a:pt x="245" y="321"/>
                    <a:pt x="245" y="325"/>
                  </a:cubicBezTo>
                  <a:cubicBezTo>
                    <a:pt x="247" y="328"/>
                    <a:pt x="239" y="321"/>
                    <a:pt x="242" y="326"/>
                  </a:cubicBezTo>
                  <a:cubicBezTo>
                    <a:pt x="244" y="329"/>
                    <a:pt x="245" y="325"/>
                    <a:pt x="245" y="329"/>
                  </a:cubicBezTo>
                  <a:cubicBezTo>
                    <a:pt x="247" y="334"/>
                    <a:pt x="239" y="343"/>
                    <a:pt x="241" y="346"/>
                  </a:cubicBezTo>
                  <a:cubicBezTo>
                    <a:pt x="242" y="350"/>
                    <a:pt x="237" y="350"/>
                    <a:pt x="236" y="351"/>
                  </a:cubicBezTo>
                  <a:cubicBezTo>
                    <a:pt x="234" y="354"/>
                    <a:pt x="239" y="350"/>
                    <a:pt x="239" y="354"/>
                  </a:cubicBezTo>
                  <a:cubicBezTo>
                    <a:pt x="239" y="359"/>
                    <a:pt x="236" y="359"/>
                    <a:pt x="233" y="357"/>
                  </a:cubicBezTo>
                  <a:cubicBezTo>
                    <a:pt x="230" y="354"/>
                    <a:pt x="230" y="353"/>
                    <a:pt x="227" y="356"/>
                  </a:cubicBezTo>
                  <a:cubicBezTo>
                    <a:pt x="225" y="357"/>
                    <a:pt x="221" y="357"/>
                    <a:pt x="222" y="353"/>
                  </a:cubicBezTo>
                  <a:cubicBezTo>
                    <a:pt x="227" y="348"/>
                    <a:pt x="221" y="353"/>
                    <a:pt x="218" y="351"/>
                  </a:cubicBezTo>
                  <a:cubicBezTo>
                    <a:pt x="213" y="348"/>
                    <a:pt x="213" y="348"/>
                    <a:pt x="216" y="345"/>
                  </a:cubicBezTo>
                  <a:cubicBezTo>
                    <a:pt x="219" y="342"/>
                    <a:pt x="215" y="339"/>
                    <a:pt x="215" y="342"/>
                  </a:cubicBezTo>
                  <a:cubicBezTo>
                    <a:pt x="216" y="343"/>
                    <a:pt x="212" y="343"/>
                    <a:pt x="210" y="346"/>
                  </a:cubicBezTo>
                  <a:cubicBezTo>
                    <a:pt x="207" y="348"/>
                    <a:pt x="209" y="343"/>
                    <a:pt x="204" y="346"/>
                  </a:cubicBezTo>
                  <a:cubicBezTo>
                    <a:pt x="199" y="350"/>
                    <a:pt x="198" y="348"/>
                    <a:pt x="198" y="345"/>
                  </a:cubicBezTo>
                  <a:cubicBezTo>
                    <a:pt x="196" y="343"/>
                    <a:pt x="199" y="345"/>
                    <a:pt x="198" y="343"/>
                  </a:cubicBezTo>
                  <a:cubicBezTo>
                    <a:pt x="198" y="340"/>
                    <a:pt x="193" y="343"/>
                    <a:pt x="195" y="340"/>
                  </a:cubicBezTo>
                  <a:cubicBezTo>
                    <a:pt x="196" y="337"/>
                    <a:pt x="189" y="340"/>
                    <a:pt x="190" y="337"/>
                  </a:cubicBezTo>
                  <a:cubicBezTo>
                    <a:pt x="192" y="334"/>
                    <a:pt x="192" y="334"/>
                    <a:pt x="189" y="334"/>
                  </a:cubicBezTo>
                  <a:cubicBezTo>
                    <a:pt x="187" y="336"/>
                    <a:pt x="190" y="329"/>
                    <a:pt x="187" y="331"/>
                  </a:cubicBezTo>
                  <a:cubicBezTo>
                    <a:pt x="184" y="332"/>
                    <a:pt x="189" y="328"/>
                    <a:pt x="184" y="326"/>
                  </a:cubicBezTo>
                  <a:cubicBezTo>
                    <a:pt x="181" y="325"/>
                    <a:pt x="181" y="325"/>
                    <a:pt x="181" y="323"/>
                  </a:cubicBezTo>
                  <a:cubicBezTo>
                    <a:pt x="181" y="320"/>
                    <a:pt x="178" y="318"/>
                    <a:pt x="180" y="317"/>
                  </a:cubicBezTo>
                  <a:cubicBezTo>
                    <a:pt x="180" y="314"/>
                    <a:pt x="177" y="317"/>
                    <a:pt x="175" y="314"/>
                  </a:cubicBezTo>
                  <a:cubicBezTo>
                    <a:pt x="174" y="311"/>
                    <a:pt x="170" y="307"/>
                    <a:pt x="172" y="306"/>
                  </a:cubicBezTo>
                  <a:cubicBezTo>
                    <a:pt x="174" y="304"/>
                    <a:pt x="169" y="304"/>
                    <a:pt x="172" y="303"/>
                  </a:cubicBezTo>
                  <a:cubicBezTo>
                    <a:pt x="174" y="303"/>
                    <a:pt x="167" y="301"/>
                    <a:pt x="174" y="301"/>
                  </a:cubicBezTo>
                  <a:cubicBezTo>
                    <a:pt x="178" y="301"/>
                    <a:pt x="172" y="298"/>
                    <a:pt x="178" y="298"/>
                  </a:cubicBezTo>
                  <a:cubicBezTo>
                    <a:pt x="183" y="298"/>
                    <a:pt x="175" y="297"/>
                    <a:pt x="178" y="295"/>
                  </a:cubicBezTo>
                  <a:cubicBezTo>
                    <a:pt x="181" y="293"/>
                    <a:pt x="184" y="300"/>
                    <a:pt x="184" y="297"/>
                  </a:cubicBezTo>
                  <a:cubicBezTo>
                    <a:pt x="183" y="293"/>
                    <a:pt x="180" y="292"/>
                    <a:pt x="177" y="295"/>
                  </a:cubicBezTo>
                  <a:cubicBezTo>
                    <a:pt x="174" y="297"/>
                    <a:pt x="177" y="289"/>
                    <a:pt x="172" y="297"/>
                  </a:cubicBezTo>
                  <a:cubicBezTo>
                    <a:pt x="167" y="304"/>
                    <a:pt x="166" y="298"/>
                    <a:pt x="167" y="295"/>
                  </a:cubicBezTo>
                  <a:cubicBezTo>
                    <a:pt x="167" y="292"/>
                    <a:pt x="166" y="295"/>
                    <a:pt x="166" y="290"/>
                  </a:cubicBezTo>
                  <a:cubicBezTo>
                    <a:pt x="166" y="287"/>
                    <a:pt x="163" y="289"/>
                    <a:pt x="163" y="286"/>
                  </a:cubicBezTo>
                  <a:cubicBezTo>
                    <a:pt x="164" y="283"/>
                    <a:pt x="161" y="281"/>
                    <a:pt x="160" y="281"/>
                  </a:cubicBezTo>
                  <a:cubicBezTo>
                    <a:pt x="157" y="281"/>
                    <a:pt x="160" y="280"/>
                    <a:pt x="155" y="276"/>
                  </a:cubicBezTo>
                  <a:cubicBezTo>
                    <a:pt x="152" y="273"/>
                    <a:pt x="155" y="267"/>
                    <a:pt x="161" y="264"/>
                  </a:cubicBezTo>
                  <a:cubicBezTo>
                    <a:pt x="155" y="264"/>
                    <a:pt x="151" y="264"/>
                    <a:pt x="152" y="259"/>
                  </a:cubicBezTo>
                  <a:cubicBezTo>
                    <a:pt x="154" y="255"/>
                    <a:pt x="155" y="253"/>
                    <a:pt x="155" y="252"/>
                  </a:cubicBezTo>
                  <a:cubicBezTo>
                    <a:pt x="154" y="250"/>
                    <a:pt x="161" y="248"/>
                    <a:pt x="158" y="247"/>
                  </a:cubicBezTo>
                  <a:cubicBezTo>
                    <a:pt x="155" y="244"/>
                    <a:pt x="158" y="245"/>
                    <a:pt x="157" y="244"/>
                  </a:cubicBezTo>
                  <a:cubicBezTo>
                    <a:pt x="157" y="242"/>
                    <a:pt x="161" y="244"/>
                    <a:pt x="163" y="241"/>
                  </a:cubicBezTo>
                  <a:cubicBezTo>
                    <a:pt x="166" y="239"/>
                    <a:pt x="169" y="242"/>
                    <a:pt x="174" y="241"/>
                  </a:cubicBezTo>
                  <a:cubicBezTo>
                    <a:pt x="178" y="239"/>
                    <a:pt x="174" y="239"/>
                    <a:pt x="174" y="234"/>
                  </a:cubicBezTo>
                  <a:cubicBezTo>
                    <a:pt x="175" y="231"/>
                    <a:pt x="178" y="227"/>
                    <a:pt x="178" y="224"/>
                  </a:cubicBezTo>
                  <a:cubicBezTo>
                    <a:pt x="177" y="220"/>
                    <a:pt x="175" y="228"/>
                    <a:pt x="174" y="225"/>
                  </a:cubicBezTo>
                  <a:cubicBezTo>
                    <a:pt x="172" y="224"/>
                    <a:pt x="178" y="220"/>
                    <a:pt x="169" y="220"/>
                  </a:cubicBezTo>
                  <a:cubicBezTo>
                    <a:pt x="161" y="219"/>
                    <a:pt x="164" y="214"/>
                    <a:pt x="157" y="214"/>
                  </a:cubicBezTo>
                  <a:cubicBezTo>
                    <a:pt x="152" y="214"/>
                    <a:pt x="146" y="211"/>
                    <a:pt x="148" y="210"/>
                  </a:cubicBezTo>
                  <a:cubicBezTo>
                    <a:pt x="151" y="206"/>
                    <a:pt x="163" y="208"/>
                    <a:pt x="166" y="210"/>
                  </a:cubicBezTo>
                  <a:cubicBezTo>
                    <a:pt x="170" y="213"/>
                    <a:pt x="177" y="214"/>
                    <a:pt x="175" y="213"/>
                  </a:cubicBezTo>
                  <a:cubicBezTo>
                    <a:pt x="174" y="211"/>
                    <a:pt x="172" y="210"/>
                    <a:pt x="175" y="206"/>
                  </a:cubicBezTo>
                  <a:cubicBezTo>
                    <a:pt x="175" y="206"/>
                    <a:pt x="163" y="205"/>
                    <a:pt x="164" y="202"/>
                  </a:cubicBezTo>
                  <a:cubicBezTo>
                    <a:pt x="167" y="197"/>
                    <a:pt x="158" y="200"/>
                    <a:pt x="163" y="197"/>
                  </a:cubicBezTo>
                  <a:cubicBezTo>
                    <a:pt x="166" y="196"/>
                    <a:pt x="155" y="191"/>
                    <a:pt x="152" y="197"/>
                  </a:cubicBezTo>
                  <a:cubicBezTo>
                    <a:pt x="151" y="203"/>
                    <a:pt x="145" y="197"/>
                    <a:pt x="142" y="199"/>
                  </a:cubicBezTo>
                  <a:cubicBezTo>
                    <a:pt x="140" y="200"/>
                    <a:pt x="138" y="197"/>
                    <a:pt x="137" y="196"/>
                  </a:cubicBezTo>
                  <a:cubicBezTo>
                    <a:pt x="135" y="192"/>
                    <a:pt x="145" y="194"/>
                    <a:pt x="142" y="191"/>
                  </a:cubicBezTo>
                  <a:cubicBezTo>
                    <a:pt x="137" y="186"/>
                    <a:pt x="137" y="183"/>
                    <a:pt x="142" y="183"/>
                  </a:cubicBezTo>
                  <a:cubicBezTo>
                    <a:pt x="146" y="182"/>
                    <a:pt x="149" y="175"/>
                    <a:pt x="142" y="174"/>
                  </a:cubicBezTo>
                  <a:cubicBezTo>
                    <a:pt x="135" y="172"/>
                    <a:pt x="146" y="169"/>
                    <a:pt x="140" y="166"/>
                  </a:cubicBezTo>
                  <a:cubicBezTo>
                    <a:pt x="131" y="163"/>
                    <a:pt x="142" y="163"/>
                    <a:pt x="135" y="160"/>
                  </a:cubicBezTo>
                  <a:cubicBezTo>
                    <a:pt x="132" y="158"/>
                    <a:pt x="135" y="155"/>
                    <a:pt x="129" y="158"/>
                  </a:cubicBezTo>
                  <a:cubicBezTo>
                    <a:pt x="122" y="160"/>
                    <a:pt x="129" y="155"/>
                    <a:pt x="131" y="152"/>
                  </a:cubicBezTo>
                  <a:cubicBezTo>
                    <a:pt x="132" y="149"/>
                    <a:pt x="113" y="141"/>
                    <a:pt x="116" y="138"/>
                  </a:cubicBezTo>
                  <a:cubicBezTo>
                    <a:pt x="120" y="135"/>
                    <a:pt x="116" y="135"/>
                    <a:pt x="108" y="130"/>
                  </a:cubicBezTo>
                  <a:cubicBezTo>
                    <a:pt x="100" y="127"/>
                    <a:pt x="100" y="130"/>
                    <a:pt x="97" y="127"/>
                  </a:cubicBezTo>
                  <a:cubicBezTo>
                    <a:pt x="94" y="124"/>
                    <a:pt x="87" y="127"/>
                    <a:pt x="81" y="124"/>
                  </a:cubicBezTo>
                  <a:cubicBezTo>
                    <a:pt x="75" y="122"/>
                    <a:pt x="76" y="130"/>
                    <a:pt x="71" y="126"/>
                  </a:cubicBezTo>
                  <a:cubicBezTo>
                    <a:pt x="67" y="122"/>
                    <a:pt x="68" y="129"/>
                    <a:pt x="61" y="129"/>
                  </a:cubicBezTo>
                  <a:cubicBezTo>
                    <a:pt x="55" y="127"/>
                    <a:pt x="62" y="122"/>
                    <a:pt x="56" y="126"/>
                  </a:cubicBezTo>
                  <a:cubicBezTo>
                    <a:pt x="49" y="129"/>
                    <a:pt x="52" y="122"/>
                    <a:pt x="49" y="124"/>
                  </a:cubicBezTo>
                  <a:cubicBezTo>
                    <a:pt x="44" y="126"/>
                    <a:pt x="58" y="133"/>
                    <a:pt x="47" y="129"/>
                  </a:cubicBezTo>
                  <a:cubicBezTo>
                    <a:pt x="35" y="126"/>
                    <a:pt x="23" y="124"/>
                    <a:pt x="32" y="121"/>
                  </a:cubicBezTo>
                  <a:cubicBezTo>
                    <a:pt x="41" y="118"/>
                    <a:pt x="23" y="118"/>
                    <a:pt x="17" y="115"/>
                  </a:cubicBezTo>
                  <a:cubicBezTo>
                    <a:pt x="9" y="112"/>
                    <a:pt x="24" y="108"/>
                    <a:pt x="36" y="107"/>
                  </a:cubicBezTo>
                  <a:cubicBezTo>
                    <a:pt x="49" y="107"/>
                    <a:pt x="58" y="107"/>
                    <a:pt x="56" y="104"/>
                  </a:cubicBezTo>
                  <a:cubicBezTo>
                    <a:pt x="55" y="101"/>
                    <a:pt x="46" y="105"/>
                    <a:pt x="36" y="105"/>
                  </a:cubicBezTo>
                  <a:cubicBezTo>
                    <a:pt x="27" y="105"/>
                    <a:pt x="24" y="105"/>
                    <a:pt x="21" y="102"/>
                  </a:cubicBezTo>
                  <a:cubicBezTo>
                    <a:pt x="18" y="99"/>
                    <a:pt x="17" y="102"/>
                    <a:pt x="14" y="99"/>
                  </a:cubicBezTo>
                  <a:cubicBezTo>
                    <a:pt x="10" y="98"/>
                    <a:pt x="9" y="101"/>
                    <a:pt x="4" y="96"/>
                  </a:cubicBezTo>
                  <a:cubicBezTo>
                    <a:pt x="0" y="91"/>
                    <a:pt x="1" y="88"/>
                    <a:pt x="20" y="85"/>
                  </a:cubicBezTo>
                  <a:cubicBezTo>
                    <a:pt x="36" y="82"/>
                    <a:pt x="29" y="80"/>
                    <a:pt x="39" y="79"/>
                  </a:cubicBezTo>
                  <a:cubicBezTo>
                    <a:pt x="50" y="77"/>
                    <a:pt x="56" y="82"/>
                    <a:pt x="61" y="76"/>
                  </a:cubicBezTo>
                  <a:cubicBezTo>
                    <a:pt x="67" y="70"/>
                    <a:pt x="67" y="62"/>
                    <a:pt x="62" y="63"/>
                  </a:cubicBezTo>
                  <a:cubicBezTo>
                    <a:pt x="58" y="63"/>
                    <a:pt x="49" y="63"/>
                    <a:pt x="46" y="60"/>
                  </a:cubicBezTo>
                  <a:cubicBezTo>
                    <a:pt x="44" y="57"/>
                    <a:pt x="55" y="54"/>
                    <a:pt x="62" y="49"/>
                  </a:cubicBezTo>
                  <a:cubicBezTo>
                    <a:pt x="70" y="45"/>
                    <a:pt x="79" y="42"/>
                    <a:pt x="90" y="45"/>
                  </a:cubicBezTo>
                  <a:cubicBezTo>
                    <a:pt x="97" y="46"/>
                    <a:pt x="99" y="42"/>
                    <a:pt x="94" y="37"/>
                  </a:cubicBezTo>
                  <a:cubicBezTo>
                    <a:pt x="91" y="32"/>
                    <a:pt x="97" y="29"/>
                    <a:pt x="120" y="28"/>
                  </a:cubicBezTo>
                  <a:cubicBezTo>
                    <a:pt x="145" y="24"/>
                    <a:pt x="148" y="20"/>
                    <a:pt x="154" y="26"/>
                  </a:cubicBezTo>
                  <a:cubicBezTo>
                    <a:pt x="160" y="34"/>
                    <a:pt x="149" y="46"/>
                    <a:pt x="157" y="35"/>
                  </a:cubicBezTo>
                  <a:cubicBezTo>
                    <a:pt x="163" y="24"/>
                    <a:pt x="178" y="37"/>
                    <a:pt x="177" y="34"/>
                  </a:cubicBezTo>
                  <a:cubicBezTo>
                    <a:pt x="174" y="28"/>
                    <a:pt x="192" y="35"/>
                    <a:pt x="183" y="29"/>
                  </a:cubicBezTo>
                  <a:cubicBezTo>
                    <a:pt x="172" y="23"/>
                    <a:pt x="170" y="20"/>
                    <a:pt x="183" y="21"/>
                  </a:cubicBezTo>
                  <a:cubicBezTo>
                    <a:pt x="195" y="21"/>
                    <a:pt x="199" y="26"/>
                    <a:pt x="210" y="28"/>
                  </a:cubicBezTo>
                  <a:cubicBezTo>
                    <a:pt x="221" y="29"/>
                    <a:pt x="219" y="35"/>
                    <a:pt x="225" y="34"/>
                  </a:cubicBezTo>
                  <a:cubicBezTo>
                    <a:pt x="231" y="34"/>
                    <a:pt x="221" y="26"/>
                    <a:pt x="230" y="24"/>
                  </a:cubicBezTo>
                  <a:cubicBezTo>
                    <a:pt x="244" y="23"/>
                    <a:pt x="206" y="15"/>
                    <a:pt x="221" y="17"/>
                  </a:cubicBezTo>
                  <a:cubicBezTo>
                    <a:pt x="237" y="17"/>
                    <a:pt x="248" y="17"/>
                    <a:pt x="254" y="18"/>
                  </a:cubicBezTo>
                  <a:cubicBezTo>
                    <a:pt x="262" y="21"/>
                    <a:pt x="270" y="20"/>
                    <a:pt x="260" y="18"/>
                  </a:cubicBezTo>
                  <a:cubicBezTo>
                    <a:pt x="253" y="17"/>
                    <a:pt x="244" y="15"/>
                    <a:pt x="233" y="15"/>
                  </a:cubicBezTo>
                  <a:cubicBezTo>
                    <a:pt x="222" y="14"/>
                    <a:pt x="210" y="15"/>
                    <a:pt x="209" y="14"/>
                  </a:cubicBezTo>
                  <a:cubicBezTo>
                    <a:pt x="207" y="10"/>
                    <a:pt x="219" y="10"/>
                    <a:pt x="230" y="9"/>
                  </a:cubicBezTo>
                  <a:cubicBezTo>
                    <a:pt x="241" y="7"/>
                    <a:pt x="248" y="9"/>
                    <a:pt x="254" y="12"/>
                  </a:cubicBezTo>
                  <a:cubicBezTo>
                    <a:pt x="260" y="15"/>
                    <a:pt x="271" y="14"/>
                    <a:pt x="273" y="12"/>
                  </a:cubicBezTo>
                  <a:cubicBezTo>
                    <a:pt x="274" y="12"/>
                    <a:pt x="286" y="10"/>
                    <a:pt x="279" y="10"/>
                  </a:cubicBezTo>
                  <a:cubicBezTo>
                    <a:pt x="271" y="9"/>
                    <a:pt x="270" y="4"/>
                    <a:pt x="274" y="4"/>
                  </a:cubicBezTo>
                  <a:cubicBezTo>
                    <a:pt x="280" y="4"/>
                    <a:pt x="279" y="3"/>
                    <a:pt x="286" y="4"/>
                  </a:cubicBezTo>
                  <a:cubicBezTo>
                    <a:pt x="294" y="6"/>
                    <a:pt x="283" y="1"/>
                    <a:pt x="298" y="3"/>
                  </a:cubicBezTo>
                  <a:cubicBezTo>
                    <a:pt x="314" y="3"/>
                    <a:pt x="317" y="0"/>
                    <a:pt x="343" y="3"/>
                  </a:cubicBezTo>
                  <a:cubicBezTo>
                    <a:pt x="359" y="4"/>
                    <a:pt x="384" y="7"/>
                    <a:pt x="376" y="7"/>
                  </a:cubicBezTo>
                  <a:cubicBezTo>
                    <a:pt x="369" y="9"/>
                    <a:pt x="343" y="9"/>
                    <a:pt x="335" y="10"/>
                  </a:cubicBezTo>
                  <a:cubicBezTo>
                    <a:pt x="327" y="12"/>
                    <a:pt x="314" y="12"/>
                    <a:pt x="324" y="14"/>
                  </a:cubicBezTo>
                  <a:cubicBezTo>
                    <a:pt x="337" y="15"/>
                    <a:pt x="340" y="9"/>
                    <a:pt x="355" y="10"/>
                  </a:cubicBezTo>
                  <a:cubicBezTo>
                    <a:pt x="372" y="14"/>
                    <a:pt x="378" y="7"/>
                    <a:pt x="382" y="10"/>
                  </a:cubicBezTo>
                  <a:cubicBezTo>
                    <a:pt x="388" y="14"/>
                    <a:pt x="372" y="18"/>
                    <a:pt x="382" y="15"/>
                  </a:cubicBezTo>
                  <a:cubicBezTo>
                    <a:pt x="393" y="14"/>
                    <a:pt x="401" y="17"/>
                    <a:pt x="408" y="18"/>
                  </a:cubicBezTo>
                  <a:cubicBezTo>
                    <a:pt x="416" y="20"/>
                    <a:pt x="402" y="24"/>
                    <a:pt x="393" y="26"/>
                  </a:cubicBezTo>
                  <a:cubicBezTo>
                    <a:pt x="379" y="29"/>
                    <a:pt x="361" y="26"/>
                    <a:pt x="346" y="28"/>
                  </a:cubicBezTo>
                  <a:cubicBezTo>
                    <a:pt x="330" y="31"/>
                    <a:pt x="314" y="32"/>
                    <a:pt x="318" y="37"/>
                  </a:cubicBezTo>
                  <a:cubicBezTo>
                    <a:pt x="321" y="38"/>
                    <a:pt x="346" y="29"/>
                    <a:pt x="367" y="29"/>
                  </a:cubicBezTo>
                  <a:cubicBezTo>
                    <a:pt x="387" y="31"/>
                    <a:pt x="382" y="32"/>
                    <a:pt x="375" y="35"/>
                  </a:cubicBezTo>
                  <a:cubicBezTo>
                    <a:pt x="367" y="38"/>
                    <a:pt x="376" y="38"/>
                    <a:pt x="384" y="35"/>
                  </a:cubicBezTo>
                  <a:cubicBezTo>
                    <a:pt x="393" y="34"/>
                    <a:pt x="384" y="29"/>
                    <a:pt x="397" y="29"/>
                  </a:cubicBezTo>
                  <a:cubicBezTo>
                    <a:pt x="411" y="29"/>
                    <a:pt x="408" y="37"/>
                    <a:pt x="397" y="45"/>
                  </a:cubicBezTo>
                  <a:cubicBezTo>
                    <a:pt x="387" y="52"/>
                    <a:pt x="394" y="52"/>
                    <a:pt x="407" y="43"/>
                  </a:cubicBezTo>
                  <a:cubicBezTo>
                    <a:pt x="419" y="35"/>
                    <a:pt x="425" y="34"/>
                    <a:pt x="422" y="37"/>
                  </a:cubicBezTo>
                  <a:cubicBezTo>
                    <a:pt x="419" y="40"/>
                    <a:pt x="426" y="37"/>
                    <a:pt x="432" y="38"/>
                  </a:cubicBezTo>
                  <a:cubicBezTo>
                    <a:pt x="439" y="40"/>
                    <a:pt x="436" y="32"/>
                    <a:pt x="448" y="31"/>
                  </a:cubicBezTo>
                  <a:cubicBezTo>
                    <a:pt x="460" y="31"/>
                    <a:pt x="489" y="35"/>
                    <a:pt x="483" y="38"/>
                  </a:cubicBezTo>
                  <a:cubicBezTo>
                    <a:pt x="475" y="42"/>
                    <a:pt x="472" y="45"/>
                    <a:pt x="464" y="45"/>
                  </a:cubicBezTo>
                  <a:cubicBezTo>
                    <a:pt x="454" y="45"/>
                    <a:pt x="471" y="49"/>
                    <a:pt x="461" y="49"/>
                  </a:cubicBezTo>
                  <a:cubicBezTo>
                    <a:pt x="452" y="51"/>
                    <a:pt x="448" y="52"/>
                    <a:pt x="442" y="51"/>
                  </a:cubicBezTo>
                  <a:cubicBezTo>
                    <a:pt x="436" y="49"/>
                    <a:pt x="437" y="54"/>
                    <a:pt x="426" y="54"/>
                  </a:cubicBezTo>
                  <a:cubicBezTo>
                    <a:pt x="416" y="52"/>
                    <a:pt x="434" y="56"/>
                    <a:pt x="440" y="54"/>
                  </a:cubicBezTo>
                  <a:cubicBezTo>
                    <a:pt x="445" y="52"/>
                    <a:pt x="457" y="54"/>
                    <a:pt x="451" y="57"/>
                  </a:cubicBezTo>
                  <a:cubicBezTo>
                    <a:pt x="446" y="59"/>
                    <a:pt x="437" y="62"/>
                    <a:pt x="429" y="59"/>
                  </a:cubicBezTo>
                  <a:cubicBezTo>
                    <a:pt x="422" y="57"/>
                    <a:pt x="411" y="68"/>
                    <a:pt x="420" y="65"/>
                  </a:cubicBezTo>
                  <a:cubicBezTo>
                    <a:pt x="429" y="62"/>
                    <a:pt x="445" y="60"/>
                    <a:pt x="442" y="63"/>
                  </a:cubicBezTo>
                  <a:cubicBezTo>
                    <a:pt x="437" y="68"/>
                    <a:pt x="436" y="68"/>
                    <a:pt x="429" y="68"/>
                  </a:cubicBezTo>
                  <a:cubicBezTo>
                    <a:pt x="423" y="68"/>
                    <a:pt x="423" y="74"/>
                    <a:pt x="428" y="74"/>
                  </a:cubicBezTo>
                  <a:cubicBezTo>
                    <a:pt x="432" y="76"/>
                    <a:pt x="425" y="80"/>
                    <a:pt x="422" y="82"/>
                  </a:cubicBezTo>
                  <a:cubicBezTo>
                    <a:pt x="420" y="84"/>
                    <a:pt x="416" y="79"/>
                    <a:pt x="413" y="87"/>
                  </a:cubicBezTo>
                  <a:cubicBezTo>
                    <a:pt x="411" y="94"/>
                    <a:pt x="404" y="102"/>
                    <a:pt x="408" y="102"/>
                  </a:cubicBezTo>
                  <a:cubicBezTo>
                    <a:pt x="413" y="102"/>
                    <a:pt x="407" y="93"/>
                    <a:pt x="420" y="98"/>
                  </a:cubicBezTo>
                  <a:cubicBezTo>
                    <a:pt x="432" y="102"/>
                    <a:pt x="434" y="105"/>
                    <a:pt x="425" y="102"/>
                  </a:cubicBezTo>
                  <a:cubicBezTo>
                    <a:pt x="416" y="101"/>
                    <a:pt x="413" y="101"/>
                    <a:pt x="422" y="107"/>
                  </a:cubicBezTo>
                  <a:cubicBezTo>
                    <a:pt x="431" y="112"/>
                    <a:pt x="429" y="104"/>
                    <a:pt x="434" y="107"/>
                  </a:cubicBezTo>
                  <a:cubicBezTo>
                    <a:pt x="440" y="112"/>
                    <a:pt x="437" y="119"/>
                    <a:pt x="431" y="116"/>
                  </a:cubicBezTo>
                  <a:cubicBezTo>
                    <a:pt x="426" y="115"/>
                    <a:pt x="419" y="112"/>
                    <a:pt x="413" y="116"/>
                  </a:cubicBezTo>
                  <a:cubicBezTo>
                    <a:pt x="405" y="121"/>
                    <a:pt x="407" y="112"/>
                    <a:pt x="402" y="116"/>
                  </a:cubicBezTo>
                  <a:cubicBezTo>
                    <a:pt x="397" y="119"/>
                    <a:pt x="408" y="118"/>
                    <a:pt x="408" y="122"/>
                  </a:cubicBezTo>
                  <a:cubicBezTo>
                    <a:pt x="408" y="127"/>
                    <a:pt x="422" y="122"/>
                    <a:pt x="423" y="126"/>
                  </a:cubicBezTo>
                  <a:cubicBezTo>
                    <a:pt x="426" y="129"/>
                    <a:pt x="416" y="127"/>
                    <a:pt x="425" y="132"/>
                  </a:cubicBezTo>
                  <a:cubicBezTo>
                    <a:pt x="432" y="135"/>
                    <a:pt x="423" y="130"/>
                    <a:pt x="426" y="136"/>
                  </a:cubicBezTo>
                  <a:cubicBezTo>
                    <a:pt x="431" y="141"/>
                    <a:pt x="423" y="144"/>
                    <a:pt x="422" y="141"/>
                  </a:cubicBezTo>
                  <a:cubicBezTo>
                    <a:pt x="419" y="136"/>
                    <a:pt x="411" y="149"/>
                    <a:pt x="420" y="149"/>
                  </a:cubicBezTo>
                  <a:cubicBezTo>
                    <a:pt x="428" y="150"/>
                    <a:pt x="431" y="154"/>
                    <a:pt x="426" y="155"/>
                  </a:cubicBezTo>
                  <a:cubicBezTo>
                    <a:pt x="419" y="158"/>
                    <a:pt x="422" y="154"/>
                    <a:pt x="414" y="152"/>
                  </a:cubicBezTo>
                  <a:cubicBezTo>
                    <a:pt x="407" y="152"/>
                    <a:pt x="399" y="160"/>
                    <a:pt x="407" y="160"/>
                  </a:cubicBezTo>
                  <a:cubicBezTo>
                    <a:pt x="414" y="160"/>
                    <a:pt x="422" y="160"/>
                    <a:pt x="419" y="166"/>
                  </a:cubicBezTo>
                  <a:cubicBezTo>
                    <a:pt x="414" y="171"/>
                    <a:pt x="414" y="164"/>
                    <a:pt x="408" y="169"/>
                  </a:cubicBezTo>
                  <a:cubicBezTo>
                    <a:pt x="401" y="175"/>
                    <a:pt x="393" y="163"/>
                    <a:pt x="385" y="166"/>
                  </a:cubicBezTo>
                  <a:cubicBezTo>
                    <a:pt x="379" y="168"/>
                    <a:pt x="378" y="172"/>
                    <a:pt x="372" y="171"/>
                  </a:cubicBezTo>
                  <a:cubicBezTo>
                    <a:pt x="388" y="175"/>
                    <a:pt x="376" y="175"/>
                    <a:pt x="382" y="178"/>
                  </a:cubicBezTo>
                  <a:cubicBezTo>
                    <a:pt x="390" y="183"/>
                    <a:pt x="379" y="183"/>
                    <a:pt x="391" y="188"/>
                  </a:cubicBezTo>
                  <a:cubicBezTo>
                    <a:pt x="399" y="189"/>
                    <a:pt x="404" y="189"/>
                    <a:pt x="402" y="194"/>
                  </a:cubicBezTo>
                  <a:cubicBezTo>
                    <a:pt x="401" y="197"/>
                    <a:pt x="410" y="191"/>
                    <a:pt x="407" y="194"/>
                  </a:cubicBezTo>
                  <a:cubicBezTo>
                    <a:pt x="402" y="199"/>
                    <a:pt x="401" y="196"/>
                    <a:pt x="402" y="199"/>
                  </a:cubicBezTo>
                  <a:cubicBezTo>
                    <a:pt x="404" y="203"/>
                    <a:pt x="410" y="192"/>
                    <a:pt x="408" y="199"/>
                  </a:cubicBezTo>
                  <a:cubicBezTo>
                    <a:pt x="408" y="205"/>
                    <a:pt x="413" y="214"/>
                    <a:pt x="408" y="213"/>
                  </a:cubicBezTo>
                  <a:cubicBezTo>
                    <a:pt x="404" y="213"/>
                    <a:pt x="404" y="211"/>
                    <a:pt x="401" y="213"/>
                  </a:cubicBezTo>
                  <a:cubicBezTo>
                    <a:pt x="397" y="214"/>
                    <a:pt x="388" y="211"/>
                    <a:pt x="388" y="206"/>
                  </a:cubicBezTo>
                  <a:cubicBezTo>
                    <a:pt x="388" y="202"/>
                    <a:pt x="387" y="200"/>
                    <a:pt x="382" y="199"/>
                  </a:cubicBezTo>
                  <a:cubicBezTo>
                    <a:pt x="379" y="199"/>
                    <a:pt x="378" y="196"/>
                    <a:pt x="370" y="196"/>
                  </a:cubicBezTo>
                  <a:cubicBezTo>
                    <a:pt x="364" y="196"/>
                    <a:pt x="364" y="197"/>
                    <a:pt x="372" y="197"/>
                  </a:cubicBezTo>
                  <a:cubicBezTo>
                    <a:pt x="379" y="199"/>
                    <a:pt x="381" y="202"/>
                    <a:pt x="373" y="205"/>
                  </a:cubicBezTo>
                  <a:cubicBezTo>
                    <a:pt x="365" y="206"/>
                    <a:pt x="364" y="208"/>
                    <a:pt x="362" y="205"/>
                  </a:cubicBezTo>
                  <a:cubicBezTo>
                    <a:pt x="361" y="203"/>
                    <a:pt x="361" y="205"/>
                    <a:pt x="358" y="210"/>
                  </a:cubicBezTo>
                  <a:cubicBezTo>
                    <a:pt x="353" y="216"/>
                    <a:pt x="356" y="214"/>
                    <a:pt x="365" y="213"/>
                  </a:cubicBezTo>
                  <a:cubicBezTo>
                    <a:pt x="373" y="211"/>
                    <a:pt x="373" y="213"/>
                    <a:pt x="370" y="214"/>
                  </a:cubicBezTo>
                  <a:cubicBezTo>
                    <a:pt x="369" y="216"/>
                    <a:pt x="369" y="213"/>
                    <a:pt x="362" y="216"/>
                  </a:cubicBezTo>
                  <a:cubicBezTo>
                    <a:pt x="358" y="220"/>
                    <a:pt x="361" y="222"/>
                    <a:pt x="364" y="219"/>
                  </a:cubicBezTo>
                  <a:cubicBezTo>
                    <a:pt x="369" y="214"/>
                    <a:pt x="370" y="217"/>
                    <a:pt x="375" y="216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40" name="Freeform 14">
              <a:extLst>
                <a:ext uri="{FF2B5EF4-FFF2-40B4-BE49-F238E27FC236}">
                  <a16:creationId xmlns:a16="http://schemas.microsoft.com/office/drawing/2014/main" id="{C90CADF1-3258-C16D-25BC-4AE265BBA3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46853" y="3714490"/>
              <a:ext cx="750143" cy="587675"/>
            </a:xfrm>
            <a:custGeom>
              <a:avLst/>
              <a:gdLst/>
              <a:ahLst/>
              <a:cxnLst>
                <a:cxn ang="0">
                  <a:pos x="207" y="154"/>
                </a:cxn>
                <a:cxn ang="0">
                  <a:pos x="204" y="161"/>
                </a:cxn>
                <a:cxn ang="0">
                  <a:pos x="210" y="167"/>
                </a:cxn>
                <a:cxn ang="0">
                  <a:pos x="201" y="172"/>
                </a:cxn>
                <a:cxn ang="0">
                  <a:pos x="199" y="181"/>
                </a:cxn>
                <a:cxn ang="0">
                  <a:pos x="198" y="187"/>
                </a:cxn>
                <a:cxn ang="0">
                  <a:pos x="160" y="175"/>
                </a:cxn>
                <a:cxn ang="0">
                  <a:pos x="106" y="147"/>
                </a:cxn>
                <a:cxn ang="0">
                  <a:pos x="93" y="117"/>
                </a:cxn>
                <a:cxn ang="0">
                  <a:pos x="64" y="77"/>
                </a:cxn>
                <a:cxn ang="0">
                  <a:pos x="48" y="52"/>
                </a:cxn>
                <a:cxn ang="0">
                  <a:pos x="27" y="15"/>
                </a:cxn>
                <a:cxn ang="0">
                  <a:pos x="23" y="32"/>
                </a:cxn>
                <a:cxn ang="0">
                  <a:pos x="44" y="64"/>
                </a:cxn>
                <a:cxn ang="0">
                  <a:pos x="52" y="89"/>
                </a:cxn>
                <a:cxn ang="0">
                  <a:pos x="59" y="102"/>
                </a:cxn>
                <a:cxn ang="0">
                  <a:pos x="36" y="69"/>
                </a:cxn>
                <a:cxn ang="0">
                  <a:pos x="23" y="49"/>
                </a:cxn>
                <a:cxn ang="0">
                  <a:pos x="0" y="4"/>
                </a:cxn>
                <a:cxn ang="0">
                  <a:pos x="18" y="4"/>
                </a:cxn>
                <a:cxn ang="0">
                  <a:pos x="71" y="16"/>
                </a:cxn>
                <a:cxn ang="0">
                  <a:pos x="84" y="11"/>
                </a:cxn>
                <a:cxn ang="0">
                  <a:pos x="106" y="39"/>
                </a:cxn>
                <a:cxn ang="0">
                  <a:pos x="137" y="52"/>
                </a:cxn>
                <a:cxn ang="0">
                  <a:pos x="157" y="72"/>
                </a:cxn>
                <a:cxn ang="0">
                  <a:pos x="154" y="89"/>
                </a:cxn>
                <a:cxn ang="0">
                  <a:pos x="154" y="108"/>
                </a:cxn>
                <a:cxn ang="0">
                  <a:pos x="160" y="128"/>
                </a:cxn>
                <a:cxn ang="0">
                  <a:pos x="181" y="151"/>
                </a:cxn>
                <a:cxn ang="0">
                  <a:pos x="196" y="145"/>
                </a:cxn>
                <a:cxn ang="0">
                  <a:pos x="204" y="147"/>
                </a:cxn>
                <a:cxn ang="0">
                  <a:pos x="210" y="137"/>
                </a:cxn>
                <a:cxn ang="0">
                  <a:pos x="212" y="123"/>
                </a:cxn>
                <a:cxn ang="0">
                  <a:pos x="228" y="117"/>
                </a:cxn>
                <a:cxn ang="0">
                  <a:pos x="236" y="117"/>
                </a:cxn>
                <a:cxn ang="0">
                  <a:pos x="240" y="119"/>
                </a:cxn>
                <a:cxn ang="0">
                  <a:pos x="234" y="134"/>
                </a:cxn>
                <a:cxn ang="0">
                  <a:pos x="234" y="139"/>
                </a:cxn>
                <a:cxn ang="0">
                  <a:pos x="231" y="150"/>
                </a:cxn>
                <a:cxn ang="0">
                  <a:pos x="230" y="145"/>
                </a:cxn>
                <a:cxn ang="0">
                  <a:pos x="224" y="153"/>
                </a:cxn>
              </a:cxnLst>
              <a:rect l="0" t="0" r="r" b="b"/>
              <a:pathLst>
                <a:path w="242" h="187">
                  <a:moveTo>
                    <a:pt x="222" y="154"/>
                  </a:moveTo>
                  <a:cubicBezTo>
                    <a:pt x="207" y="154"/>
                    <a:pt x="207" y="154"/>
                    <a:pt x="207" y="154"/>
                  </a:cubicBezTo>
                  <a:cubicBezTo>
                    <a:pt x="207" y="161"/>
                    <a:pt x="207" y="161"/>
                    <a:pt x="207" y="161"/>
                  </a:cubicBezTo>
                  <a:cubicBezTo>
                    <a:pt x="204" y="161"/>
                    <a:pt x="204" y="161"/>
                    <a:pt x="204" y="161"/>
                  </a:cubicBezTo>
                  <a:cubicBezTo>
                    <a:pt x="204" y="161"/>
                    <a:pt x="205" y="161"/>
                    <a:pt x="205" y="162"/>
                  </a:cubicBezTo>
                  <a:cubicBezTo>
                    <a:pt x="207" y="164"/>
                    <a:pt x="208" y="164"/>
                    <a:pt x="210" y="167"/>
                  </a:cubicBezTo>
                  <a:cubicBezTo>
                    <a:pt x="210" y="170"/>
                    <a:pt x="213" y="165"/>
                    <a:pt x="212" y="172"/>
                  </a:cubicBezTo>
                  <a:cubicBezTo>
                    <a:pt x="201" y="172"/>
                    <a:pt x="201" y="172"/>
                    <a:pt x="201" y="172"/>
                  </a:cubicBezTo>
                  <a:cubicBezTo>
                    <a:pt x="198" y="179"/>
                    <a:pt x="198" y="179"/>
                    <a:pt x="198" y="179"/>
                  </a:cubicBezTo>
                  <a:cubicBezTo>
                    <a:pt x="199" y="181"/>
                    <a:pt x="199" y="181"/>
                    <a:pt x="199" y="181"/>
                  </a:cubicBezTo>
                  <a:cubicBezTo>
                    <a:pt x="199" y="181"/>
                    <a:pt x="198" y="182"/>
                    <a:pt x="198" y="184"/>
                  </a:cubicBezTo>
                  <a:cubicBezTo>
                    <a:pt x="198" y="186"/>
                    <a:pt x="198" y="187"/>
                    <a:pt x="198" y="187"/>
                  </a:cubicBezTo>
                  <a:cubicBezTo>
                    <a:pt x="190" y="181"/>
                    <a:pt x="190" y="173"/>
                    <a:pt x="179" y="172"/>
                  </a:cubicBezTo>
                  <a:cubicBezTo>
                    <a:pt x="170" y="168"/>
                    <a:pt x="170" y="179"/>
                    <a:pt x="160" y="175"/>
                  </a:cubicBezTo>
                  <a:cubicBezTo>
                    <a:pt x="149" y="172"/>
                    <a:pt x="129" y="162"/>
                    <a:pt x="123" y="156"/>
                  </a:cubicBezTo>
                  <a:cubicBezTo>
                    <a:pt x="117" y="150"/>
                    <a:pt x="114" y="154"/>
                    <a:pt x="106" y="147"/>
                  </a:cubicBezTo>
                  <a:cubicBezTo>
                    <a:pt x="100" y="140"/>
                    <a:pt x="96" y="140"/>
                    <a:pt x="93" y="134"/>
                  </a:cubicBezTo>
                  <a:cubicBezTo>
                    <a:pt x="88" y="127"/>
                    <a:pt x="97" y="123"/>
                    <a:pt x="93" y="117"/>
                  </a:cubicBezTo>
                  <a:cubicBezTo>
                    <a:pt x="90" y="109"/>
                    <a:pt x="94" y="108"/>
                    <a:pt x="79" y="92"/>
                  </a:cubicBezTo>
                  <a:cubicBezTo>
                    <a:pt x="67" y="81"/>
                    <a:pt x="73" y="81"/>
                    <a:pt x="64" y="77"/>
                  </a:cubicBezTo>
                  <a:cubicBezTo>
                    <a:pt x="56" y="72"/>
                    <a:pt x="68" y="67"/>
                    <a:pt x="59" y="63"/>
                  </a:cubicBezTo>
                  <a:cubicBezTo>
                    <a:pt x="50" y="60"/>
                    <a:pt x="55" y="55"/>
                    <a:pt x="48" y="52"/>
                  </a:cubicBezTo>
                  <a:cubicBezTo>
                    <a:pt x="42" y="47"/>
                    <a:pt x="36" y="36"/>
                    <a:pt x="33" y="25"/>
                  </a:cubicBezTo>
                  <a:cubicBezTo>
                    <a:pt x="30" y="16"/>
                    <a:pt x="30" y="16"/>
                    <a:pt x="27" y="15"/>
                  </a:cubicBezTo>
                  <a:cubicBezTo>
                    <a:pt x="23" y="13"/>
                    <a:pt x="26" y="15"/>
                    <a:pt x="20" y="11"/>
                  </a:cubicBezTo>
                  <a:cubicBezTo>
                    <a:pt x="15" y="8"/>
                    <a:pt x="20" y="25"/>
                    <a:pt x="23" y="32"/>
                  </a:cubicBezTo>
                  <a:cubicBezTo>
                    <a:pt x="26" y="38"/>
                    <a:pt x="32" y="41"/>
                    <a:pt x="33" y="49"/>
                  </a:cubicBezTo>
                  <a:cubicBezTo>
                    <a:pt x="36" y="57"/>
                    <a:pt x="41" y="58"/>
                    <a:pt x="44" y="64"/>
                  </a:cubicBezTo>
                  <a:cubicBezTo>
                    <a:pt x="47" y="72"/>
                    <a:pt x="45" y="70"/>
                    <a:pt x="48" y="78"/>
                  </a:cubicBezTo>
                  <a:cubicBezTo>
                    <a:pt x="53" y="86"/>
                    <a:pt x="50" y="86"/>
                    <a:pt x="52" y="89"/>
                  </a:cubicBezTo>
                  <a:cubicBezTo>
                    <a:pt x="55" y="92"/>
                    <a:pt x="55" y="86"/>
                    <a:pt x="58" y="92"/>
                  </a:cubicBezTo>
                  <a:cubicBezTo>
                    <a:pt x="61" y="98"/>
                    <a:pt x="64" y="98"/>
                    <a:pt x="59" y="102"/>
                  </a:cubicBezTo>
                  <a:cubicBezTo>
                    <a:pt x="55" y="105"/>
                    <a:pt x="58" y="98"/>
                    <a:pt x="45" y="89"/>
                  </a:cubicBezTo>
                  <a:cubicBezTo>
                    <a:pt x="32" y="81"/>
                    <a:pt x="44" y="74"/>
                    <a:pt x="36" y="69"/>
                  </a:cubicBezTo>
                  <a:cubicBezTo>
                    <a:pt x="30" y="63"/>
                    <a:pt x="24" y="61"/>
                    <a:pt x="18" y="55"/>
                  </a:cubicBezTo>
                  <a:cubicBezTo>
                    <a:pt x="13" y="49"/>
                    <a:pt x="23" y="57"/>
                    <a:pt x="23" y="49"/>
                  </a:cubicBezTo>
                  <a:cubicBezTo>
                    <a:pt x="24" y="41"/>
                    <a:pt x="15" y="38"/>
                    <a:pt x="12" y="32"/>
                  </a:cubicBezTo>
                  <a:cubicBezTo>
                    <a:pt x="7" y="27"/>
                    <a:pt x="9" y="21"/>
                    <a:pt x="0" y="4"/>
                  </a:cubicBezTo>
                  <a:cubicBezTo>
                    <a:pt x="4" y="2"/>
                    <a:pt x="15" y="2"/>
                    <a:pt x="18" y="0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23" y="5"/>
                    <a:pt x="45" y="15"/>
                    <a:pt x="48" y="16"/>
                  </a:cubicBezTo>
                  <a:cubicBezTo>
                    <a:pt x="71" y="16"/>
                    <a:pt x="71" y="16"/>
                    <a:pt x="71" y="16"/>
                  </a:cubicBezTo>
                  <a:cubicBezTo>
                    <a:pt x="71" y="11"/>
                    <a:pt x="71" y="11"/>
                    <a:pt x="71" y="11"/>
                  </a:cubicBezTo>
                  <a:cubicBezTo>
                    <a:pt x="84" y="11"/>
                    <a:pt x="84" y="11"/>
                    <a:pt x="84" y="11"/>
                  </a:cubicBezTo>
                  <a:cubicBezTo>
                    <a:pt x="84" y="11"/>
                    <a:pt x="93" y="21"/>
                    <a:pt x="96" y="24"/>
                  </a:cubicBezTo>
                  <a:cubicBezTo>
                    <a:pt x="100" y="27"/>
                    <a:pt x="99" y="35"/>
                    <a:pt x="106" y="39"/>
                  </a:cubicBezTo>
                  <a:cubicBezTo>
                    <a:pt x="115" y="43"/>
                    <a:pt x="109" y="29"/>
                    <a:pt x="120" y="30"/>
                  </a:cubicBezTo>
                  <a:cubicBezTo>
                    <a:pt x="129" y="32"/>
                    <a:pt x="131" y="44"/>
                    <a:pt x="137" y="52"/>
                  </a:cubicBezTo>
                  <a:cubicBezTo>
                    <a:pt x="143" y="60"/>
                    <a:pt x="138" y="69"/>
                    <a:pt x="152" y="70"/>
                  </a:cubicBezTo>
                  <a:cubicBezTo>
                    <a:pt x="154" y="70"/>
                    <a:pt x="157" y="74"/>
                    <a:pt x="157" y="72"/>
                  </a:cubicBezTo>
                  <a:cubicBezTo>
                    <a:pt x="157" y="72"/>
                    <a:pt x="157" y="72"/>
                    <a:pt x="158" y="72"/>
                  </a:cubicBezTo>
                  <a:cubicBezTo>
                    <a:pt x="158" y="78"/>
                    <a:pt x="155" y="78"/>
                    <a:pt x="154" y="89"/>
                  </a:cubicBezTo>
                  <a:cubicBezTo>
                    <a:pt x="152" y="102"/>
                    <a:pt x="154" y="102"/>
                    <a:pt x="154" y="105"/>
                  </a:cubicBezTo>
                  <a:cubicBezTo>
                    <a:pt x="152" y="106"/>
                    <a:pt x="152" y="105"/>
                    <a:pt x="154" y="108"/>
                  </a:cubicBezTo>
                  <a:cubicBezTo>
                    <a:pt x="154" y="112"/>
                    <a:pt x="154" y="117"/>
                    <a:pt x="155" y="117"/>
                  </a:cubicBezTo>
                  <a:cubicBezTo>
                    <a:pt x="157" y="117"/>
                    <a:pt x="155" y="123"/>
                    <a:pt x="160" y="128"/>
                  </a:cubicBezTo>
                  <a:cubicBezTo>
                    <a:pt x="167" y="136"/>
                    <a:pt x="164" y="144"/>
                    <a:pt x="172" y="145"/>
                  </a:cubicBezTo>
                  <a:cubicBezTo>
                    <a:pt x="179" y="147"/>
                    <a:pt x="178" y="151"/>
                    <a:pt x="181" y="151"/>
                  </a:cubicBezTo>
                  <a:cubicBezTo>
                    <a:pt x="184" y="150"/>
                    <a:pt x="184" y="148"/>
                    <a:pt x="189" y="148"/>
                  </a:cubicBezTo>
                  <a:cubicBezTo>
                    <a:pt x="196" y="147"/>
                    <a:pt x="192" y="147"/>
                    <a:pt x="196" y="145"/>
                  </a:cubicBezTo>
                  <a:cubicBezTo>
                    <a:pt x="199" y="145"/>
                    <a:pt x="201" y="145"/>
                    <a:pt x="201" y="147"/>
                  </a:cubicBezTo>
                  <a:cubicBezTo>
                    <a:pt x="201" y="150"/>
                    <a:pt x="204" y="148"/>
                    <a:pt x="204" y="147"/>
                  </a:cubicBezTo>
                  <a:cubicBezTo>
                    <a:pt x="205" y="144"/>
                    <a:pt x="202" y="145"/>
                    <a:pt x="204" y="144"/>
                  </a:cubicBezTo>
                  <a:cubicBezTo>
                    <a:pt x="205" y="142"/>
                    <a:pt x="208" y="142"/>
                    <a:pt x="210" y="137"/>
                  </a:cubicBezTo>
                  <a:cubicBezTo>
                    <a:pt x="210" y="131"/>
                    <a:pt x="212" y="136"/>
                    <a:pt x="212" y="130"/>
                  </a:cubicBezTo>
                  <a:cubicBezTo>
                    <a:pt x="210" y="125"/>
                    <a:pt x="212" y="127"/>
                    <a:pt x="212" y="123"/>
                  </a:cubicBezTo>
                  <a:cubicBezTo>
                    <a:pt x="212" y="120"/>
                    <a:pt x="218" y="119"/>
                    <a:pt x="222" y="119"/>
                  </a:cubicBezTo>
                  <a:cubicBezTo>
                    <a:pt x="227" y="119"/>
                    <a:pt x="224" y="117"/>
                    <a:pt x="228" y="117"/>
                  </a:cubicBezTo>
                  <a:cubicBezTo>
                    <a:pt x="233" y="116"/>
                    <a:pt x="236" y="119"/>
                    <a:pt x="237" y="117"/>
                  </a:cubicBezTo>
                  <a:cubicBezTo>
                    <a:pt x="239" y="117"/>
                    <a:pt x="237" y="117"/>
                    <a:pt x="236" y="117"/>
                  </a:cubicBezTo>
                  <a:cubicBezTo>
                    <a:pt x="236" y="117"/>
                    <a:pt x="237" y="116"/>
                    <a:pt x="239" y="117"/>
                  </a:cubicBezTo>
                  <a:cubicBezTo>
                    <a:pt x="240" y="119"/>
                    <a:pt x="240" y="117"/>
                    <a:pt x="240" y="119"/>
                  </a:cubicBezTo>
                  <a:cubicBezTo>
                    <a:pt x="240" y="122"/>
                    <a:pt x="242" y="120"/>
                    <a:pt x="239" y="125"/>
                  </a:cubicBezTo>
                  <a:cubicBezTo>
                    <a:pt x="234" y="131"/>
                    <a:pt x="236" y="134"/>
                    <a:pt x="234" y="134"/>
                  </a:cubicBezTo>
                  <a:cubicBezTo>
                    <a:pt x="231" y="136"/>
                    <a:pt x="233" y="137"/>
                    <a:pt x="234" y="137"/>
                  </a:cubicBezTo>
                  <a:cubicBezTo>
                    <a:pt x="236" y="136"/>
                    <a:pt x="236" y="137"/>
                    <a:pt x="234" y="139"/>
                  </a:cubicBezTo>
                  <a:cubicBezTo>
                    <a:pt x="231" y="140"/>
                    <a:pt x="236" y="139"/>
                    <a:pt x="234" y="140"/>
                  </a:cubicBezTo>
                  <a:cubicBezTo>
                    <a:pt x="234" y="142"/>
                    <a:pt x="233" y="153"/>
                    <a:pt x="231" y="150"/>
                  </a:cubicBezTo>
                  <a:cubicBezTo>
                    <a:pt x="231" y="148"/>
                    <a:pt x="230" y="148"/>
                    <a:pt x="230" y="147"/>
                  </a:cubicBezTo>
                  <a:cubicBezTo>
                    <a:pt x="231" y="144"/>
                    <a:pt x="231" y="144"/>
                    <a:pt x="230" y="145"/>
                  </a:cubicBezTo>
                  <a:cubicBezTo>
                    <a:pt x="230" y="147"/>
                    <a:pt x="228" y="147"/>
                    <a:pt x="228" y="148"/>
                  </a:cubicBezTo>
                  <a:cubicBezTo>
                    <a:pt x="225" y="147"/>
                    <a:pt x="225" y="153"/>
                    <a:pt x="224" y="153"/>
                  </a:cubicBezTo>
                  <a:cubicBezTo>
                    <a:pt x="224" y="154"/>
                    <a:pt x="222" y="151"/>
                    <a:pt x="222" y="154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41" name="Freeform 15">
              <a:extLst>
                <a:ext uri="{FF2B5EF4-FFF2-40B4-BE49-F238E27FC236}">
                  <a16:creationId xmlns:a16="http://schemas.microsoft.com/office/drawing/2014/main" id="{80CCBD22-2670-AD25-AB4F-84FE6F222FC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34751" y="4175888"/>
              <a:ext cx="27132" cy="82566"/>
            </a:xfrm>
            <a:custGeom>
              <a:avLst/>
              <a:gdLst/>
              <a:ahLst/>
              <a:cxnLst>
                <a:cxn ang="0">
                  <a:pos x="6" y="1"/>
                </a:cxn>
                <a:cxn ang="0">
                  <a:pos x="2" y="6"/>
                </a:cxn>
                <a:cxn ang="0">
                  <a:pos x="0" y="7"/>
                </a:cxn>
                <a:cxn ang="0">
                  <a:pos x="0" y="26"/>
                </a:cxn>
                <a:cxn ang="0">
                  <a:pos x="2" y="26"/>
                </a:cxn>
                <a:cxn ang="0">
                  <a:pos x="6" y="20"/>
                </a:cxn>
                <a:cxn ang="0">
                  <a:pos x="8" y="4"/>
                </a:cxn>
                <a:cxn ang="0">
                  <a:pos x="8" y="1"/>
                </a:cxn>
                <a:cxn ang="0">
                  <a:pos x="6" y="1"/>
                </a:cxn>
              </a:cxnLst>
              <a:rect l="0" t="0" r="r" b="b"/>
              <a:pathLst>
                <a:path w="9" h="26">
                  <a:moveTo>
                    <a:pt x="6" y="1"/>
                  </a:moveTo>
                  <a:cubicBezTo>
                    <a:pt x="3" y="0"/>
                    <a:pt x="3" y="6"/>
                    <a:pt x="2" y="6"/>
                  </a:cubicBezTo>
                  <a:cubicBezTo>
                    <a:pt x="2" y="7"/>
                    <a:pt x="0" y="4"/>
                    <a:pt x="0" y="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2" y="26"/>
                    <a:pt x="2" y="26"/>
                    <a:pt x="2" y="26"/>
                  </a:cubicBezTo>
                  <a:cubicBezTo>
                    <a:pt x="2" y="25"/>
                    <a:pt x="5" y="23"/>
                    <a:pt x="6" y="20"/>
                  </a:cubicBezTo>
                  <a:cubicBezTo>
                    <a:pt x="8" y="18"/>
                    <a:pt x="6" y="9"/>
                    <a:pt x="8" y="4"/>
                  </a:cubicBezTo>
                  <a:cubicBezTo>
                    <a:pt x="9" y="3"/>
                    <a:pt x="8" y="1"/>
                    <a:pt x="8" y="1"/>
                  </a:cubicBezTo>
                  <a:cubicBezTo>
                    <a:pt x="6" y="3"/>
                    <a:pt x="6" y="3"/>
                    <a:pt x="6" y="1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42" name="Freeform 16">
              <a:extLst>
                <a:ext uri="{FF2B5EF4-FFF2-40B4-BE49-F238E27FC236}">
                  <a16:creationId xmlns:a16="http://schemas.microsoft.com/office/drawing/2014/main" id="{5432C360-AFD4-F721-D13F-C883B78BAF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08777" y="5040402"/>
              <a:ext cx="316018" cy="424163"/>
            </a:xfrm>
            <a:custGeom>
              <a:avLst/>
              <a:gdLst/>
              <a:ahLst/>
              <a:cxnLst>
                <a:cxn ang="0">
                  <a:pos x="3" y="16"/>
                </a:cxn>
                <a:cxn ang="0">
                  <a:pos x="20" y="10"/>
                </a:cxn>
                <a:cxn ang="0">
                  <a:pos x="36" y="6"/>
                </a:cxn>
                <a:cxn ang="0">
                  <a:pos x="41" y="27"/>
                </a:cxn>
                <a:cxn ang="0">
                  <a:pos x="56" y="34"/>
                </a:cxn>
                <a:cxn ang="0">
                  <a:pos x="62" y="39"/>
                </a:cxn>
                <a:cxn ang="0">
                  <a:pos x="73" y="42"/>
                </a:cxn>
                <a:cxn ang="0">
                  <a:pos x="79" y="69"/>
                </a:cxn>
                <a:cxn ang="0">
                  <a:pos x="91" y="70"/>
                </a:cxn>
                <a:cxn ang="0">
                  <a:pos x="94" y="79"/>
                </a:cxn>
                <a:cxn ang="0">
                  <a:pos x="96" y="95"/>
                </a:cxn>
                <a:cxn ang="0">
                  <a:pos x="94" y="103"/>
                </a:cxn>
                <a:cxn ang="0">
                  <a:pos x="93" y="107"/>
                </a:cxn>
                <a:cxn ang="0">
                  <a:pos x="90" y="103"/>
                </a:cxn>
                <a:cxn ang="0">
                  <a:pos x="76" y="100"/>
                </a:cxn>
                <a:cxn ang="0">
                  <a:pos x="64" y="104"/>
                </a:cxn>
                <a:cxn ang="0">
                  <a:pos x="61" y="115"/>
                </a:cxn>
                <a:cxn ang="0">
                  <a:pos x="58" y="129"/>
                </a:cxn>
                <a:cxn ang="0">
                  <a:pos x="55" y="126"/>
                </a:cxn>
                <a:cxn ang="0">
                  <a:pos x="49" y="126"/>
                </a:cxn>
                <a:cxn ang="0">
                  <a:pos x="44" y="134"/>
                </a:cxn>
                <a:cxn ang="0">
                  <a:pos x="35" y="128"/>
                </a:cxn>
                <a:cxn ang="0">
                  <a:pos x="29" y="123"/>
                </a:cxn>
                <a:cxn ang="0">
                  <a:pos x="26" y="128"/>
                </a:cxn>
                <a:cxn ang="0">
                  <a:pos x="21" y="134"/>
                </a:cxn>
                <a:cxn ang="0">
                  <a:pos x="15" y="131"/>
                </a:cxn>
                <a:cxn ang="0">
                  <a:pos x="12" y="115"/>
                </a:cxn>
                <a:cxn ang="0">
                  <a:pos x="10" y="111"/>
                </a:cxn>
                <a:cxn ang="0">
                  <a:pos x="10" y="106"/>
                </a:cxn>
                <a:cxn ang="0">
                  <a:pos x="10" y="101"/>
                </a:cxn>
                <a:cxn ang="0">
                  <a:pos x="9" y="97"/>
                </a:cxn>
                <a:cxn ang="0">
                  <a:pos x="6" y="87"/>
                </a:cxn>
                <a:cxn ang="0">
                  <a:pos x="3" y="79"/>
                </a:cxn>
                <a:cxn ang="0">
                  <a:pos x="4" y="67"/>
                </a:cxn>
                <a:cxn ang="0">
                  <a:pos x="4" y="56"/>
                </a:cxn>
                <a:cxn ang="0">
                  <a:pos x="7" y="45"/>
                </a:cxn>
                <a:cxn ang="0">
                  <a:pos x="9" y="31"/>
                </a:cxn>
                <a:cxn ang="0">
                  <a:pos x="3" y="16"/>
                </a:cxn>
              </a:cxnLst>
              <a:rect l="0" t="0" r="r" b="b"/>
              <a:pathLst>
                <a:path w="102" h="135">
                  <a:moveTo>
                    <a:pt x="3" y="16"/>
                  </a:moveTo>
                  <a:cubicBezTo>
                    <a:pt x="12" y="19"/>
                    <a:pt x="10" y="17"/>
                    <a:pt x="20" y="10"/>
                  </a:cubicBezTo>
                  <a:cubicBezTo>
                    <a:pt x="27" y="3"/>
                    <a:pt x="39" y="0"/>
                    <a:pt x="36" y="6"/>
                  </a:cubicBezTo>
                  <a:cubicBezTo>
                    <a:pt x="35" y="14"/>
                    <a:pt x="35" y="20"/>
                    <a:pt x="41" y="27"/>
                  </a:cubicBezTo>
                  <a:cubicBezTo>
                    <a:pt x="47" y="33"/>
                    <a:pt x="50" y="30"/>
                    <a:pt x="56" y="34"/>
                  </a:cubicBezTo>
                  <a:cubicBezTo>
                    <a:pt x="61" y="39"/>
                    <a:pt x="59" y="36"/>
                    <a:pt x="62" y="39"/>
                  </a:cubicBezTo>
                  <a:cubicBezTo>
                    <a:pt x="67" y="44"/>
                    <a:pt x="68" y="38"/>
                    <a:pt x="73" y="42"/>
                  </a:cubicBezTo>
                  <a:cubicBezTo>
                    <a:pt x="77" y="47"/>
                    <a:pt x="74" y="67"/>
                    <a:pt x="79" y="69"/>
                  </a:cubicBezTo>
                  <a:cubicBezTo>
                    <a:pt x="83" y="69"/>
                    <a:pt x="93" y="67"/>
                    <a:pt x="91" y="70"/>
                  </a:cubicBezTo>
                  <a:cubicBezTo>
                    <a:pt x="90" y="73"/>
                    <a:pt x="90" y="78"/>
                    <a:pt x="94" y="79"/>
                  </a:cubicBezTo>
                  <a:cubicBezTo>
                    <a:pt x="102" y="83"/>
                    <a:pt x="96" y="93"/>
                    <a:pt x="96" y="95"/>
                  </a:cubicBezTo>
                  <a:cubicBezTo>
                    <a:pt x="97" y="98"/>
                    <a:pt x="94" y="101"/>
                    <a:pt x="94" y="103"/>
                  </a:cubicBezTo>
                  <a:cubicBezTo>
                    <a:pt x="96" y="106"/>
                    <a:pt x="96" y="106"/>
                    <a:pt x="93" y="107"/>
                  </a:cubicBezTo>
                  <a:cubicBezTo>
                    <a:pt x="93" y="104"/>
                    <a:pt x="94" y="104"/>
                    <a:pt x="90" y="103"/>
                  </a:cubicBezTo>
                  <a:cubicBezTo>
                    <a:pt x="87" y="100"/>
                    <a:pt x="85" y="97"/>
                    <a:pt x="76" y="100"/>
                  </a:cubicBezTo>
                  <a:cubicBezTo>
                    <a:pt x="67" y="101"/>
                    <a:pt x="65" y="100"/>
                    <a:pt x="64" y="104"/>
                  </a:cubicBezTo>
                  <a:cubicBezTo>
                    <a:pt x="62" y="109"/>
                    <a:pt x="61" y="109"/>
                    <a:pt x="61" y="115"/>
                  </a:cubicBezTo>
                  <a:cubicBezTo>
                    <a:pt x="61" y="120"/>
                    <a:pt x="58" y="126"/>
                    <a:pt x="58" y="129"/>
                  </a:cubicBezTo>
                  <a:cubicBezTo>
                    <a:pt x="56" y="128"/>
                    <a:pt x="56" y="126"/>
                    <a:pt x="55" y="126"/>
                  </a:cubicBezTo>
                  <a:cubicBezTo>
                    <a:pt x="53" y="126"/>
                    <a:pt x="52" y="126"/>
                    <a:pt x="49" y="126"/>
                  </a:cubicBezTo>
                  <a:cubicBezTo>
                    <a:pt x="47" y="126"/>
                    <a:pt x="45" y="128"/>
                    <a:pt x="44" y="134"/>
                  </a:cubicBezTo>
                  <a:cubicBezTo>
                    <a:pt x="42" y="126"/>
                    <a:pt x="39" y="126"/>
                    <a:pt x="35" y="128"/>
                  </a:cubicBezTo>
                  <a:cubicBezTo>
                    <a:pt x="30" y="128"/>
                    <a:pt x="30" y="123"/>
                    <a:pt x="29" y="123"/>
                  </a:cubicBezTo>
                  <a:cubicBezTo>
                    <a:pt x="27" y="124"/>
                    <a:pt x="29" y="126"/>
                    <a:pt x="26" y="128"/>
                  </a:cubicBezTo>
                  <a:cubicBezTo>
                    <a:pt x="24" y="129"/>
                    <a:pt x="24" y="132"/>
                    <a:pt x="21" y="134"/>
                  </a:cubicBezTo>
                  <a:cubicBezTo>
                    <a:pt x="18" y="135"/>
                    <a:pt x="17" y="135"/>
                    <a:pt x="15" y="131"/>
                  </a:cubicBezTo>
                  <a:cubicBezTo>
                    <a:pt x="15" y="124"/>
                    <a:pt x="14" y="115"/>
                    <a:pt x="12" y="115"/>
                  </a:cubicBezTo>
                  <a:cubicBezTo>
                    <a:pt x="9" y="115"/>
                    <a:pt x="12" y="112"/>
                    <a:pt x="10" y="111"/>
                  </a:cubicBezTo>
                  <a:cubicBezTo>
                    <a:pt x="9" y="111"/>
                    <a:pt x="9" y="109"/>
                    <a:pt x="10" y="106"/>
                  </a:cubicBezTo>
                  <a:cubicBezTo>
                    <a:pt x="12" y="104"/>
                    <a:pt x="7" y="104"/>
                    <a:pt x="10" y="101"/>
                  </a:cubicBezTo>
                  <a:cubicBezTo>
                    <a:pt x="12" y="100"/>
                    <a:pt x="10" y="100"/>
                    <a:pt x="9" y="97"/>
                  </a:cubicBezTo>
                  <a:cubicBezTo>
                    <a:pt x="7" y="97"/>
                    <a:pt x="6" y="89"/>
                    <a:pt x="6" y="87"/>
                  </a:cubicBezTo>
                  <a:cubicBezTo>
                    <a:pt x="6" y="86"/>
                    <a:pt x="4" y="86"/>
                    <a:pt x="3" y="79"/>
                  </a:cubicBezTo>
                  <a:cubicBezTo>
                    <a:pt x="3" y="76"/>
                    <a:pt x="10" y="70"/>
                    <a:pt x="4" y="67"/>
                  </a:cubicBezTo>
                  <a:cubicBezTo>
                    <a:pt x="0" y="64"/>
                    <a:pt x="7" y="61"/>
                    <a:pt x="4" y="56"/>
                  </a:cubicBezTo>
                  <a:cubicBezTo>
                    <a:pt x="1" y="52"/>
                    <a:pt x="9" y="50"/>
                    <a:pt x="7" y="45"/>
                  </a:cubicBezTo>
                  <a:cubicBezTo>
                    <a:pt x="6" y="39"/>
                    <a:pt x="9" y="31"/>
                    <a:pt x="9" y="31"/>
                  </a:cubicBezTo>
                  <a:cubicBezTo>
                    <a:pt x="3" y="16"/>
                    <a:pt x="3" y="16"/>
                    <a:pt x="3" y="16"/>
                  </a:cubicBezTo>
                  <a:close/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43" name="Freeform 17">
              <a:extLst>
                <a:ext uri="{FF2B5EF4-FFF2-40B4-BE49-F238E27FC236}">
                  <a16:creationId xmlns:a16="http://schemas.microsoft.com/office/drawing/2014/main" id="{11C58E84-C2FE-B212-C73A-99E8C9045D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87535" y="5341525"/>
              <a:ext cx="207486" cy="280077"/>
            </a:xfrm>
            <a:custGeom>
              <a:avLst/>
              <a:gdLst/>
              <a:ahLst/>
              <a:cxnLst>
                <a:cxn ang="0">
                  <a:pos x="62" y="66"/>
                </a:cxn>
                <a:cxn ang="0">
                  <a:pos x="62" y="75"/>
                </a:cxn>
                <a:cxn ang="0">
                  <a:pos x="56" y="84"/>
                </a:cxn>
                <a:cxn ang="0">
                  <a:pos x="50" y="86"/>
                </a:cxn>
                <a:cxn ang="0">
                  <a:pos x="36" y="84"/>
                </a:cxn>
                <a:cxn ang="0">
                  <a:pos x="32" y="83"/>
                </a:cxn>
                <a:cxn ang="0">
                  <a:pos x="35" y="78"/>
                </a:cxn>
                <a:cxn ang="0">
                  <a:pos x="36" y="72"/>
                </a:cxn>
                <a:cxn ang="0">
                  <a:pos x="39" y="66"/>
                </a:cxn>
                <a:cxn ang="0">
                  <a:pos x="35" y="59"/>
                </a:cxn>
                <a:cxn ang="0">
                  <a:pos x="23" y="53"/>
                </a:cxn>
                <a:cxn ang="0">
                  <a:pos x="12" y="47"/>
                </a:cxn>
                <a:cxn ang="0">
                  <a:pos x="3" y="38"/>
                </a:cxn>
                <a:cxn ang="0">
                  <a:pos x="0" y="33"/>
                </a:cxn>
                <a:cxn ang="0">
                  <a:pos x="3" y="19"/>
                </a:cxn>
                <a:cxn ang="0">
                  <a:pos x="6" y="8"/>
                </a:cxn>
                <a:cxn ang="0">
                  <a:pos x="18" y="3"/>
                </a:cxn>
                <a:cxn ang="0">
                  <a:pos x="32" y="7"/>
                </a:cxn>
                <a:cxn ang="0">
                  <a:pos x="35" y="11"/>
                </a:cxn>
                <a:cxn ang="0">
                  <a:pos x="38" y="22"/>
                </a:cxn>
                <a:cxn ang="0">
                  <a:pos x="36" y="30"/>
                </a:cxn>
                <a:cxn ang="0">
                  <a:pos x="47" y="31"/>
                </a:cxn>
                <a:cxn ang="0">
                  <a:pos x="55" y="35"/>
                </a:cxn>
                <a:cxn ang="0">
                  <a:pos x="58" y="50"/>
                </a:cxn>
                <a:cxn ang="0">
                  <a:pos x="64" y="49"/>
                </a:cxn>
                <a:cxn ang="0">
                  <a:pos x="62" y="66"/>
                </a:cxn>
              </a:cxnLst>
              <a:rect l="0" t="0" r="r" b="b"/>
              <a:pathLst>
                <a:path w="67" h="89">
                  <a:moveTo>
                    <a:pt x="62" y="66"/>
                  </a:moveTo>
                  <a:cubicBezTo>
                    <a:pt x="64" y="72"/>
                    <a:pt x="62" y="70"/>
                    <a:pt x="62" y="75"/>
                  </a:cubicBezTo>
                  <a:cubicBezTo>
                    <a:pt x="61" y="80"/>
                    <a:pt x="56" y="80"/>
                    <a:pt x="56" y="84"/>
                  </a:cubicBezTo>
                  <a:cubicBezTo>
                    <a:pt x="55" y="89"/>
                    <a:pt x="53" y="81"/>
                    <a:pt x="50" y="86"/>
                  </a:cubicBezTo>
                  <a:cubicBezTo>
                    <a:pt x="45" y="89"/>
                    <a:pt x="42" y="84"/>
                    <a:pt x="36" y="84"/>
                  </a:cubicBezTo>
                  <a:cubicBezTo>
                    <a:pt x="32" y="84"/>
                    <a:pt x="32" y="86"/>
                    <a:pt x="32" y="83"/>
                  </a:cubicBezTo>
                  <a:cubicBezTo>
                    <a:pt x="30" y="81"/>
                    <a:pt x="33" y="81"/>
                    <a:pt x="35" y="78"/>
                  </a:cubicBezTo>
                  <a:cubicBezTo>
                    <a:pt x="36" y="75"/>
                    <a:pt x="33" y="73"/>
                    <a:pt x="36" y="72"/>
                  </a:cubicBezTo>
                  <a:cubicBezTo>
                    <a:pt x="39" y="70"/>
                    <a:pt x="36" y="70"/>
                    <a:pt x="39" y="66"/>
                  </a:cubicBezTo>
                  <a:cubicBezTo>
                    <a:pt x="41" y="64"/>
                    <a:pt x="36" y="59"/>
                    <a:pt x="35" y="59"/>
                  </a:cubicBezTo>
                  <a:cubicBezTo>
                    <a:pt x="32" y="59"/>
                    <a:pt x="29" y="58"/>
                    <a:pt x="23" y="53"/>
                  </a:cubicBezTo>
                  <a:cubicBezTo>
                    <a:pt x="18" y="49"/>
                    <a:pt x="13" y="50"/>
                    <a:pt x="12" y="47"/>
                  </a:cubicBezTo>
                  <a:cubicBezTo>
                    <a:pt x="10" y="44"/>
                    <a:pt x="6" y="44"/>
                    <a:pt x="3" y="38"/>
                  </a:cubicBezTo>
                  <a:cubicBezTo>
                    <a:pt x="1" y="33"/>
                    <a:pt x="1" y="35"/>
                    <a:pt x="0" y="33"/>
                  </a:cubicBezTo>
                  <a:cubicBezTo>
                    <a:pt x="0" y="30"/>
                    <a:pt x="3" y="24"/>
                    <a:pt x="3" y="19"/>
                  </a:cubicBezTo>
                  <a:cubicBezTo>
                    <a:pt x="3" y="13"/>
                    <a:pt x="4" y="13"/>
                    <a:pt x="6" y="8"/>
                  </a:cubicBezTo>
                  <a:cubicBezTo>
                    <a:pt x="7" y="3"/>
                    <a:pt x="9" y="5"/>
                    <a:pt x="18" y="3"/>
                  </a:cubicBezTo>
                  <a:cubicBezTo>
                    <a:pt x="27" y="0"/>
                    <a:pt x="29" y="3"/>
                    <a:pt x="32" y="7"/>
                  </a:cubicBezTo>
                  <a:cubicBezTo>
                    <a:pt x="36" y="8"/>
                    <a:pt x="35" y="8"/>
                    <a:pt x="35" y="11"/>
                  </a:cubicBezTo>
                  <a:cubicBezTo>
                    <a:pt x="35" y="14"/>
                    <a:pt x="39" y="19"/>
                    <a:pt x="38" y="22"/>
                  </a:cubicBezTo>
                  <a:cubicBezTo>
                    <a:pt x="36" y="27"/>
                    <a:pt x="38" y="27"/>
                    <a:pt x="36" y="30"/>
                  </a:cubicBezTo>
                  <a:cubicBezTo>
                    <a:pt x="36" y="31"/>
                    <a:pt x="47" y="33"/>
                    <a:pt x="47" y="31"/>
                  </a:cubicBezTo>
                  <a:cubicBezTo>
                    <a:pt x="48" y="30"/>
                    <a:pt x="53" y="31"/>
                    <a:pt x="55" y="35"/>
                  </a:cubicBezTo>
                  <a:cubicBezTo>
                    <a:pt x="58" y="47"/>
                    <a:pt x="55" y="50"/>
                    <a:pt x="58" y="50"/>
                  </a:cubicBezTo>
                  <a:cubicBezTo>
                    <a:pt x="61" y="50"/>
                    <a:pt x="62" y="47"/>
                    <a:pt x="64" y="49"/>
                  </a:cubicBezTo>
                  <a:cubicBezTo>
                    <a:pt x="67" y="52"/>
                    <a:pt x="65" y="64"/>
                    <a:pt x="62" y="66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44" name="Freeform 18">
              <a:extLst>
                <a:ext uri="{FF2B5EF4-FFF2-40B4-BE49-F238E27FC236}">
                  <a16:creationId xmlns:a16="http://schemas.microsoft.com/office/drawing/2014/main" id="{984D7950-32E5-2C40-9868-F4D1FB2F5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83297" y="5689597"/>
              <a:ext cx="143645" cy="173226"/>
            </a:xfrm>
            <a:custGeom>
              <a:avLst/>
              <a:gdLst/>
              <a:ahLst/>
              <a:cxnLst>
                <a:cxn ang="0">
                  <a:pos x="42" y="42"/>
                </a:cxn>
                <a:cxn ang="0">
                  <a:pos x="32" y="52"/>
                </a:cxn>
                <a:cxn ang="0">
                  <a:pos x="22" y="52"/>
                </a:cxn>
                <a:cxn ang="0">
                  <a:pos x="9" y="48"/>
                </a:cxn>
                <a:cxn ang="0">
                  <a:pos x="2" y="45"/>
                </a:cxn>
                <a:cxn ang="0">
                  <a:pos x="3" y="34"/>
                </a:cxn>
                <a:cxn ang="0">
                  <a:pos x="3" y="20"/>
                </a:cxn>
                <a:cxn ang="0">
                  <a:pos x="5" y="14"/>
                </a:cxn>
                <a:cxn ang="0">
                  <a:pos x="8" y="3"/>
                </a:cxn>
                <a:cxn ang="0">
                  <a:pos x="17" y="5"/>
                </a:cxn>
                <a:cxn ang="0">
                  <a:pos x="23" y="12"/>
                </a:cxn>
                <a:cxn ang="0">
                  <a:pos x="29" y="15"/>
                </a:cxn>
                <a:cxn ang="0">
                  <a:pos x="35" y="22"/>
                </a:cxn>
                <a:cxn ang="0">
                  <a:pos x="42" y="28"/>
                </a:cxn>
                <a:cxn ang="0">
                  <a:pos x="42" y="42"/>
                </a:cxn>
              </a:cxnLst>
              <a:rect l="0" t="0" r="r" b="b"/>
              <a:pathLst>
                <a:path w="46" h="55">
                  <a:moveTo>
                    <a:pt x="42" y="42"/>
                  </a:moveTo>
                  <a:cubicBezTo>
                    <a:pt x="39" y="48"/>
                    <a:pt x="35" y="49"/>
                    <a:pt x="32" y="52"/>
                  </a:cubicBezTo>
                  <a:cubicBezTo>
                    <a:pt x="28" y="55"/>
                    <a:pt x="26" y="51"/>
                    <a:pt x="22" y="52"/>
                  </a:cubicBezTo>
                  <a:cubicBezTo>
                    <a:pt x="19" y="54"/>
                    <a:pt x="13" y="48"/>
                    <a:pt x="9" y="48"/>
                  </a:cubicBezTo>
                  <a:cubicBezTo>
                    <a:pt x="5" y="48"/>
                    <a:pt x="2" y="45"/>
                    <a:pt x="2" y="45"/>
                  </a:cubicBezTo>
                  <a:cubicBezTo>
                    <a:pt x="0" y="42"/>
                    <a:pt x="0" y="35"/>
                    <a:pt x="3" y="34"/>
                  </a:cubicBezTo>
                  <a:cubicBezTo>
                    <a:pt x="6" y="32"/>
                    <a:pt x="2" y="23"/>
                    <a:pt x="3" y="20"/>
                  </a:cubicBezTo>
                  <a:cubicBezTo>
                    <a:pt x="6" y="18"/>
                    <a:pt x="2" y="18"/>
                    <a:pt x="5" y="14"/>
                  </a:cubicBezTo>
                  <a:cubicBezTo>
                    <a:pt x="8" y="9"/>
                    <a:pt x="5" y="8"/>
                    <a:pt x="8" y="3"/>
                  </a:cubicBezTo>
                  <a:cubicBezTo>
                    <a:pt x="11" y="8"/>
                    <a:pt x="11" y="0"/>
                    <a:pt x="17" y="5"/>
                  </a:cubicBezTo>
                  <a:cubicBezTo>
                    <a:pt x="22" y="9"/>
                    <a:pt x="19" y="14"/>
                    <a:pt x="23" y="12"/>
                  </a:cubicBezTo>
                  <a:cubicBezTo>
                    <a:pt x="26" y="9"/>
                    <a:pt x="25" y="14"/>
                    <a:pt x="29" y="15"/>
                  </a:cubicBezTo>
                  <a:cubicBezTo>
                    <a:pt x="34" y="18"/>
                    <a:pt x="32" y="18"/>
                    <a:pt x="35" y="22"/>
                  </a:cubicBezTo>
                  <a:cubicBezTo>
                    <a:pt x="40" y="23"/>
                    <a:pt x="39" y="23"/>
                    <a:pt x="42" y="28"/>
                  </a:cubicBezTo>
                  <a:cubicBezTo>
                    <a:pt x="46" y="34"/>
                    <a:pt x="39" y="34"/>
                    <a:pt x="42" y="42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45" name="Freeform 19">
              <a:extLst>
                <a:ext uri="{FF2B5EF4-FFF2-40B4-BE49-F238E27FC236}">
                  <a16:creationId xmlns:a16="http://schemas.microsoft.com/office/drawing/2014/main" id="{D04A1922-DC3B-3DF3-CE76-AC19E155AB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9892" y="4747374"/>
              <a:ext cx="319210" cy="568248"/>
            </a:xfrm>
            <a:custGeom>
              <a:avLst/>
              <a:gdLst/>
              <a:ahLst/>
              <a:cxnLst>
                <a:cxn ang="0">
                  <a:pos x="93" y="42"/>
                </a:cxn>
                <a:cxn ang="0">
                  <a:pos x="85" y="42"/>
                </a:cxn>
                <a:cxn ang="0">
                  <a:pos x="71" y="49"/>
                </a:cxn>
                <a:cxn ang="0">
                  <a:pos x="64" y="66"/>
                </a:cxn>
                <a:cxn ang="0">
                  <a:pos x="67" y="91"/>
                </a:cxn>
                <a:cxn ang="0">
                  <a:pos x="74" y="96"/>
                </a:cxn>
                <a:cxn ang="0">
                  <a:pos x="85" y="96"/>
                </a:cxn>
                <a:cxn ang="0">
                  <a:pos x="88" y="108"/>
                </a:cxn>
                <a:cxn ang="0">
                  <a:pos x="96" y="108"/>
                </a:cxn>
                <a:cxn ang="0">
                  <a:pos x="102" y="124"/>
                </a:cxn>
                <a:cxn ang="0">
                  <a:pos x="100" y="138"/>
                </a:cxn>
                <a:cxn ang="0">
                  <a:pos x="97" y="149"/>
                </a:cxn>
                <a:cxn ang="0">
                  <a:pos x="97" y="160"/>
                </a:cxn>
                <a:cxn ang="0">
                  <a:pos x="96" y="172"/>
                </a:cxn>
                <a:cxn ang="0">
                  <a:pos x="93" y="175"/>
                </a:cxn>
                <a:cxn ang="0">
                  <a:pos x="88" y="181"/>
                </a:cxn>
                <a:cxn ang="0">
                  <a:pos x="80" y="174"/>
                </a:cxn>
                <a:cxn ang="0">
                  <a:pos x="65" y="161"/>
                </a:cxn>
                <a:cxn ang="0">
                  <a:pos x="50" y="149"/>
                </a:cxn>
                <a:cxn ang="0">
                  <a:pos x="42" y="135"/>
                </a:cxn>
                <a:cxn ang="0">
                  <a:pos x="35" y="119"/>
                </a:cxn>
                <a:cxn ang="0">
                  <a:pos x="30" y="108"/>
                </a:cxn>
                <a:cxn ang="0">
                  <a:pos x="23" y="85"/>
                </a:cxn>
                <a:cxn ang="0">
                  <a:pos x="14" y="70"/>
                </a:cxn>
                <a:cxn ang="0">
                  <a:pos x="4" y="57"/>
                </a:cxn>
                <a:cxn ang="0">
                  <a:pos x="3" y="52"/>
                </a:cxn>
                <a:cxn ang="0">
                  <a:pos x="11" y="34"/>
                </a:cxn>
                <a:cxn ang="0">
                  <a:pos x="9" y="43"/>
                </a:cxn>
                <a:cxn ang="0">
                  <a:pos x="15" y="45"/>
                </a:cxn>
                <a:cxn ang="0">
                  <a:pos x="21" y="48"/>
                </a:cxn>
                <a:cxn ang="0">
                  <a:pos x="26" y="35"/>
                </a:cxn>
                <a:cxn ang="0">
                  <a:pos x="47" y="18"/>
                </a:cxn>
                <a:cxn ang="0">
                  <a:pos x="50" y="1"/>
                </a:cxn>
                <a:cxn ang="0">
                  <a:pos x="55" y="4"/>
                </a:cxn>
                <a:cxn ang="0">
                  <a:pos x="61" y="12"/>
                </a:cxn>
                <a:cxn ang="0">
                  <a:pos x="70" y="25"/>
                </a:cxn>
                <a:cxn ang="0">
                  <a:pos x="85" y="23"/>
                </a:cxn>
                <a:cxn ang="0">
                  <a:pos x="91" y="28"/>
                </a:cxn>
                <a:cxn ang="0">
                  <a:pos x="88" y="39"/>
                </a:cxn>
                <a:cxn ang="0">
                  <a:pos x="93" y="42"/>
                </a:cxn>
              </a:cxnLst>
              <a:rect l="0" t="0" r="r" b="b"/>
              <a:pathLst>
                <a:path w="103" h="181">
                  <a:moveTo>
                    <a:pt x="93" y="42"/>
                  </a:moveTo>
                  <a:cubicBezTo>
                    <a:pt x="88" y="45"/>
                    <a:pt x="91" y="39"/>
                    <a:pt x="85" y="42"/>
                  </a:cubicBezTo>
                  <a:cubicBezTo>
                    <a:pt x="79" y="46"/>
                    <a:pt x="77" y="45"/>
                    <a:pt x="71" y="49"/>
                  </a:cubicBezTo>
                  <a:cubicBezTo>
                    <a:pt x="67" y="56"/>
                    <a:pt x="70" y="63"/>
                    <a:pt x="64" y="66"/>
                  </a:cubicBezTo>
                  <a:cubicBezTo>
                    <a:pt x="55" y="74"/>
                    <a:pt x="68" y="87"/>
                    <a:pt x="67" y="91"/>
                  </a:cubicBezTo>
                  <a:cubicBezTo>
                    <a:pt x="65" y="96"/>
                    <a:pt x="74" y="90"/>
                    <a:pt x="74" y="96"/>
                  </a:cubicBezTo>
                  <a:cubicBezTo>
                    <a:pt x="73" y="104"/>
                    <a:pt x="84" y="99"/>
                    <a:pt x="85" y="96"/>
                  </a:cubicBezTo>
                  <a:cubicBezTo>
                    <a:pt x="88" y="91"/>
                    <a:pt x="85" y="108"/>
                    <a:pt x="88" y="108"/>
                  </a:cubicBezTo>
                  <a:cubicBezTo>
                    <a:pt x="91" y="110"/>
                    <a:pt x="91" y="107"/>
                    <a:pt x="96" y="108"/>
                  </a:cubicBezTo>
                  <a:cubicBezTo>
                    <a:pt x="102" y="124"/>
                    <a:pt x="102" y="124"/>
                    <a:pt x="102" y="124"/>
                  </a:cubicBezTo>
                  <a:cubicBezTo>
                    <a:pt x="102" y="124"/>
                    <a:pt x="99" y="132"/>
                    <a:pt x="100" y="138"/>
                  </a:cubicBezTo>
                  <a:cubicBezTo>
                    <a:pt x="102" y="143"/>
                    <a:pt x="94" y="144"/>
                    <a:pt x="97" y="149"/>
                  </a:cubicBezTo>
                  <a:cubicBezTo>
                    <a:pt x="100" y="153"/>
                    <a:pt x="93" y="156"/>
                    <a:pt x="97" y="160"/>
                  </a:cubicBezTo>
                  <a:cubicBezTo>
                    <a:pt x="103" y="163"/>
                    <a:pt x="96" y="169"/>
                    <a:pt x="96" y="172"/>
                  </a:cubicBezTo>
                  <a:cubicBezTo>
                    <a:pt x="96" y="172"/>
                    <a:pt x="96" y="175"/>
                    <a:pt x="93" y="175"/>
                  </a:cubicBezTo>
                  <a:cubicBezTo>
                    <a:pt x="91" y="175"/>
                    <a:pt x="97" y="178"/>
                    <a:pt x="88" y="181"/>
                  </a:cubicBezTo>
                  <a:cubicBezTo>
                    <a:pt x="87" y="178"/>
                    <a:pt x="82" y="178"/>
                    <a:pt x="80" y="174"/>
                  </a:cubicBezTo>
                  <a:cubicBezTo>
                    <a:pt x="80" y="169"/>
                    <a:pt x="77" y="169"/>
                    <a:pt x="65" y="161"/>
                  </a:cubicBezTo>
                  <a:cubicBezTo>
                    <a:pt x="52" y="155"/>
                    <a:pt x="52" y="152"/>
                    <a:pt x="50" y="149"/>
                  </a:cubicBezTo>
                  <a:cubicBezTo>
                    <a:pt x="47" y="146"/>
                    <a:pt x="41" y="143"/>
                    <a:pt x="42" y="135"/>
                  </a:cubicBezTo>
                  <a:cubicBezTo>
                    <a:pt x="42" y="127"/>
                    <a:pt x="35" y="124"/>
                    <a:pt x="35" y="119"/>
                  </a:cubicBezTo>
                  <a:cubicBezTo>
                    <a:pt x="35" y="115"/>
                    <a:pt x="32" y="115"/>
                    <a:pt x="30" y="108"/>
                  </a:cubicBezTo>
                  <a:cubicBezTo>
                    <a:pt x="30" y="102"/>
                    <a:pt x="24" y="93"/>
                    <a:pt x="23" y="85"/>
                  </a:cubicBezTo>
                  <a:cubicBezTo>
                    <a:pt x="21" y="79"/>
                    <a:pt x="17" y="79"/>
                    <a:pt x="14" y="70"/>
                  </a:cubicBezTo>
                  <a:cubicBezTo>
                    <a:pt x="12" y="63"/>
                    <a:pt x="0" y="62"/>
                    <a:pt x="4" y="57"/>
                  </a:cubicBezTo>
                  <a:cubicBezTo>
                    <a:pt x="9" y="56"/>
                    <a:pt x="4" y="56"/>
                    <a:pt x="3" y="52"/>
                  </a:cubicBezTo>
                  <a:cubicBezTo>
                    <a:pt x="1" y="48"/>
                    <a:pt x="1" y="43"/>
                    <a:pt x="11" y="34"/>
                  </a:cubicBezTo>
                  <a:cubicBezTo>
                    <a:pt x="14" y="40"/>
                    <a:pt x="8" y="40"/>
                    <a:pt x="9" y="43"/>
                  </a:cubicBezTo>
                  <a:cubicBezTo>
                    <a:pt x="9" y="46"/>
                    <a:pt x="11" y="43"/>
                    <a:pt x="15" y="45"/>
                  </a:cubicBezTo>
                  <a:cubicBezTo>
                    <a:pt x="18" y="45"/>
                    <a:pt x="18" y="51"/>
                    <a:pt x="21" y="48"/>
                  </a:cubicBezTo>
                  <a:cubicBezTo>
                    <a:pt x="24" y="45"/>
                    <a:pt x="21" y="45"/>
                    <a:pt x="26" y="35"/>
                  </a:cubicBezTo>
                  <a:cubicBezTo>
                    <a:pt x="30" y="28"/>
                    <a:pt x="42" y="25"/>
                    <a:pt x="47" y="18"/>
                  </a:cubicBezTo>
                  <a:cubicBezTo>
                    <a:pt x="50" y="11"/>
                    <a:pt x="50" y="9"/>
                    <a:pt x="50" y="1"/>
                  </a:cubicBezTo>
                  <a:cubicBezTo>
                    <a:pt x="52" y="0"/>
                    <a:pt x="52" y="3"/>
                    <a:pt x="55" y="4"/>
                  </a:cubicBezTo>
                  <a:cubicBezTo>
                    <a:pt x="59" y="6"/>
                    <a:pt x="56" y="9"/>
                    <a:pt x="61" y="12"/>
                  </a:cubicBezTo>
                  <a:cubicBezTo>
                    <a:pt x="67" y="15"/>
                    <a:pt x="65" y="25"/>
                    <a:pt x="70" y="25"/>
                  </a:cubicBezTo>
                  <a:cubicBezTo>
                    <a:pt x="76" y="25"/>
                    <a:pt x="79" y="21"/>
                    <a:pt x="85" y="23"/>
                  </a:cubicBezTo>
                  <a:cubicBezTo>
                    <a:pt x="93" y="26"/>
                    <a:pt x="93" y="26"/>
                    <a:pt x="91" y="28"/>
                  </a:cubicBezTo>
                  <a:cubicBezTo>
                    <a:pt x="88" y="34"/>
                    <a:pt x="85" y="40"/>
                    <a:pt x="88" y="39"/>
                  </a:cubicBezTo>
                  <a:cubicBezTo>
                    <a:pt x="91" y="39"/>
                    <a:pt x="91" y="40"/>
                    <a:pt x="93" y="42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46" name="Freeform 20">
              <a:extLst>
                <a:ext uri="{FF2B5EF4-FFF2-40B4-BE49-F238E27FC236}">
                  <a16:creationId xmlns:a16="http://schemas.microsoft.com/office/drawing/2014/main" id="{272EF693-DB6D-0F38-5224-8B6E5863EA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75753" y="4365305"/>
              <a:ext cx="306442" cy="514823"/>
            </a:xfrm>
            <a:custGeom>
              <a:avLst/>
              <a:gdLst/>
              <a:ahLst/>
              <a:cxnLst>
                <a:cxn ang="0">
                  <a:pos x="64" y="6"/>
                </a:cxn>
                <a:cxn ang="0">
                  <a:pos x="61" y="2"/>
                </a:cxn>
                <a:cxn ang="0">
                  <a:pos x="52" y="8"/>
                </a:cxn>
                <a:cxn ang="0">
                  <a:pos x="40" y="13"/>
                </a:cxn>
                <a:cxn ang="0">
                  <a:pos x="34" y="14"/>
                </a:cxn>
                <a:cxn ang="0">
                  <a:pos x="29" y="25"/>
                </a:cxn>
                <a:cxn ang="0">
                  <a:pos x="25" y="33"/>
                </a:cxn>
                <a:cxn ang="0">
                  <a:pos x="20" y="41"/>
                </a:cxn>
                <a:cxn ang="0">
                  <a:pos x="16" y="38"/>
                </a:cxn>
                <a:cxn ang="0">
                  <a:pos x="17" y="45"/>
                </a:cxn>
                <a:cxn ang="0">
                  <a:pos x="16" y="48"/>
                </a:cxn>
                <a:cxn ang="0">
                  <a:pos x="13" y="47"/>
                </a:cxn>
                <a:cxn ang="0">
                  <a:pos x="11" y="52"/>
                </a:cxn>
                <a:cxn ang="0">
                  <a:pos x="13" y="55"/>
                </a:cxn>
                <a:cxn ang="0">
                  <a:pos x="14" y="58"/>
                </a:cxn>
                <a:cxn ang="0">
                  <a:pos x="16" y="64"/>
                </a:cxn>
                <a:cxn ang="0">
                  <a:pos x="14" y="73"/>
                </a:cxn>
                <a:cxn ang="0">
                  <a:pos x="16" y="87"/>
                </a:cxn>
                <a:cxn ang="0">
                  <a:pos x="11" y="98"/>
                </a:cxn>
                <a:cxn ang="0">
                  <a:pos x="5" y="103"/>
                </a:cxn>
                <a:cxn ang="0">
                  <a:pos x="3" y="109"/>
                </a:cxn>
                <a:cxn ang="0">
                  <a:pos x="13" y="115"/>
                </a:cxn>
                <a:cxn ang="0">
                  <a:pos x="16" y="119"/>
                </a:cxn>
                <a:cxn ang="0">
                  <a:pos x="23" y="120"/>
                </a:cxn>
                <a:cxn ang="0">
                  <a:pos x="26" y="120"/>
                </a:cxn>
                <a:cxn ang="0">
                  <a:pos x="32" y="123"/>
                </a:cxn>
                <a:cxn ang="0">
                  <a:pos x="37" y="126"/>
                </a:cxn>
                <a:cxn ang="0">
                  <a:pos x="43" y="134"/>
                </a:cxn>
                <a:cxn ang="0">
                  <a:pos x="52" y="147"/>
                </a:cxn>
                <a:cxn ang="0">
                  <a:pos x="67" y="145"/>
                </a:cxn>
                <a:cxn ang="0">
                  <a:pos x="73" y="150"/>
                </a:cxn>
                <a:cxn ang="0">
                  <a:pos x="70" y="161"/>
                </a:cxn>
                <a:cxn ang="0">
                  <a:pos x="75" y="164"/>
                </a:cxn>
                <a:cxn ang="0">
                  <a:pos x="78" y="140"/>
                </a:cxn>
                <a:cxn ang="0">
                  <a:pos x="78" y="129"/>
                </a:cxn>
                <a:cxn ang="0">
                  <a:pos x="73" y="119"/>
                </a:cxn>
                <a:cxn ang="0">
                  <a:pos x="78" y="115"/>
                </a:cxn>
                <a:cxn ang="0">
                  <a:pos x="81" y="117"/>
                </a:cxn>
                <a:cxn ang="0">
                  <a:pos x="80" y="112"/>
                </a:cxn>
                <a:cxn ang="0">
                  <a:pos x="75" y="112"/>
                </a:cxn>
                <a:cxn ang="0">
                  <a:pos x="75" y="106"/>
                </a:cxn>
                <a:cxn ang="0">
                  <a:pos x="89" y="106"/>
                </a:cxn>
                <a:cxn ang="0">
                  <a:pos x="90" y="105"/>
                </a:cxn>
                <a:cxn ang="0">
                  <a:pos x="95" y="101"/>
                </a:cxn>
                <a:cxn ang="0">
                  <a:pos x="99" y="111"/>
                </a:cxn>
                <a:cxn ang="0">
                  <a:pos x="95" y="98"/>
                </a:cxn>
                <a:cxn ang="0">
                  <a:pos x="92" y="95"/>
                </a:cxn>
                <a:cxn ang="0">
                  <a:pos x="95" y="90"/>
                </a:cxn>
                <a:cxn ang="0">
                  <a:pos x="92" y="81"/>
                </a:cxn>
                <a:cxn ang="0">
                  <a:pos x="95" y="62"/>
                </a:cxn>
                <a:cxn ang="0">
                  <a:pos x="80" y="62"/>
                </a:cxn>
                <a:cxn ang="0">
                  <a:pos x="72" y="55"/>
                </a:cxn>
                <a:cxn ang="0">
                  <a:pos x="61" y="55"/>
                </a:cxn>
                <a:cxn ang="0">
                  <a:pos x="55" y="50"/>
                </a:cxn>
                <a:cxn ang="0">
                  <a:pos x="55" y="41"/>
                </a:cxn>
                <a:cxn ang="0">
                  <a:pos x="49" y="33"/>
                </a:cxn>
                <a:cxn ang="0">
                  <a:pos x="49" y="30"/>
                </a:cxn>
                <a:cxn ang="0">
                  <a:pos x="55" y="14"/>
                </a:cxn>
                <a:cxn ang="0">
                  <a:pos x="64" y="6"/>
                </a:cxn>
              </a:cxnLst>
              <a:rect l="0" t="0" r="r" b="b"/>
              <a:pathLst>
                <a:path w="99" h="164">
                  <a:moveTo>
                    <a:pt x="64" y="6"/>
                  </a:moveTo>
                  <a:cubicBezTo>
                    <a:pt x="66" y="5"/>
                    <a:pt x="67" y="0"/>
                    <a:pt x="61" y="2"/>
                  </a:cubicBezTo>
                  <a:cubicBezTo>
                    <a:pt x="57" y="2"/>
                    <a:pt x="60" y="3"/>
                    <a:pt x="52" y="8"/>
                  </a:cubicBezTo>
                  <a:cubicBezTo>
                    <a:pt x="43" y="16"/>
                    <a:pt x="42" y="8"/>
                    <a:pt x="40" y="13"/>
                  </a:cubicBezTo>
                  <a:cubicBezTo>
                    <a:pt x="38" y="17"/>
                    <a:pt x="35" y="11"/>
                    <a:pt x="34" y="14"/>
                  </a:cubicBezTo>
                  <a:cubicBezTo>
                    <a:pt x="32" y="17"/>
                    <a:pt x="29" y="17"/>
                    <a:pt x="29" y="25"/>
                  </a:cubicBezTo>
                  <a:cubicBezTo>
                    <a:pt x="31" y="34"/>
                    <a:pt x="26" y="28"/>
                    <a:pt x="25" y="33"/>
                  </a:cubicBezTo>
                  <a:cubicBezTo>
                    <a:pt x="25" y="38"/>
                    <a:pt x="19" y="36"/>
                    <a:pt x="20" y="41"/>
                  </a:cubicBezTo>
                  <a:cubicBezTo>
                    <a:pt x="22" y="48"/>
                    <a:pt x="19" y="42"/>
                    <a:pt x="16" y="38"/>
                  </a:cubicBezTo>
                  <a:cubicBezTo>
                    <a:pt x="14" y="41"/>
                    <a:pt x="19" y="45"/>
                    <a:pt x="17" y="45"/>
                  </a:cubicBezTo>
                  <a:cubicBezTo>
                    <a:pt x="16" y="45"/>
                    <a:pt x="17" y="47"/>
                    <a:pt x="16" y="48"/>
                  </a:cubicBezTo>
                  <a:cubicBezTo>
                    <a:pt x="14" y="50"/>
                    <a:pt x="13" y="47"/>
                    <a:pt x="13" y="47"/>
                  </a:cubicBezTo>
                  <a:cubicBezTo>
                    <a:pt x="11" y="50"/>
                    <a:pt x="13" y="48"/>
                    <a:pt x="11" y="52"/>
                  </a:cubicBezTo>
                  <a:cubicBezTo>
                    <a:pt x="13" y="53"/>
                    <a:pt x="13" y="53"/>
                    <a:pt x="13" y="55"/>
                  </a:cubicBezTo>
                  <a:cubicBezTo>
                    <a:pt x="13" y="56"/>
                    <a:pt x="13" y="56"/>
                    <a:pt x="14" y="58"/>
                  </a:cubicBezTo>
                  <a:cubicBezTo>
                    <a:pt x="19" y="59"/>
                    <a:pt x="14" y="62"/>
                    <a:pt x="16" y="64"/>
                  </a:cubicBezTo>
                  <a:cubicBezTo>
                    <a:pt x="19" y="69"/>
                    <a:pt x="13" y="66"/>
                    <a:pt x="14" y="73"/>
                  </a:cubicBezTo>
                  <a:cubicBezTo>
                    <a:pt x="16" y="81"/>
                    <a:pt x="13" y="86"/>
                    <a:pt x="16" y="87"/>
                  </a:cubicBezTo>
                  <a:cubicBezTo>
                    <a:pt x="17" y="87"/>
                    <a:pt x="14" y="98"/>
                    <a:pt x="11" y="98"/>
                  </a:cubicBezTo>
                  <a:cubicBezTo>
                    <a:pt x="7" y="98"/>
                    <a:pt x="5" y="98"/>
                    <a:pt x="5" y="103"/>
                  </a:cubicBezTo>
                  <a:cubicBezTo>
                    <a:pt x="7" y="106"/>
                    <a:pt x="0" y="103"/>
                    <a:pt x="3" y="109"/>
                  </a:cubicBezTo>
                  <a:cubicBezTo>
                    <a:pt x="10" y="114"/>
                    <a:pt x="11" y="115"/>
                    <a:pt x="13" y="115"/>
                  </a:cubicBezTo>
                  <a:cubicBezTo>
                    <a:pt x="13" y="115"/>
                    <a:pt x="16" y="117"/>
                    <a:pt x="16" y="119"/>
                  </a:cubicBezTo>
                  <a:cubicBezTo>
                    <a:pt x="16" y="120"/>
                    <a:pt x="23" y="122"/>
                    <a:pt x="23" y="120"/>
                  </a:cubicBezTo>
                  <a:cubicBezTo>
                    <a:pt x="23" y="119"/>
                    <a:pt x="25" y="117"/>
                    <a:pt x="26" y="120"/>
                  </a:cubicBezTo>
                  <a:cubicBezTo>
                    <a:pt x="28" y="123"/>
                    <a:pt x="29" y="123"/>
                    <a:pt x="32" y="123"/>
                  </a:cubicBezTo>
                  <a:cubicBezTo>
                    <a:pt x="34" y="122"/>
                    <a:pt x="34" y="125"/>
                    <a:pt x="37" y="126"/>
                  </a:cubicBezTo>
                  <a:cubicBezTo>
                    <a:pt x="42" y="128"/>
                    <a:pt x="38" y="131"/>
                    <a:pt x="43" y="134"/>
                  </a:cubicBezTo>
                  <a:cubicBezTo>
                    <a:pt x="49" y="137"/>
                    <a:pt x="48" y="147"/>
                    <a:pt x="52" y="147"/>
                  </a:cubicBezTo>
                  <a:cubicBezTo>
                    <a:pt x="58" y="147"/>
                    <a:pt x="61" y="144"/>
                    <a:pt x="67" y="145"/>
                  </a:cubicBezTo>
                  <a:cubicBezTo>
                    <a:pt x="75" y="148"/>
                    <a:pt x="75" y="148"/>
                    <a:pt x="73" y="150"/>
                  </a:cubicBezTo>
                  <a:cubicBezTo>
                    <a:pt x="70" y="156"/>
                    <a:pt x="67" y="162"/>
                    <a:pt x="70" y="161"/>
                  </a:cubicBezTo>
                  <a:cubicBezTo>
                    <a:pt x="73" y="161"/>
                    <a:pt x="73" y="162"/>
                    <a:pt x="75" y="164"/>
                  </a:cubicBezTo>
                  <a:cubicBezTo>
                    <a:pt x="75" y="162"/>
                    <a:pt x="76" y="147"/>
                    <a:pt x="78" y="140"/>
                  </a:cubicBezTo>
                  <a:cubicBezTo>
                    <a:pt x="80" y="133"/>
                    <a:pt x="76" y="133"/>
                    <a:pt x="78" y="129"/>
                  </a:cubicBezTo>
                  <a:cubicBezTo>
                    <a:pt x="78" y="126"/>
                    <a:pt x="75" y="131"/>
                    <a:pt x="73" y="119"/>
                  </a:cubicBezTo>
                  <a:cubicBezTo>
                    <a:pt x="73" y="115"/>
                    <a:pt x="76" y="117"/>
                    <a:pt x="78" y="115"/>
                  </a:cubicBezTo>
                  <a:cubicBezTo>
                    <a:pt x="78" y="115"/>
                    <a:pt x="80" y="117"/>
                    <a:pt x="81" y="117"/>
                  </a:cubicBezTo>
                  <a:cubicBezTo>
                    <a:pt x="81" y="119"/>
                    <a:pt x="81" y="112"/>
                    <a:pt x="80" y="112"/>
                  </a:cubicBezTo>
                  <a:cubicBezTo>
                    <a:pt x="76" y="112"/>
                    <a:pt x="75" y="112"/>
                    <a:pt x="75" y="112"/>
                  </a:cubicBezTo>
                  <a:cubicBezTo>
                    <a:pt x="75" y="106"/>
                    <a:pt x="75" y="106"/>
                    <a:pt x="75" y="106"/>
                  </a:cubicBezTo>
                  <a:cubicBezTo>
                    <a:pt x="89" y="106"/>
                    <a:pt x="89" y="106"/>
                    <a:pt x="89" y="106"/>
                  </a:cubicBezTo>
                  <a:cubicBezTo>
                    <a:pt x="87" y="105"/>
                    <a:pt x="87" y="101"/>
                    <a:pt x="90" y="105"/>
                  </a:cubicBezTo>
                  <a:cubicBezTo>
                    <a:pt x="92" y="108"/>
                    <a:pt x="93" y="101"/>
                    <a:pt x="95" y="101"/>
                  </a:cubicBezTo>
                  <a:cubicBezTo>
                    <a:pt x="99" y="108"/>
                    <a:pt x="95" y="112"/>
                    <a:pt x="99" y="111"/>
                  </a:cubicBezTo>
                  <a:cubicBezTo>
                    <a:pt x="96" y="101"/>
                    <a:pt x="98" y="100"/>
                    <a:pt x="95" y="98"/>
                  </a:cubicBezTo>
                  <a:cubicBezTo>
                    <a:pt x="93" y="97"/>
                    <a:pt x="93" y="95"/>
                    <a:pt x="92" y="95"/>
                  </a:cubicBezTo>
                  <a:cubicBezTo>
                    <a:pt x="90" y="97"/>
                    <a:pt x="90" y="95"/>
                    <a:pt x="95" y="90"/>
                  </a:cubicBezTo>
                  <a:cubicBezTo>
                    <a:pt x="96" y="89"/>
                    <a:pt x="93" y="87"/>
                    <a:pt x="92" y="81"/>
                  </a:cubicBezTo>
                  <a:cubicBezTo>
                    <a:pt x="89" y="72"/>
                    <a:pt x="96" y="62"/>
                    <a:pt x="95" y="62"/>
                  </a:cubicBezTo>
                  <a:cubicBezTo>
                    <a:pt x="87" y="61"/>
                    <a:pt x="87" y="64"/>
                    <a:pt x="80" y="62"/>
                  </a:cubicBezTo>
                  <a:cubicBezTo>
                    <a:pt x="76" y="62"/>
                    <a:pt x="75" y="53"/>
                    <a:pt x="72" y="55"/>
                  </a:cubicBezTo>
                  <a:cubicBezTo>
                    <a:pt x="70" y="56"/>
                    <a:pt x="69" y="53"/>
                    <a:pt x="61" y="55"/>
                  </a:cubicBezTo>
                  <a:cubicBezTo>
                    <a:pt x="55" y="55"/>
                    <a:pt x="60" y="52"/>
                    <a:pt x="55" y="50"/>
                  </a:cubicBezTo>
                  <a:cubicBezTo>
                    <a:pt x="52" y="50"/>
                    <a:pt x="58" y="42"/>
                    <a:pt x="55" y="41"/>
                  </a:cubicBezTo>
                  <a:cubicBezTo>
                    <a:pt x="51" y="38"/>
                    <a:pt x="54" y="31"/>
                    <a:pt x="49" y="33"/>
                  </a:cubicBezTo>
                  <a:cubicBezTo>
                    <a:pt x="46" y="33"/>
                    <a:pt x="48" y="33"/>
                    <a:pt x="49" y="30"/>
                  </a:cubicBezTo>
                  <a:cubicBezTo>
                    <a:pt x="52" y="28"/>
                    <a:pt x="51" y="16"/>
                    <a:pt x="55" y="14"/>
                  </a:cubicBezTo>
                  <a:cubicBezTo>
                    <a:pt x="60" y="11"/>
                    <a:pt x="54" y="8"/>
                    <a:pt x="64" y="6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47" name="Freeform 21">
              <a:extLst>
                <a:ext uri="{FF2B5EF4-FFF2-40B4-BE49-F238E27FC236}">
                  <a16:creationId xmlns:a16="http://schemas.microsoft.com/office/drawing/2014/main" id="{5BAEBDF3-76C6-C316-6884-9AC35EA6AF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19398" y="4362066"/>
              <a:ext cx="343151" cy="370737"/>
            </a:xfrm>
            <a:custGeom>
              <a:avLst/>
              <a:gdLst/>
              <a:ahLst/>
              <a:cxnLst>
                <a:cxn ang="0">
                  <a:pos x="102" y="73"/>
                </a:cxn>
                <a:cxn ang="0">
                  <a:pos x="88" y="84"/>
                </a:cxn>
                <a:cxn ang="0">
                  <a:pos x="82" y="87"/>
                </a:cxn>
                <a:cxn ang="0">
                  <a:pos x="71" y="85"/>
                </a:cxn>
                <a:cxn ang="0">
                  <a:pos x="77" y="99"/>
                </a:cxn>
                <a:cxn ang="0">
                  <a:pos x="77" y="104"/>
                </a:cxn>
                <a:cxn ang="0">
                  <a:pos x="71" y="110"/>
                </a:cxn>
                <a:cxn ang="0">
                  <a:pos x="62" y="117"/>
                </a:cxn>
                <a:cxn ang="0">
                  <a:pos x="53" y="112"/>
                </a:cxn>
                <a:cxn ang="0">
                  <a:pos x="48" y="99"/>
                </a:cxn>
                <a:cxn ang="0">
                  <a:pos x="45" y="96"/>
                </a:cxn>
                <a:cxn ang="0">
                  <a:pos x="48" y="92"/>
                </a:cxn>
                <a:cxn ang="0">
                  <a:pos x="45" y="82"/>
                </a:cxn>
                <a:cxn ang="0">
                  <a:pos x="48" y="64"/>
                </a:cxn>
                <a:cxn ang="0">
                  <a:pos x="33" y="64"/>
                </a:cxn>
                <a:cxn ang="0">
                  <a:pos x="26" y="56"/>
                </a:cxn>
                <a:cxn ang="0">
                  <a:pos x="15" y="56"/>
                </a:cxn>
                <a:cxn ang="0">
                  <a:pos x="9" y="51"/>
                </a:cxn>
                <a:cxn ang="0">
                  <a:pos x="9" y="42"/>
                </a:cxn>
                <a:cxn ang="0">
                  <a:pos x="3" y="34"/>
                </a:cxn>
                <a:cxn ang="0">
                  <a:pos x="3" y="31"/>
                </a:cxn>
                <a:cxn ang="0">
                  <a:pos x="9" y="15"/>
                </a:cxn>
                <a:cxn ang="0">
                  <a:pos x="18" y="7"/>
                </a:cxn>
                <a:cxn ang="0">
                  <a:pos x="14" y="14"/>
                </a:cxn>
                <a:cxn ang="0">
                  <a:pos x="15" y="17"/>
                </a:cxn>
                <a:cxn ang="0">
                  <a:pos x="23" y="14"/>
                </a:cxn>
                <a:cxn ang="0">
                  <a:pos x="26" y="9"/>
                </a:cxn>
                <a:cxn ang="0">
                  <a:pos x="30" y="6"/>
                </a:cxn>
                <a:cxn ang="0">
                  <a:pos x="41" y="18"/>
                </a:cxn>
                <a:cxn ang="0">
                  <a:pos x="59" y="21"/>
                </a:cxn>
                <a:cxn ang="0">
                  <a:pos x="71" y="23"/>
                </a:cxn>
                <a:cxn ang="0">
                  <a:pos x="77" y="18"/>
                </a:cxn>
                <a:cxn ang="0">
                  <a:pos x="88" y="18"/>
                </a:cxn>
                <a:cxn ang="0">
                  <a:pos x="86" y="20"/>
                </a:cxn>
                <a:cxn ang="0">
                  <a:pos x="91" y="26"/>
                </a:cxn>
                <a:cxn ang="0">
                  <a:pos x="97" y="29"/>
                </a:cxn>
                <a:cxn ang="0">
                  <a:pos x="100" y="34"/>
                </a:cxn>
                <a:cxn ang="0">
                  <a:pos x="97" y="40"/>
                </a:cxn>
                <a:cxn ang="0">
                  <a:pos x="108" y="40"/>
                </a:cxn>
                <a:cxn ang="0">
                  <a:pos x="102" y="50"/>
                </a:cxn>
                <a:cxn ang="0">
                  <a:pos x="105" y="54"/>
                </a:cxn>
                <a:cxn ang="0">
                  <a:pos x="102" y="57"/>
                </a:cxn>
                <a:cxn ang="0">
                  <a:pos x="99" y="62"/>
                </a:cxn>
                <a:cxn ang="0">
                  <a:pos x="102" y="73"/>
                </a:cxn>
              </a:cxnLst>
              <a:rect l="0" t="0" r="r" b="b"/>
              <a:pathLst>
                <a:path w="111" h="118">
                  <a:moveTo>
                    <a:pt x="102" y="73"/>
                  </a:moveTo>
                  <a:cubicBezTo>
                    <a:pt x="103" y="79"/>
                    <a:pt x="92" y="84"/>
                    <a:pt x="88" y="84"/>
                  </a:cubicBezTo>
                  <a:cubicBezTo>
                    <a:pt x="83" y="82"/>
                    <a:pt x="90" y="92"/>
                    <a:pt x="82" y="87"/>
                  </a:cubicBezTo>
                  <a:cubicBezTo>
                    <a:pt x="76" y="84"/>
                    <a:pt x="68" y="81"/>
                    <a:pt x="71" y="85"/>
                  </a:cubicBezTo>
                  <a:cubicBezTo>
                    <a:pt x="74" y="90"/>
                    <a:pt x="74" y="101"/>
                    <a:pt x="77" y="99"/>
                  </a:cubicBezTo>
                  <a:cubicBezTo>
                    <a:pt x="80" y="98"/>
                    <a:pt x="82" y="101"/>
                    <a:pt x="77" y="104"/>
                  </a:cubicBezTo>
                  <a:cubicBezTo>
                    <a:pt x="73" y="106"/>
                    <a:pt x="77" y="110"/>
                    <a:pt x="71" y="110"/>
                  </a:cubicBezTo>
                  <a:cubicBezTo>
                    <a:pt x="65" y="112"/>
                    <a:pt x="67" y="118"/>
                    <a:pt x="62" y="117"/>
                  </a:cubicBezTo>
                  <a:cubicBezTo>
                    <a:pt x="59" y="115"/>
                    <a:pt x="56" y="118"/>
                    <a:pt x="53" y="112"/>
                  </a:cubicBezTo>
                  <a:cubicBezTo>
                    <a:pt x="50" y="103"/>
                    <a:pt x="51" y="101"/>
                    <a:pt x="48" y="99"/>
                  </a:cubicBezTo>
                  <a:cubicBezTo>
                    <a:pt x="47" y="98"/>
                    <a:pt x="47" y="96"/>
                    <a:pt x="45" y="96"/>
                  </a:cubicBezTo>
                  <a:cubicBezTo>
                    <a:pt x="44" y="98"/>
                    <a:pt x="44" y="96"/>
                    <a:pt x="48" y="92"/>
                  </a:cubicBezTo>
                  <a:cubicBezTo>
                    <a:pt x="50" y="90"/>
                    <a:pt x="47" y="89"/>
                    <a:pt x="45" y="82"/>
                  </a:cubicBezTo>
                  <a:cubicBezTo>
                    <a:pt x="42" y="73"/>
                    <a:pt x="50" y="64"/>
                    <a:pt x="48" y="64"/>
                  </a:cubicBezTo>
                  <a:cubicBezTo>
                    <a:pt x="41" y="62"/>
                    <a:pt x="41" y="65"/>
                    <a:pt x="33" y="64"/>
                  </a:cubicBezTo>
                  <a:cubicBezTo>
                    <a:pt x="30" y="64"/>
                    <a:pt x="29" y="54"/>
                    <a:pt x="26" y="56"/>
                  </a:cubicBezTo>
                  <a:cubicBezTo>
                    <a:pt x="24" y="57"/>
                    <a:pt x="23" y="54"/>
                    <a:pt x="15" y="56"/>
                  </a:cubicBezTo>
                  <a:cubicBezTo>
                    <a:pt x="9" y="56"/>
                    <a:pt x="14" y="53"/>
                    <a:pt x="9" y="51"/>
                  </a:cubicBezTo>
                  <a:cubicBezTo>
                    <a:pt x="6" y="51"/>
                    <a:pt x="12" y="43"/>
                    <a:pt x="9" y="42"/>
                  </a:cubicBezTo>
                  <a:cubicBezTo>
                    <a:pt x="4" y="39"/>
                    <a:pt x="7" y="32"/>
                    <a:pt x="3" y="34"/>
                  </a:cubicBezTo>
                  <a:cubicBezTo>
                    <a:pt x="0" y="34"/>
                    <a:pt x="1" y="34"/>
                    <a:pt x="3" y="31"/>
                  </a:cubicBezTo>
                  <a:cubicBezTo>
                    <a:pt x="6" y="29"/>
                    <a:pt x="4" y="17"/>
                    <a:pt x="9" y="15"/>
                  </a:cubicBezTo>
                  <a:cubicBezTo>
                    <a:pt x="14" y="12"/>
                    <a:pt x="7" y="9"/>
                    <a:pt x="18" y="7"/>
                  </a:cubicBezTo>
                  <a:cubicBezTo>
                    <a:pt x="15" y="9"/>
                    <a:pt x="10" y="11"/>
                    <a:pt x="14" y="14"/>
                  </a:cubicBezTo>
                  <a:cubicBezTo>
                    <a:pt x="14" y="14"/>
                    <a:pt x="15" y="15"/>
                    <a:pt x="15" y="17"/>
                  </a:cubicBezTo>
                  <a:cubicBezTo>
                    <a:pt x="15" y="21"/>
                    <a:pt x="17" y="15"/>
                    <a:pt x="23" y="14"/>
                  </a:cubicBezTo>
                  <a:cubicBezTo>
                    <a:pt x="30" y="12"/>
                    <a:pt x="27" y="11"/>
                    <a:pt x="26" y="9"/>
                  </a:cubicBezTo>
                  <a:cubicBezTo>
                    <a:pt x="26" y="6"/>
                    <a:pt x="29" y="0"/>
                    <a:pt x="30" y="6"/>
                  </a:cubicBezTo>
                  <a:cubicBezTo>
                    <a:pt x="33" y="14"/>
                    <a:pt x="41" y="9"/>
                    <a:pt x="41" y="18"/>
                  </a:cubicBezTo>
                  <a:cubicBezTo>
                    <a:pt x="41" y="26"/>
                    <a:pt x="56" y="15"/>
                    <a:pt x="59" y="21"/>
                  </a:cubicBezTo>
                  <a:cubicBezTo>
                    <a:pt x="64" y="26"/>
                    <a:pt x="68" y="25"/>
                    <a:pt x="71" y="23"/>
                  </a:cubicBezTo>
                  <a:cubicBezTo>
                    <a:pt x="74" y="21"/>
                    <a:pt x="70" y="18"/>
                    <a:pt x="77" y="18"/>
                  </a:cubicBezTo>
                  <a:cubicBezTo>
                    <a:pt x="85" y="18"/>
                    <a:pt x="82" y="17"/>
                    <a:pt x="88" y="18"/>
                  </a:cubicBezTo>
                  <a:cubicBezTo>
                    <a:pt x="94" y="18"/>
                    <a:pt x="92" y="20"/>
                    <a:pt x="86" y="20"/>
                  </a:cubicBezTo>
                  <a:cubicBezTo>
                    <a:pt x="80" y="21"/>
                    <a:pt x="90" y="25"/>
                    <a:pt x="91" y="26"/>
                  </a:cubicBezTo>
                  <a:cubicBezTo>
                    <a:pt x="92" y="29"/>
                    <a:pt x="96" y="26"/>
                    <a:pt x="97" y="29"/>
                  </a:cubicBezTo>
                  <a:cubicBezTo>
                    <a:pt x="99" y="32"/>
                    <a:pt x="103" y="31"/>
                    <a:pt x="100" y="34"/>
                  </a:cubicBezTo>
                  <a:cubicBezTo>
                    <a:pt x="97" y="36"/>
                    <a:pt x="99" y="37"/>
                    <a:pt x="97" y="40"/>
                  </a:cubicBezTo>
                  <a:cubicBezTo>
                    <a:pt x="94" y="43"/>
                    <a:pt x="103" y="37"/>
                    <a:pt x="108" y="40"/>
                  </a:cubicBezTo>
                  <a:cubicBezTo>
                    <a:pt x="111" y="45"/>
                    <a:pt x="103" y="46"/>
                    <a:pt x="102" y="50"/>
                  </a:cubicBezTo>
                  <a:cubicBezTo>
                    <a:pt x="100" y="51"/>
                    <a:pt x="103" y="51"/>
                    <a:pt x="105" y="54"/>
                  </a:cubicBezTo>
                  <a:cubicBezTo>
                    <a:pt x="105" y="56"/>
                    <a:pt x="105" y="56"/>
                    <a:pt x="102" y="57"/>
                  </a:cubicBezTo>
                  <a:cubicBezTo>
                    <a:pt x="97" y="59"/>
                    <a:pt x="97" y="57"/>
                    <a:pt x="99" y="62"/>
                  </a:cubicBezTo>
                  <a:cubicBezTo>
                    <a:pt x="100" y="67"/>
                    <a:pt x="91" y="64"/>
                    <a:pt x="102" y="73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48" name="Freeform 22">
              <a:extLst>
                <a:ext uri="{FF2B5EF4-FFF2-40B4-BE49-F238E27FC236}">
                  <a16:creationId xmlns:a16="http://schemas.microsoft.com/office/drawing/2014/main" id="{EADF96EF-36CD-B650-BE72-73A78CBF26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00304" y="4486724"/>
              <a:ext cx="135664" cy="233128"/>
            </a:xfrm>
            <a:custGeom>
              <a:avLst/>
              <a:gdLst/>
              <a:ahLst/>
              <a:cxnLst>
                <a:cxn ang="0">
                  <a:pos x="44" y="66"/>
                </a:cxn>
                <a:cxn ang="0">
                  <a:pos x="38" y="64"/>
                </a:cxn>
                <a:cxn ang="0">
                  <a:pos x="30" y="69"/>
                </a:cxn>
                <a:cxn ang="0">
                  <a:pos x="26" y="72"/>
                </a:cxn>
                <a:cxn ang="0">
                  <a:pos x="18" y="64"/>
                </a:cxn>
                <a:cxn ang="0">
                  <a:pos x="17" y="56"/>
                </a:cxn>
                <a:cxn ang="0">
                  <a:pos x="18" y="47"/>
                </a:cxn>
                <a:cxn ang="0">
                  <a:pos x="15" y="38"/>
                </a:cxn>
                <a:cxn ang="0">
                  <a:pos x="14" y="33"/>
                </a:cxn>
                <a:cxn ang="0">
                  <a:pos x="10" y="33"/>
                </a:cxn>
                <a:cxn ang="0">
                  <a:pos x="7" y="22"/>
                </a:cxn>
                <a:cxn ang="0">
                  <a:pos x="10" y="17"/>
                </a:cxn>
                <a:cxn ang="0">
                  <a:pos x="14" y="14"/>
                </a:cxn>
                <a:cxn ang="0">
                  <a:pos x="10" y="10"/>
                </a:cxn>
                <a:cxn ang="0">
                  <a:pos x="17" y="0"/>
                </a:cxn>
                <a:cxn ang="0">
                  <a:pos x="18" y="2"/>
                </a:cxn>
                <a:cxn ang="0">
                  <a:pos x="27" y="13"/>
                </a:cxn>
                <a:cxn ang="0">
                  <a:pos x="32" y="17"/>
                </a:cxn>
                <a:cxn ang="0">
                  <a:pos x="37" y="22"/>
                </a:cxn>
                <a:cxn ang="0">
                  <a:pos x="40" y="27"/>
                </a:cxn>
                <a:cxn ang="0">
                  <a:pos x="38" y="33"/>
                </a:cxn>
                <a:cxn ang="0">
                  <a:pos x="35" y="36"/>
                </a:cxn>
                <a:cxn ang="0">
                  <a:pos x="32" y="38"/>
                </a:cxn>
                <a:cxn ang="0">
                  <a:pos x="32" y="42"/>
                </a:cxn>
                <a:cxn ang="0">
                  <a:pos x="35" y="50"/>
                </a:cxn>
                <a:cxn ang="0">
                  <a:pos x="38" y="52"/>
                </a:cxn>
                <a:cxn ang="0">
                  <a:pos x="40" y="58"/>
                </a:cxn>
                <a:cxn ang="0">
                  <a:pos x="44" y="66"/>
                </a:cxn>
              </a:cxnLst>
              <a:rect l="0" t="0" r="r" b="b"/>
              <a:pathLst>
                <a:path w="44" h="74">
                  <a:moveTo>
                    <a:pt x="44" y="66"/>
                  </a:moveTo>
                  <a:cubicBezTo>
                    <a:pt x="40" y="66"/>
                    <a:pt x="41" y="64"/>
                    <a:pt x="38" y="64"/>
                  </a:cubicBezTo>
                  <a:cubicBezTo>
                    <a:pt x="35" y="66"/>
                    <a:pt x="34" y="71"/>
                    <a:pt x="30" y="69"/>
                  </a:cubicBezTo>
                  <a:cubicBezTo>
                    <a:pt x="27" y="69"/>
                    <a:pt x="29" y="71"/>
                    <a:pt x="26" y="72"/>
                  </a:cubicBezTo>
                  <a:cubicBezTo>
                    <a:pt x="24" y="74"/>
                    <a:pt x="18" y="69"/>
                    <a:pt x="18" y="64"/>
                  </a:cubicBezTo>
                  <a:cubicBezTo>
                    <a:pt x="18" y="60"/>
                    <a:pt x="15" y="63"/>
                    <a:pt x="17" y="56"/>
                  </a:cubicBezTo>
                  <a:cubicBezTo>
                    <a:pt x="18" y="50"/>
                    <a:pt x="18" y="50"/>
                    <a:pt x="18" y="47"/>
                  </a:cubicBezTo>
                  <a:cubicBezTo>
                    <a:pt x="21" y="41"/>
                    <a:pt x="14" y="42"/>
                    <a:pt x="15" y="38"/>
                  </a:cubicBezTo>
                  <a:cubicBezTo>
                    <a:pt x="17" y="35"/>
                    <a:pt x="15" y="31"/>
                    <a:pt x="14" y="33"/>
                  </a:cubicBezTo>
                  <a:cubicBezTo>
                    <a:pt x="12" y="33"/>
                    <a:pt x="10" y="33"/>
                    <a:pt x="10" y="33"/>
                  </a:cubicBezTo>
                  <a:cubicBezTo>
                    <a:pt x="0" y="24"/>
                    <a:pt x="9" y="27"/>
                    <a:pt x="7" y="22"/>
                  </a:cubicBezTo>
                  <a:cubicBezTo>
                    <a:pt x="6" y="17"/>
                    <a:pt x="6" y="19"/>
                    <a:pt x="10" y="17"/>
                  </a:cubicBezTo>
                  <a:cubicBezTo>
                    <a:pt x="14" y="16"/>
                    <a:pt x="14" y="16"/>
                    <a:pt x="14" y="14"/>
                  </a:cubicBezTo>
                  <a:cubicBezTo>
                    <a:pt x="12" y="11"/>
                    <a:pt x="9" y="11"/>
                    <a:pt x="10" y="10"/>
                  </a:cubicBezTo>
                  <a:cubicBezTo>
                    <a:pt x="12" y="6"/>
                    <a:pt x="20" y="5"/>
                    <a:pt x="17" y="0"/>
                  </a:cubicBezTo>
                  <a:cubicBezTo>
                    <a:pt x="17" y="2"/>
                    <a:pt x="18" y="2"/>
                    <a:pt x="18" y="2"/>
                  </a:cubicBezTo>
                  <a:cubicBezTo>
                    <a:pt x="26" y="6"/>
                    <a:pt x="29" y="10"/>
                    <a:pt x="27" y="13"/>
                  </a:cubicBezTo>
                  <a:cubicBezTo>
                    <a:pt x="27" y="17"/>
                    <a:pt x="26" y="16"/>
                    <a:pt x="32" y="17"/>
                  </a:cubicBezTo>
                  <a:cubicBezTo>
                    <a:pt x="37" y="19"/>
                    <a:pt x="34" y="22"/>
                    <a:pt x="37" y="22"/>
                  </a:cubicBezTo>
                  <a:cubicBezTo>
                    <a:pt x="38" y="22"/>
                    <a:pt x="38" y="25"/>
                    <a:pt x="40" y="27"/>
                  </a:cubicBezTo>
                  <a:cubicBezTo>
                    <a:pt x="40" y="30"/>
                    <a:pt x="38" y="31"/>
                    <a:pt x="38" y="33"/>
                  </a:cubicBezTo>
                  <a:cubicBezTo>
                    <a:pt x="38" y="35"/>
                    <a:pt x="38" y="35"/>
                    <a:pt x="35" y="36"/>
                  </a:cubicBezTo>
                  <a:cubicBezTo>
                    <a:pt x="32" y="36"/>
                    <a:pt x="32" y="36"/>
                    <a:pt x="32" y="38"/>
                  </a:cubicBezTo>
                  <a:cubicBezTo>
                    <a:pt x="34" y="39"/>
                    <a:pt x="34" y="39"/>
                    <a:pt x="32" y="42"/>
                  </a:cubicBezTo>
                  <a:cubicBezTo>
                    <a:pt x="30" y="47"/>
                    <a:pt x="34" y="47"/>
                    <a:pt x="35" y="50"/>
                  </a:cubicBezTo>
                  <a:cubicBezTo>
                    <a:pt x="35" y="53"/>
                    <a:pt x="37" y="50"/>
                    <a:pt x="38" y="52"/>
                  </a:cubicBezTo>
                  <a:cubicBezTo>
                    <a:pt x="38" y="53"/>
                    <a:pt x="37" y="55"/>
                    <a:pt x="40" y="58"/>
                  </a:cubicBezTo>
                  <a:cubicBezTo>
                    <a:pt x="41" y="60"/>
                    <a:pt x="41" y="63"/>
                    <a:pt x="44" y="66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49" name="Freeform 23">
              <a:extLst>
                <a:ext uri="{FF2B5EF4-FFF2-40B4-BE49-F238E27FC236}">
                  <a16:creationId xmlns:a16="http://schemas.microsoft.com/office/drawing/2014/main" id="{685EC0FB-87C5-B933-063B-E094885C5F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96066" y="4562815"/>
              <a:ext cx="102147" cy="137610"/>
            </a:xfrm>
            <a:custGeom>
              <a:avLst/>
              <a:gdLst/>
              <a:ahLst/>
              <a:cxnLst>
                <a:cxn ang="0">
                  <a:pos x="33" y="4"/>
                </a:cxn>
                <a:cxn ang="0">
                  <a:pos x="29" y="15"/>
                </a:cxn>
                <a:cxn ang="0">
                  <a:pos x="32" y="23"/>
                </a:cxn>
                <a:cxn ang="0">
                  <a:pos x="32" y="27"/>
                </a:cxn>
                <a:cxn ang="0">
                  <a:pos x="29" y="37"/>
                </a:cxn>
                <a:cxn ang="0">
                  <a:pos x="26" y="35"/>
                </a:cxn>
                <a:cxn ang="0">
                  <a:pos x="20" y="37"/>
                </a:cxn>
                <a:cxn ang="0">
                  <a:pos x="18" y="40"/>
                </a:cxn>
                <a:cxn ang="0">
                  <a:pos x="13" y="41"/>
                </a:cxn>
                <a:cxn ang="0">
                  <a:pos x="9" y="33"/>
                </a:cxn>
                <a:cxn ang="0">
                  <a:pos x="7" y="27"/>
                </a:cxn>
                <a:cxn ang="0">
                  <a:pos x="4" y="26"/>
                </a:cxn>
                <a:cxn ang="0">
                  <a:pos x="1" y="18"/>
                </a:cxn>
                <a:cxn ang="0">
                  <a:pos x="1" y="14"/>
                </a:cxn>
                <a:cxn ang="0">
                  <a:pos x="4" y="12"/>
                </a:cxn>
                <a:cxn ang="0">
                  <a:pos x="7" y="9"/>
                </a:cxn>
                <a:cxn ang="0">
                  <a:pos x="9" y="3"/>
                </a:cxn>
                <a:cxn ang="0">
                  <a:pos x="18" y="3"/>
                </a:cxn>
                <a:cxn ang="0">
                  <a:pos x="21" y="1"/>
                </a:cxn>
                <a:cxn ang="0">
                  <a:pos x="24" y="1"/>
                </a:cxn>
                <a:cxn ang="0">
                  <a:pos x="33" y="4"/>
                </a:cxn>
              </a:cxnLst>
              <a:rect l="0" t="0" r="r" b="b"/>
              <a:pathLst>
                <a:path w="33" h="44">
                  <a:moveTo>
                    <a:pt x="33" y="4"/>
                  </a:moveTo>
                  <a:cubicBezTo>
                    <a:pt x="30" y="12"/>
                    <a:pt x="29" y="9"/>
                    <a:pt x="29" y="15"/>
                  </a:cubicBezTo>
                  <a:cubicBezTo>
                    <a:pt x="30" y="20"/>
                    <a:pt x="30" y="21"/>
                    <a:pt x="32" y="23"/>
                  </a:cubicBezTo>
                  <a:cubicBezTo>
                    <a:pt x="33" y="24"/>
                    <a:pt x="33" y="26"/>
                    <a:pt x="32" y="27"/>
                  </a:cubicBezTo>
                  <a:cubicBezTo>
                    <a:pt x="30" y="29"/>
                    <a:pt x="33" y="33"/>
                    <a:pt x="29" y="37"/>
                  </a:cubicBezTo>
                  <a:cubicBezTo>
                    <a:pt x="27" y="35"/>
                    <a:pt x="26" y="37"/>
                    <a:pt x="26" y="35"/>
                  </a:cubicBezTo>
                  <a:cubicBezTo>
                    <a:pt x="26" y="32"/>
                    <a:pt x="21" y="38"/>
                    <a:pt x="20" y="37"/>
                  </a:cubicBezTo>
                  <a:cubicBezTo>
                    <a:pt x="16" y="35"/>
                    <a:pt x="16" y="37"/>
                    <a:pt x="18" y="40"/>
                  </a:cubicBezTo>
                  <a:cubicBezTo>
                    <a:pt x="20" y="44"/>
                    <a:pt x="15" y="40"/>
                    <a:pt x="13" y="41"/>
                  </a:cubicBezTo>
                  <a:cubicBezTo>
                    <a:pt x="10" y="38"/>
                    <a:pt x="10" y="35"/>
                    <a:pt x="9" y="33"/>
                  </a:cubicBezTo>
                  <a:cubicBezTo>
                    <a:pt x="6" y="30"/>
                    <a:pt x="7" y="29"/>
                    <a:pt x="7" y="27"/>
                  </a:cubicBezTo>
                  <a:cubicBezTo>
                    <a:pt x="6" y="26"/>
                    <a:pt x="4" y="29"/>
                    <a:pt x="4" y="26"/>
                  </a:cubicBezTo>
                  <a:cubicBezTo>
                    <a:pt x="3" y="23"/>
                    <a:pt x="0" y="23"/>
                    <a:pt x="1" y="18"/>
                  </a:cubicBezTo>
                  <a:cubicBezTo>
                    <a:pt x="3" y="15"/>
                    <a:pt x="3" y="15"/>
                    <a:pt x="1" y="14"/>
                  </a:cubicBezTo>
                  <a:cubicBezTo>
                    <a:pt x="1" y="12"/>
                    <a:pt x="1" y="12"/>
                    <a:pt x="4" y="12"/>
                  </a:cubicBezTo>
                  <a:cubicBezTo>
                    <a:pt x="7" y="10"/>
                    <a:pt x="7" y="10"/>
                    <a:pt x="7" y="9"/>
                  </a:cubicBezTo>
                  <a:cubicBezTo>
                    <a:pt x="7" y="7"/>
                    <a:pt x="9" y="6"/>
                    <a:pt x="9" y="3"/>
                  </a:cubicBezTo>
                  <a:cubicBezTo>
                    <a:pt x="12" y="0"/>
                    <a:pt x="18" y="4"/>
                    <a:pt x="18" y="3"/>
                  </a:cubicBezTo>
                  <a:cubicBezTo>
                    <a:pt x="18" y="1"/>
                    <a:pt x="20" y="1"/>
                    <a:pt x="21" y="1"/>
                  </a:cubicBezTo>
                  <a:cubicBezTo>
                    <a:pt x="23" y="1"/>
                    <a:pt x="24" y="3"/>
                    <a:pt x="24" y="1"/>
                  </a:cubicBezTo>
                  <a:cubicBezTo>
                    <a:pt x="24" y="1"/>
                    <a:pt x="30" y="3"/>
                    <a:pt x="33" y="4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50" name="Freeform 24">
              <a:extLst>
                <a:ext uri="{FF2B5EF4-FFF2-40B4-BE49-F238E27FC236}">
                  <a16:creationId xmlns:a16="http://schemas.microsoft.com/office/drawing/2014/main" id="{4852FD6F-7BB7-A59A-6E83-C9967D1BF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85445" y="4575766"/>
              <a:ext cx="71822" cy="113326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7" y="0"/>
                </a:cxn>
                <a:cxn ang="0">
                  <a:pos x="13" y="5"/>
                </a:cxn>
                <a:cxn ang="0">
                  <a:pos x="20" y="9"/>
                </a:cxn>
                <a:cxn ang="0">
                  <a:pos x="23" y="14"/>
                </a:cxn>
                <a:cxn ang="0">
                  <a:pos x="23" y="17"/>
                </a:cxn>
                <a:cxn ang="0">
                  <a:pos x="18" y="23"/>
                </a:cxn>
                <a:cxn ang="0">
                  <a:pos x="12" y="34"/>
                </a:cxn>
                <a:cxn ang="0">
                  <a:pos x="9" y="33"/>
                </a:cxn>
                <a:cxn ang="0">
                  <a:pos x="4" y="34"/>
                </a:cxn>
                <a:cxn ang="0">
                  <a:pos x="0" y="33"/>
                </a:cxn>
                <a:cxn ang="0">
                  <a:pos x="3" y="23"/>
                </a:cxn>
                <a:cxn ang="0">
                  <a:pos x="3" y="19"/>
                </a:cxn>
                <a:cxn ang="0">
                  <a:pos x="0" y="11"/>
                </a:cxn>
                <a:cxn ang="0">
                  <a:pos x="4" y="0"/>
                </a:cxn>
              </a:cxnLst>
              <a:rect l="0" t="0" r="r" b="b"/>
              <a:pathLst>
                <a:path w="23" h="36">
                  <a:moveTo>
                    <a:pt x="4" y="0"/>
                  </a:moveTo>
                  <a:cubicBezTo>
                    <a:pt x="6" y="0"/>
                    <a:pt x="6" y="0"/>
                    <a:pt x="7" y="0"/>
                  </a:cubicBezTo>
                  <a:cubicBezTo>
                    <a:pt x="10" y="2"/>
                    <a:pt x="12" y="2"/>
                    <a:pt x="13" y="5"/>
                  </a:cubicBezTo>
                  <a:cubicBezTo>
                    <a:pt x="15" y="8"/>
                    <a:pt x="18" y="8"/>
                    <a:pt x="20" y="9"/>
                  </a:cubicBezTo>
                  <a:cubicBezTo>
                    <a:pt x="21" y="14"/>
                    <a:pt x="21" y="6"/>
                    <a:pt x="23" y="14"/>
                  </a:cubicBezTo>
                  <a:cubicBezTo>
                    <a:pt x="23" y="14"/>
                    <a:pt x="21" y="16"/>
                    <a:pt x="23" y="17"/>
                  </a:cubicBezTo>
                  <a:cubicBezTo>
                    <a:pt x="21" y="19"/>
                    <a:pt x="21" y="19"/>
                    <a:pt x="18" y="23"/>
                  </a:cubicBezTo>
                  <a:cubicBezTo>
                    <a:pt x="17" y="26"/>
                    <a:pt x="15" y="34"/>
                    <a:pt x="12" y="34"/>
                  </a:cubicBezTo>
                  <a:cubicBezTo>
                    <a:pt x="9" y="34"/>
                    <a:pt x="10" y="31"/>
                    <a:pt x="9" y="33"/>
                  </a:cubicBezTo>
                  <a:cubicBezTo>
                    <a:pt x="6" y="36"/>
                    <a:pt x="6" y="31"/>
                    <a:pt x="4" y="34"/>
                  </a:cubicBezTo>
                  <a:cubicBezTo>
                    <a:pt x="3" y="36"/>
                    <a:pt x="1" y="36"/>
                    <a:pt x="0" y="33"/>
                  </a:cubicBezTo>
                  <a:cubicBezTo>
                    <a:pt x="4" y="30"/>
                    <a:pt x="1" y="25"/>
                    <a:pt x="3" y="23"/>
                  </a:cubicBezTo>
                  <a:cubicBezTo>
                    <a:pt x="4" y="22"/>
                    <a:pt x="4" y="20"/>
                    <a:pt x="3" y="19"/>
                  </a:cubicBezTo>
                  <a:cubicBezTo>
                    <a:pt x="1" y="17"/>
                    <a:pt x="1" y="16"/>
                    <a:pt x="0" y="11"/>
                  </a:cubicBezTo>
                  <a:cubicBezTo>
                    <a:pt x="0" y="5"/>
                    <a:pt x="1" y="8"/>
                    <a:pt x="4" y="0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51" name="Freeform 25">
              <a:extLst>
                <a:ext uri="{FF2B5EF4-FFF2-40B4-BE49-F238E27FC236}">
                  <a16:creationId xmlns:a16="http://schemas.microsoft.com/office/drawing/2014/main" id="{D0F8E094-7456-DAF8-64B1-3B7164B06D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12957" y="4402540"/>
              <a:ext cx="82995" cy="100374"/>
            </a:xfrm>
            <a:custGeom>
              <a:avLst/>
              <a:gdLst/>
              <a:ahLst/>
              <a:cxnLst>
                <a:cxn ang="0">
                  <a:pos x="27" y="18"/>
                </a:cxn>
                <a:cxn ang="0">
                  <a:pos x="26" y="17"/>
                </a:cxn>
                <a:cxn ang="0">
                  <a:pos x="24" y="23"/>
                </a:cxn>
                <a:cxn ang="0">
                  <a:pos x="26" y="24"/>
                </a:cxn>
                <a:cxn ang="0">
                  <a:pos x="24" y="28"/>
                </a:cxn>
                <a:cxn ang="0">
                  <a:pos x="24" y="32"/>
                </a:cxn>
                <a:cxn ang="0">
                  <a:pos x="23" y="31"/>
                </a:cxn>
                <a:cxn ang="0">
                  <a:pos x="23" y="28"/>
                </a:cxn>
                <a:cxn ang="0">
                  <a:pos x="21" y="26"/>
                </a:cxn>
                <a:cxn ang="0">
                  <a:pos x="21" y="29"/>
                </a:cxn>
                <a:cxn ang="0">
                  <a:pos x="20" y="29"/>
                </a:cxn>
                <a:cxn ang="0">
                  <a:pos x="18" y="26"/>
                </a:cxn>
                <a:cxn ang="0">
                  <a:pos x="20" y="23"/>
                </a:cxn>
                <a:cxn ang="0">
                  <a:pos x="15" y="20"/>
                </a:cxn>
                <a:cxn ang="0">
                  <a:pos x="11" y="17"/>
                </a:cxn>
                <a:cxn ang="0">
                  <a:pos x="11" y="14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9" y="15"/>
                </a:cxn>
                <a:cxn ang="0">
                  <a:pos x="6" y="17"/>
                </a:cxn>
                <a:cxn ang="0">
                  <a:pos x="3" y="14"/>
                </a:cxn>
                <a:cxn ang="0">
                  <a:pos x="1" y="9"/>
                </a:cxn>
                <a:cxn ang="0">
                  <a:pos x="3" y="7"/>
                </a:cxn>
                <a:cxn ang="0">
                  <a:pos x="1" y="4"/>
                </a:cxn>
                <a:cxn ang="0">
                  <a:pos x="3" y="3"/>
                </a:cxn>
                <a:cxn ang="0">
                  <a:pos x="6" y="3"/>
                </a:cxn>
                <a:cxn ang="0">
                  <a:pos x="12" y="3"/>
                </a:cxn>
                <a:cxn ang="0">
                  <a:pos x="14" y="4"/>
                </a:cxn>
                <a:cxn ang="0">
                  <a:pos x="18" y="4"/>
                </a:cxn>
                <a:cxn ang="0">
                  <a:pos x="21" y="10"/>
                </a:cxn>
                <a:cxn ang="0">
                  <a:pos x="27" y="18"/>
                </a:cxn>
              </a:cxnLst>
              <a:rect l="0" t="0" r="r" b="b"/>
              <a:pathLst>
                <a:path w="27" h="32">
                  <a:moveTo>
                    <a:pt x="27" y="18"/>
                  </a:moveTo>
                  <a:cubicBezTo>
                    <a:pt x="26" y="18"/>
                    <a:pt x="26" y="17"/>
                    <a:pt x="26" y="17"/>
                  </a:cubicBezTo>
                  <a:cubicBezTo>
                    <a:pt x="24" y="17"/>
                    <a:pt x="24" y="20"/>
                    <a:pt x="24" y="23"/>
                  </a:cubicBezTo>
                  <a:cubicBezTo>
                    <a:pt x="24" y="23"/>
                    <a:pt x="27" y="23"/>
                    <a:pt x="26" y="24"/>
                  </a:cubicBezTo>
                  <a:cubicBezTo>
                    <a:pt x="24" y="26"/>
                    <a:pt x="26" y="26"/>
                    <a:pt x="24" y="28"/>
                  </a:cubicBezTo>
                  <a:cubicBezTo>
                    <a:pt x="24" y="29"/>
                    <a:pt x="23" y="29"/>
                    <a:pt x="24" y="32"/>
                  </a:cubicBezTo>
                  <a:cubicBezTo>
                    <a:pt x="24" y="32"/>
                    <a:pt x="24" y="31"/>
                    <a:pt x="23" y="31"/>
                  </a:cubicBezTo>
                  <a:cubicBezTo>
                    <a:pt x="23" y="29"/>
                    <a:pt x="24" y="28"/>
                    <a:pt x="23" y="28"/>
                  </a:cubicBezTo>
                  <a:cubicBezTo>
                    <a:pt x="21" y="26"/>
                    <a:pt x="23" y="24"/>
                    <a:pt x="21" y="26"/>
                  </a:cubicBezTo>
                  <a:cubicBezTo>
                    <a:pt x="18" y="26"/>
                    <a:pt x="23" y="28"/>
                    <a:pt x="21" y="29"/>
                  </a:cubicBezTo>
                  <a:cubicBezTo>
                    <a:pt x="21" y="31"/>
                    <a:pt x="21" y="29"/>
                    <a:pt x="20" y="29"/>
                  </a:cubicBezTo>
                  <a:cubicBezTo>
                    <a:pt x="20" y="29"/>
                    <a:pt x="17" y="28"/>
                    <a:pt x="18" y="26"/>
                  </a:cubicBezTo>
                  <a:cubicBezTo>
                    <a:pt x="20" y="26"/>
                    <a:pt x="18" y="24"/>
                    <a:pt x="20" y="23"/>
                  </a:cubicBezTo>
                  <a:cubicBezTo>
                    <a:pt x="20" y="23"/>
                    <a:pt x="18" y="21"/>
                    <a:pt x="15" y="20"/>
                  </a:cubicBezTo>
                  <a:cubicBezTo>
                    <a:pt x="12" y="17"/>
                    <a:pt x="12" y="18"/>
                    <a:pt x="11" y="17"/>
                  </a:cubicBezTo>
                  <a:cubicBezTo>
                    <a:pt x="11" y="17"/>
                    <a:pt x="11" y="17"/>
                    <a:pt x="11" y="14"/>
                  </a:cubicBezTo>
                  <a:cubicBezTo>
                    <a:pt x="11" y="12"/>
                    <a:pt x="8" y="12"/>
                    <a:pt x="6" y="12"/>
                  </a:cubicBezTo>
                  <a:cubicBezTo>
                    <a:pt x="6" y="10"/>
                    <a:pt x="6" y="12"/>
                    <a:pt x="6" y="12"/>
                  </a:cubicBezTo>
                  <a:cubicBezTo>
                    <a:pt x="8" y="14"/>
                    <a:pt x="11" y="15"/>
                    <a:pt x="9" y="15"/>
                  </a:cubicBezTo>
                  <a:cubicBezTo>
                    <a:pt x="8" y="17"/>
                    <a:pt x="8" y="18"/>
                    <a:pt x="6" y="17"/>
                  </a:cubicBezTo>
                  <a:cubicBezTo>
                    <a:pt x="6" y="15"/>
                    <a:pt x="3" y="14"/>
                    <a:pt x="3" y="14"/>
                  </a:cubicBezTo>
                  <a:cubicBezTo>
                    <a:pt x="3" y="14"/>
                    <a:pt x="0" y="12"/>
                    <a:pt x="1" y="9"/>
                  </a:cubicBezTo>
                  <a:cubicBezTo>
                    <a:pt x="1" y="6"/>
                    <a:pt x="3" y="9"/>
                    <a:pt x="3" y="7"/>
                  </a:cubicBezTo>
                  <a:cubicBezTo>
                    <a:pt x="3" y="4"/>
                    <a:pt x="3" y="6"/>
                    <a:pt x="1" y="4"/>
                  </a:cubicBezTo>
                  <a:cubicBezTo>
                    <a:pt x="0" y="4"/>
                    <a:pt x="3" y="4"/>
                    <a:pt x="3" y="3"/>
                  </a:cubicBezTo>
                  <a:cubicBezTo>
                    <a:pt x="3" y="1"/>
                    <a:pt x="3" y="0"/>
                    <a:pt x="6" y="3"/>
                  </a:cubicBezTo>
                  <a:cubicBezTo>
                    <a:pt x="11" y="6"/>
                    <a:pt x="9" y="1"/>
                    <a:pt x="12" y="3"/>
                  </a:cubicBezTo>
                  <a:cubicBezTo>
                    <a:pt x="12" y="4"/>
                    <a:pt x="14" y="3"/>
                    <a:pt x="14" y="4"/>
                  </a:cubicBezTo>
                  <a:cubicBezTo>
                    <a:pt x="14" y="6"/>
                    <a:pt x="17" y="7"/>
                    <a:pt x="18" y="4"/>
                  </a:cubicBezTo>
                  <a:cubicBezTo>
                    <a:pt x="20" y="6"/>
                    <a:pt x="20" y="7"/>
                    <a:pt x="21" y="10"/>
                  </a:cubicBezTo>
                  <a:cubicBezTo>
                    <a:pt x="23" y="14"/>
                    <a:pt x="27" y="17"/>
                    <a:pt x="27" y="18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52" name="Freeform 26">
              <a:extLst>
                <a:ext uri="{FF2B5EF4-FFF2-40B4-BE49-F238E27FC236}">
                  <a16:creationId xmlns:a16="http://schemas.microsoft.com/office/drawing/2014/main" id="{508855A3-DA54-4C75-ADBD-58D2004B801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68267" y="4285976"/>
              <a:ext cx="111724" cy="139229"/>
            </a:xfrm>
            <a:custGeom>
              <a:avLst/>
              <a:gdLst/>
              <a:ahLst/>
              <a:cxnLst>
                <a:cxn ang="0">
                  <a:pos x="3" y="21"/>
                </a:cxn>
                <a:cxn ang="0">
                  <a:pos x="6" y="19"/>
                </a:cxn>
                <a:cxn ang="0">
                  <a:pos x="8" y="16"/>
                </a:cxn>
                <a:cxn ang="0">
                  <a:pos x="11" y="13"/>
                </a:cxn>
                <a:cxn ang="0">
                  <a:pos x="14" y="10"/>
                </a:cxn>
                <a:cxn ang="0">
                  <a:pos x="17" y="11"/>
                </a:cxn>
                <a:cxn ang="0">
                  <a:pos x="21" y="3"/>
                </a:cxn>
                <a:cxn ang="0">
                  <a:pos x="24" y="3"/>
                </a:cxn>
                <a:cxn ang="0">
                  <a:pos x="32" y="2"/>
                </a:cxn>
                <a:cxn ang="0">
                  <a:pos x="36" y="0"/>
                </a:cxn>
                <a:cxn ang="0">
                  <a:pos x="36" y="5"/>
                </a:cxn>
                <a:cxn ang="0">
                  <a:pos x="33" y="13"/>
                </a:cxn>
                <a:cxn ang="0">
                  <a:pos x="33" y="17"/>
                </a:cxn>
                <a:cxn ang="0">
                  <a:pos x="33" y="25"/>
                </a:cxn>
                <a:cxn ang="0">
                  <a:pos x="33" y="27"/>
                </a:cxn>
                <a:cxn ang="0">
                  <a:pos x="32" y="28"/>
                </a:cxn>
                <a:cxn ang="0">
                  <a:pos x="32" y="32"/>
                </a:cxn>
                <a:cxn ang="0">
                  <a:pos x="32" y="35"/>
                </a:cxn>
                <a:cxn ang="0">
                  <a:pos x="30" y="38"/>
                </a:cxn>
                <a:cxn ang="0">
                  <a:pos x="32" y="41"/>
                </a:cxn>
                <a:cxn ang="0">
                  <a:pos x="27" y="41"/>
                </a:cxn>
                <a:cxn ang="0">
                  <a:pos x="26" y="39"/>
                </a:cxn>
                <a:cxn ang="0">
                  <a:pos x="20" y="39"/>
                </a:cxn>
                <a:cxn ang="0">
                  <a:pos x="17" y="39"/>
                </a:cxn>
                <a:cxn ang="0">
                  <a:pos x="9" y="32"/>
                </a:cxn>
                <a:cxn ang="0">
                  <a:pos x="3" y="24"/>
                </a:cxn>
                <a:cxn ang="0">
                  <a:pos x="1" y="21"/>
                </a:cxn>
                <a:cxn ang="0">
                  <a:pos x="3" y="21"/>
                </a:cxn>
              </a:cxnLst>
              <a:rect l="0" t="0" r="r" b="b"/>
              <a:pathLst>
                <a:path w="36" h="44">
                  <a:moveTo>
                    <a:pt x="3" y="21"/>
                  </a:moveTo>
                  <a:cubicBezTo>
                    <a:pt x="6" y="21"/>
                    <a:pt x="6" y="21"/>
                    <a:pt x="6" y="19"/>
                  </a:cubicBezTo>
                  <a:cubicBezTo>
                    <a:pt x="8" y="16"/>
                    <a:pt x="9" y="19"/>
                    <a:pt x="8" y="16"/>
                  </a:cubicBezTo>
                  <a:cubicBezTo>
                    <a:pt x="8" y="11"/>
                    <a:pt x="8" y="13"/>
                    <a:pt x="11" y="13"/>
                  </a:cubicBezTo>
                  <a:cubicBezTo>
                    <a:pt x="12" y="13"/>
                    <a:pt x="12" y="8"/>
                    <a:pt x="14" y="10"/>
                  </a:cubicBezTo>
                  <a:cubicBezTo>
                    <a:pt x="15" y="13"/>
                    <a:pt x="17" y="13"/>
                    <a:pt x="17" y="11"/>
                  </a:cubicBezTo>
                  <a:cubicBezTo>
                    <a:pt x="15" y="10"/>
                    <a:pt x="21" y="5"/>
                    <a:pt x="21" y="3"/>
                  </a:cubicBezTo>
                  <a:cubicBezTo>
                    <a:pt x="23" y="2"/>
                    <a:pt x="23" y="2"/>
                    <a:pt x="24" y="3"/>
                  </a:cubicBezTo>
                  <a:cubicBezTo>
                    <a:pt x="24" y="3"/>
                    <a:pt x="30" y="3"/>
                    <a:pt x="32" y="2"/>
                  </a:cubicBezTo>
                  <a:cubicBezTo>
                    <a:pt x="33" y="0"/>
                    <a:pt x="35" y="0"/>
                    <a:pt x="36" y="0"/>
                  </a:cubicBezTo>
                  <a:cubicBezTo>
                    <a:pt x="35" y="2"/>
                    <a:pt x="35" y="3"/>
                    <a:pt x="36" y="5"/>
                  </a:cubicBezTo>
                  <a:cubicBezTo>
                    <a:pt x="36" y="8"/>
                    <a:pt x="33" y="10"/>
                    <a:pt x="33" y="13"/>
                  </a:cubicBezTo>
                  <a:cubicBezTo>
                    <a:pt x="33" y="16"/>
                    <a:pt x="32" y="14"/>
                    <a:pt x="33" y="17"/>
                  </a:cubicBezTo>
                  <a:cubicBezTo>
                    <a:pt x="33" y="22"/>
                    <a:pt x="33" y="24"/>
                    <a:pt x="33" y="25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2" y="27"/>
                    <a:pt x="33" y="27"/>
                    <a:pt x="32" y="28"/>
                  </a:cubicBezTo>
                  <a:cubicBezTo>
                    <a:pt x="32" y="30"/>
                    <a:pt x="30" y="32"/>
                    <a:pt x="32" y="32"/>
                  </a:cubicBezTo>
                  <a:cubicBezTo>
                    <a:pt x="32" y="32"/>
                    <a:pt x="33" y="35"/>
                    <a:pt x="32" y="35"/>
                  </a:cubicBezTo>
                  <a:cubicBezTo>
                    <a:pt x="32" y="35"/>
                    <a:pt x="30" y="36"/>
                    <a:pt x="30" y="38"/>
                  </a:cubicBezTo>
                  <a:cubicBezTo>
                    <a:pt x="32" y="39"/>
                    <a:pt x="32" y="41"/>
                    <a:pt x="32" y="41"/>
                  </a:cubicBezTo>
                  <a:cubicBezTo>
                    <a:pt x="30" y="44"/>
                    <a:pt x="27" y="43"/>
                    <a:pt x="27" y="41"/>
                  </a:cubicBezTo>
                  <a:cubicBezTo>
                    <a:pt x="27" y="39"/>
                    <a:pt x="26" y="41"/>
                    <a:pt x="26" y="39"/>
                  </a:cubicBezTo>
                  <a:cubicBezTo>
                    <a:pt x="23" y="38"/>
                    <a:pt x="24" y="43"/>
                    <a:pt x="20" y="39"/>
                  </a:cubicBezTo>
                  <a:cubicBezTo>
                    <a:pt x="17" y="36"/>
                    <a:pt x="17" y="38"/>
                    <a:pt x="17" y="39"/>
                  </a:cubicBezTo>
                  <a:cubicBezTo>
                    <a:pt x="12" y="35"/>
                    <a:pt x="11" y="35"/>
                    <a:pt x="9" y="32"/>
                  </a:cubicBezTo>
                  <a:cubicBezTo>
                    <a:pt x="8" y="27"/>
                    <a:pt x="5" y="27"/>
                    <a:pt x="3" y="24"/>
                  </a:cubicBezTo>
                  <a:cubicBezTo>
                    <a:pt x="1" y="22"/>
                    <a:pt x="0" y="22"/>
                    <a:pt x="1" y="21"/>
                  </a:cubicBezTo>
                  <a:cubicBezTo>
                    <a:pt x="1" y="19"/>
                    <a:pt x="3" y="22"/>
                    <a:pt x="3" y="21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53" name="Freeform 27">
              <a:extLst>
                <a:ext uri="{FF2B5EF4-FFF2-40B4-BE49-F238E27FC236}">
                  <a16:creationId xmlns:a16="http://schemas.microsoft.com/office/drawing/2014/main" id="{14BE3A6B-A129-7DCD-23A0-AD8A717D5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25174" y="4255216"/>
              <a:ext cx="154817" cy="97136"/>
            </a:xfrm>
            <a:custGeom>
              <a:avLst/>
              <a:gdLst/>
              <a:ahLst/>
              <a:cxnLst>
                <a:cxn ang="0">
                  <a:pos x="9" y="3"/>
                </a:cxn>
                <a:cxn ang="0">
                  <a:pos x="3" y="9"/>
                </a:cxn>
                <a:cxn ang="0">
                  <a:pos x="0" y="17"/>
                </a:cxn>
                <a:cxn ang="0">
                  <a:pos x="9" y="21"/>
                </a:cxn>
                <a:cxn ang="0">
                  <a:pos x="14" y="23"/>
                </a:cxn>
                <a:cxn ang="0">
                  <a:pos x="14" y="26"/>
                </a:cxn>
                <a:cxn ang="0">
                  <a:pos x="15" y="28"/>
                </a:cxn>
                <a:cxn ang="0">
                  <a:pos x="17" y="31"/>
                </a:cxn>
                <a:cxn ang="0">
                  <a:pos x="20" y="29"/>
                </a:cxn>
                <a:cxn ang="0">
                  <a:pos x="21" y="26"/>
                </a:cxn>
                <a:cxn ang="0">
                  <a:pos x="24" y="23"/>
                </a:cxn>
                <a:cxn ang="0">
                  <a:pos x="28" y="20"/>
                </a:cxn>
                <a:cxn ang="0">
                  <a:pos x="31" y="21"/>
                </a:cxn>
                <a:cxn ang="0">
                  <a:pos x="35" y="14"/>
                </a:cxn>
                <a:cxn ang="0">
                  <a:pos x="38" y="14"/>
                </a:cxn>
                <a:cxn ang="0">
                  <a:pos x="46" y="12"/>
                </a:cxn>
                <a:cxn ang="0">
                  <a:pos x="50" y="10"/>
                </a:cxn>
                <a:cxn ang="0">
                  <a:pos x="47" y="7"/>
                </a:cxn>
                <a:cxn ang="0">
                  <a:pos x="43" y="3"/>
                </a:cxn>
                <a:cxn ang="0">
                  <a:pos x="35" y="1"/>
                </a:cxn>
                <a:cxn ang="0">
                  <a:pos x="31" y="1"/>
                </a:cxn>
                <a:cxn ang="0">
                  <a:pos x="28" y="1"/>
                </a:cxn>
                <a:cxn ang="0">
                  <a:pos x="24" y="3"/>
                </a:cxn>
                <a:cxn ang="0">
                  <a:pos x="17" y="3"/>
                </a:cxn>
                <a:cxn ang="0">
                  <a:pos x="14" y="1"/>
                </a:cxn>
                <a:cxn ang="0">
                  <a:pos x="9" y="3"/>
                </a:cxn>
              </a:cxnLst>
              <a:rect l="0" t="0" r="r" b="b"/>
              <a:pathLst>
                <a:path w="50" h="31">
                  <a:moveTo>
                    <a:pt x="9" y="3"/>
                  </a:moveTo>
                  <a:cubicBezTo>
                    <a:pt x="8" y="4"/>
                    <a:pt x="5" y="9"/>
                    <a:pt x="3" y="9"/>
                  </a:cubicBezTo>
                  <a:cubicBezTo>
                    <a:pt x="1" y="10"/>
                    <a:pt x="5" y="15"/>
                    <a:pt x="0" y="17"/>
                  </a:cubicBezTo>
                  <a:cubicBezTo>
                    <a:pt x="6" y="18"/>
                    <a:pt x="8" y="23"/>
                    <a:pt x="9" y="21"/>
                  </a:cubicBezTo>
                  <a:cubicBezTo>
                    <a:pt x="9" y="21"/>
                    <a:pt x="14" y="20"/>
                    <a:pt x="14" y="23"/>
                  </a:cubicBezTo>
                  <a:cubicBezTo>
                    <a:pt x="14" y="24"/>
                    <a:pt x="14" y="26"/>
                    <a:pt x="14" y="26"/>
                  </a:cubicBezTo>
                  <a:cubicBezTo>
                    <a:pt x="15" y="28"/>
                    <a:pt x="14" y="24"/>
                    <a:pt x="15" y="28"/>
                  </a:cubicBezTo>
                  <a:cubicBezTo>
                    <a:pt x="17" y="31"/>
                    <a:pt x="18" y="29"/>
                    <a:pt x="17" y="31"/>
                  </a:cubicBezTo>
                  <a:cubicBezTo>
                    <a:pt x="20" y="31"/>
                    <a:pt x="20" y="31"/>
                    <a:pt x="20" y="29"/>
                  </a:cubicBezTo>
                  <a:cubicBezTo>
                    <a:pt x="21" y="26"/>
                    <a:pt x="23" y="29"/>
                    <a:pt x="21" y="26"/>
                  </a:cubicBezTo>
                  <a:cubicBezTo>
                    <a:pt x="21" y="21"/>
                    <a:pt x="21" y="23"/>
                    <a:pt x="24" y="23"/>
                  </a:cubicBezTo>
                  <a:cubicBezTo>
                    <a:pt x="26" y="23"/>
                    <a:pt x="26" y="18"/>
                    <a:pt x="28" y="20"/>
                  </a:cubicBezTo>
                  <a:cubicBezTo>
                    <a:pt x="29" y="23"/>
                    <a:pt x="31" y="23"/>
                    <a:pt x="31" y="21"/>
                  </a:cubicBezTo>
                  <a:cubicBezTo>
                    <a:pt x="29" y="20"/>
                    <a:pt x="35" y="15"/>
                    <a:pt x="35" y="14"/>
                  </a:cubicBezTo>
                  <a:cubicBezTo>
                    <a:pt x="37" y="12"/>
                    <a:pt x="37" y="12"/>
                    <a:pt x="38" y="14"/>
                  </a:cubicBezTo>
                  <a:cubicBezTo>
                    <a:pt x="38" y="14"/>
                    <a:pt x="44" y="14"/>
                    <a:pt x="46" y="12"/>
                  </a:cubicBezTo>
                  <a:cubicBezTo>
                    <a:pt x="47" y="10"/>
                    <a:pt x="49" y="10"/>
                    <a:pt x="50" y="10"/>
                  </a:cubicBezTo>
                  <a:cubicBezTo>
                    <a:pt x="50" y="10"/>
                    <a:pt x="49" y="9"/>
                    <a:pt x="47" y="7"/>
                  </a:cubicBezTo>
                  <a:cubicBezTo>
                    <a:pt x="44" y="6"/>
                    <a:pt x="44" y="6"/>
                    <a:pt x="43" y="3"/>
                  </a:cubicBezTo>
                  <a:cubicBezTo>
                    <a:pt x="41" y="1"/>
                    <a:pt x="37" y="0"/>
                    <a:pt x="35" y="1"/>
                  </a:cubicBezTo>
                  <a:cubicBezTo>
                    <a:pt x="34" y="1"/>
                    <a:pt x="32" y="1"/>
                    <a:pt x="31" y="1"/>
                  </a:cubicBezTo>
                  <a:cubicBezTo>
                    <a:pt x="29" y="0"/>
                    <a:pt x="28" y="0"/>
                    <a:pt x="28" y="1"/>
                  </a:cubicBezTo>
                  <a:cubicBezTo>
                    <a:pt x="29" y="1"/>
                    <a:pt x="26" y="3"/>
                    <a:pt x="24" y="3"/>
                  </a:cubicBezTo>
                  <a:cubicBezTo>
                    <a:pt x="21" y="3"/>
                    <a:pt x="18" y="1"/>
                    <a:pt x="17" y="3"/>
                  </a:cubicBezTo>
                  <a:cubicBezTo>
                    <a:pt x="15" y="3"/>
                    <a:pt x="15" y="1"/>
                    <a:pt x="14" y="1"/>
                  </a:cubicBezTo>
                  <a:cubicBezTo>
                    <a:pt x="12" y="1"/>
                    <a:pt x="12" y="4"/>
                    <a:pt x="9" y="3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54" name="Freeform 28">
              <a:extLst>
                <a:ext uri="{FF2B5EF4-FFF2-40B4-BE49-F238E27FC236}">
                  <a16:creationId xmlns:a16="http://schemas.microsoft.com/office/drawing/2014/main" id="{1454AF70-7C02-D05E-2E8F-47EFB5A0F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10809" y="4308641"/>
              <a:ext cx="60650" cy="37235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14" y="4"/>
                </a:cxn>
                <a:cxn ang="0">
                  <a:pos x="19" y="6"/>
                </a:cxn>
                <a:cxn ang="0">
                  <a:pos x="19" y="9"/>
                </a:cxn>
                <a:cxn ang="0">
                  <a:pos x="19" y="11"/>
                </a:cxn>
                <a:cxn ang="0">
                  <a:pos x="14" y="12"/>
                </a:cxn>
                <a:cxn ang="0">
                  <a:pos x="13" y="12"/>
                </a:cxn>
                <a:cxn ang="0">
                  <a:pos x="4" y="9"/>
                </a:cxn>
                <a:cxn ang="0">
                  <a:pos x="0" y="6"/>
                </a:cxn>
                <a:cxn ang="0">
                  <a:pos x="5" y="0"/>
                </a:cxn>
                <a:cxn ang="0">
                  <a:pos x="5" y="0"/>
                </a:cxn>
              </a:cxnLst>
              <a:rect l="0" t="0" r="r" b="b"/>
              <a:pathLst>
                <a:path w="20" h="12">
                  <a:moveTo>
                    <a:pt x="5" y="0"/>
                  </a:moveTo>
                  <a:cubicBezTo>
                    <a:pt x="11" y="1"/>
                    <a:pt x="13" y="6"/>
                    <a:pt x="14" y="4"/>
                  </a:cubicBezTo>
                  <a:cubicBezTo>
                    <a:pt x="14" y="4"/>
                    <a:pt x="19" y="3"/>
                    <a:pt x="19" y="6"/>
                  </a:cubicBezTo>
                  <a:cubicBezTo>
                    <a:pt x="19" y="7"/>
                    <a:pt x="19" y="9"/>
                    <a:pt x="19" y="9"/>
                  </a:cubicBezTo>
                  <a:cubicBezTo>
                    <a:pt x="17" y="9"/>
                    <a:pt x="17" y="11"/>
                    <a:pt x="19" y="11"/>
                  </a:cubicBezTo>
                  <a:cubicBezTo>
                    <a:pt x="20" y="11"/>
                    <a:pt x="16" y="12"/>
                    <a:pt x="14" y="12"/>
                  </a:cubicBezTo>
                  <a:cubicBezTo>
                    <a:pt x="11" y="9"/>
                    <a:pt x="14" y="12"/>
                    <a:pt x="13" y="12"/>
                  </a:cubicBezTo>
                  <a:cubicBezTo>
                    <a:pt x="11" y="12"/>
                    <a:pt x="7" y="9"/>
                    <a:pt x="4" y="9"/>
                  </a:cubicBezTo>
                  <a:cubicBezTo>
                    <a:pt x="0" y="9"/>
                    <a:pt x="2" y="7"/>
                    <a:pt x="0" y="6"/>
                  </a:cubicBezTo>
                  <a:cubicBezTo>
                    <a:pt x="0" y="3"/>
                    <a:pt x="5" y="3"/>
                    <a:pt x="5" y="0"/>
                  </a:cubicBezTo>
                  <a:cubicBezTo>
                    <a:pt x="4" y="0"/>
                    <a:pt x="5" y="0"/>
                    <a:pt x="5" y="0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55" name="Freeform 29">
              <a:extLst>
                <a:ext uri="{FF2B5EF4-FFF2-40B4-BE49-F238E27FC236}">
                  <a16:creationId xmlns:a16="http://schemas.microsoft.com/office/drawing/2014/main" id="{34E003EB-CEB6-BDE7-F159-FA71936560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59736" y="4201791"/>
              <a:ext cx="94167" cy="126277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24" y="18"/>
                </a:cxn>
                <a:cxn ang="0">
                  <a:pos x="26" y="18"/>
                </a:cxn>
                <a:cxn ang="0">
                  <a:pos x="29" y="20"/>
                </a:cxn>
                <a:cxn ang="0">
                  <a:pos x="29" y="18"/>
                </a:cxn>
                <a:cxn ang="0">
                  <a:pos x="30" y="20"/>
                </a:cxn>
                <a:cxn ang="0">
                  <a:pos x="24" y="26"/>
                </a:cxn>
                <a:cxn ang="0">
                  <a:pos x="21" y="34"/>
                </a:cxn>
                <a:cxn ang="0">
                  <a:pos x="21" y="34"/>
                </a:cxn>
                <a:cxn ang="0">
                  <a:pos x="17" y="40"/>
                </a:cxn>
                <a:cxn ang="0">
                  <a:pos x="9" y="39"/>
                </a:cxn>
                <a:cxn ang="0">
                  <a:pos x="0" y="32"/>
                </a:cxn>
                <a:cxn ang="0">
                  <a:pos x="0" y="29"/>
                </a:cxn>
                <a:cxn ang="0">
                  <a:pos x="2" y="26"/>
                </a:cxn>
                <a:cxn ang="0">
                  <a:pos x="0" y="25"/>
                </a:cxn>
                <a:cxn ang="0">
                  <a:pos x="3" y="17"/>
                </a:cxn>
                <a:cxn ang="0">
                  <a:pos x="14" y="17"/>
                </a:cxn>
                <a:cxn ang="0">
                  <a:pos x="12" y="12"/>
                </a:cxn>
                <a:cxn ang="0">
                  <a:pos x="8" y="7"/>
                </a:cxn>
                <a:cxn ang="0">
                  <a:pos x="6" y="6"/>
                </a:cxn>
                <a:cxn ang="0">
                  <a:pos x="9" y="6"/>
                </a:cxn>
                <a:cxn ang="0">
                  <a:pos x="9" y="0"/>
                </a:cxn>
                <a:cxn ang="0">
                  <a:pos x="24" y="0"/>
                </a:cxn>
              </a:cxnLst>
              <a:rect l="0" t="0" r="r" b="b"/>
              <a:pathLst>
                <a:path w="30" h="40">
                  <a:moveTo>
                    <a:pt x="24" y="0"/>
                  </a:moveTo>
                  <a:cubicBezTo>
                    <a:pt x="24" y="18"/>
                    <a:pt x="24" y="18"/>
                    <a:pt x="24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7" y="20"/>
                    <a:pt x="27" y="21"/>
                    <a:pt x="29" y="20"/>
                  </a:cubicBezTo>
                  <a:cubicBezTo>
                    <a:pt x="29" y="20"/>
                    <a:pt x="29" y="20"/>
                    <a:pt x="29" y="18"/>
                  </a:cubicBezTo>
                  <a:cubicBezTo>
                    <a:pt x="27" y="18"/>
                    <a:pt x="29" y="17"/>
                    <a:pt x="30" y="20"/>
                  </a:cubicBezTo>
                  <a:cubicBezTo>
                    <a:pt x="29" y="21"/>
                    <a:pt x="26" y="26"/>
                    <a:pt x="24" y="26"/>
                  </a:cubicBezTo>
                  <a:cubicBezTo>
                    <a:pt x="23" y="28"/>
                    <a:pt x="26" y="32"/>
                    <a:pt x="21" y="34"/>
                  </a:cubicBezTo>
                  <a:cubicBezTo>
                    <a:pt x="21" y="34"/>
                    <a:pt x="20" y="34"/>
                    <a:pt x="21" y="34"/>
                  </a:cubicBezTo>
                  <a:cubicBezTo>
                    <a:pt x="21" y="37"/>
                    <a:pt x="17" y="37"/>
                    <a:pt x="17" y="40"/>
                  </a:cubicBezTo>
                  <a:cubicBezTo>
                    <a:pt x="14" y="39"/>
                    <a:pt x="12" y="37"/>
                    <a:pt x="9" y="39"/>
                  </a:cubicBezTo>
                  <a:cubicBezTo>
                    <a:pt x="6" y="39"/>
                    <a:pt x="6" y="39"/>
                    <a:pt x="0" y="32"/>
                  </a:cubicBezTo>
                  <a:cubicBezTo>
                    <a:pt x="0" y="32"/>
                    <a:pt x="0" y="31"/>
                    <a:pt x="0" y="29"/>
                  </a:cubicBezTo>
                  <a:cubicBezTo>
                    <a:pt x="0" y="28"/>
                    <a:pt x="2" y="26"/>
                    <a:pt x="2" y="26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5" y="11"/>
                    <a:pt x="12" y="15"/>
                    <a:pt x="12" y="12"/>
                  </a:cubicBezTo>
                  <a:cubicBezTo>
                    <a:pt x="11" y="9"/>
                    <a:pt x="9" y="9"/>
                    <a:pt x="8" y="7"/>
                  </a:cubicBezTo>
                  <a:cubicBezTo>
                    <a:pt x="8" y="6"/>
                    <a:pt x="6" y="6"/>
                    <a:pt x="6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24" y="0"/>
                    <a:pt x="24" y="0"/>
                    <a:pt x="24" y="0"/>
                  </a:cubicBezTo>
                  <a:close/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56" name="Freeform 30">
              <a:extLst>
                <a:ext uri="{FF2B5EF4-FFF2-40B4-BE49-F238E27FC236}">
                  <a16:creationId xmlns:a16="http://schemas.microsoft.com/office/drawing/2014/main" id="{0F35335F-1DBD-6BB7-B3C6-1602E4CAFD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29469" y="4706900"/>
              <a:ext cx="145240" cy="200748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27" y="6"/>
                </a:cxn>
                <a:cxn ang="0">
                  <a:pos x="30" y="10"/>
                </a:cxn>
                <a:cxn ang="0">
                  <a:pos x="38" y="11"/>
                </a:cxn>
                <a:cxn ang="0">
                  <a:pos x="41" y="11"/>
                </a:cxn>
                <a:cxn ang="0">
                  <a:pos x="47" y="14"/>
                </a:cxn>
                <a:cxn ang="0">
                  <a:pos x="44" y="31"/>
                </a:cxn>
                <a:cxn ang="0">
                  <a:pos x="23" y="48"/>
                </a:cxn>
                <a:cxn ang="0">
                  <a:pos x="18" y="61"/>
                </a:cxn>
                <a:cxn ang="0">
                  <a:pos x="12" y="58"/>
                </a:cxn>
                <a:cxn ang="0">
                  <a:pos x="6" y="56"/>
                </a:cxn>
                <a:cxn ang="0">
                  <a:pos x="7" y="47"/>
                </a:cxn>
                <a:cxn ang="0">
                  <a:pos x="11" y="39"/>
                </a:cxn>
                <a:cxn ang="0">
                  <a:pos x="4" y="39"/>
                </a:cxn>
                <a:cxn ang="0">
                  <a:pos x="3" y="27"/>
                </a:cxn>
                <a:cxn ang="0">
                  <a:pos x="6" y="19"/>
                </a:cxn>
                <a:cxn ang="0">
                  <a:pos x="9" y="8"/>
                </a:cxn>
                <a:cxn ang="0">
                  <a:pos x="18" y="0"/>
                </a:cxn>
              </a:cxnLst>
              <a:rect l="0" t="0" r="r" b="b"/>
              <a:pathLst>
                <a:path w="47" h="64">
                  <a:moveTo>
                    <a:pt x="18" y="0"/>
                  </a:moveTo>
                  <a:cubicBezTo>
                    <a:pt x="24" y="5"/>
                    <a:pt x="26" y="6"/>
                    <a:pt x="27" y="6"/>
                  </a:cubicBezTo>
                  <a:cubicBezTo>
                    <a:pt x="27" y="6"/>
                    <a:pt x="30" y="8"/>
                    <a:pt x="30" y="10"/>
                  </a:cubicBezTo>
                  <a:cubicBezTo>
                    <a:pt x="30" y="11"/>
                    <a:pt x="38" y="13"/>
                    <a:pt x="38" y="11"/>
                  </a:cubicBezTo>
                  <a:cubicBezTo>
                    <a:pt x="38" y="10"/>
                    <a:pt x="39" y="8"/>
                    <a:pt x="41" y="11"/>
                  </a:cubicBezTo>
                  <a:cubicBezTo>
                    <a:pt x="42" y="14"/>
                    <a:pt x="44" y="14"/>
                    <a:pt x="47" y="14"/>
                  </a:cubicBezTo>
                  <a:cubicBezTo>
                    <a:pt x="47" y="22"/>
                    <a:pt x="47" y="23"/>
                    <a:pt x="44" y="31"/>
                  </a:cubicBezTo>
                  <a:cubicBezTo>
                    <a:pt x="39" y="37"/>
                    <a:pt x="27" y="41"/>
                    <a:pt x="23" y="48"/>
                  </a:cubicBezTo>
                  <a:cubicBezTo>
                    <a:pt x="18" y="58"/>
                    <a:pt x="21" y="58"/>
                    <a:pt x="18" y="61"/>
                  </a:cubicBezTo>
                  <a:cubicBezTo>
                    <a:pt x="15" y="64"/>
                    <a:pt x="15" y="58"/>
                    <a:pt x="12" y="58"/>
                  </a:cubicBezTo>
                  <a:cubicBezTo>
                    <a:pt x="7" y="56"/>
                    <a:pt x="6" y="59"/>
                    <a:pt x="6" y="56"/>
                  </a:cubicBezTo>
                  <a:cubicBezTo>
                    <a:pt x="4" y="53"/>
                    <a:pt x="11" y="53"/>
                    <a:pt x="7" y="47"/>
                  </a:cubicBezTo>
                  <a:cubicBezTo>
                    <a:pt x="11" y="47"/>
                    <a:pt x="11" y="42"/>
                    <a:pt x="11" y="39"/>
                  </a:cubicBezTo>
                  <a:cubicBezTo>
                    <a:pt x="11" y="36"/>
                    <a:pt x="9" y="44"/>
                    <a:pt x="4" y="39"/>
                  </a:cubicBezTo>
                  <a:cubicBezTo>
                    <a:pt x="0" y="34"/>
                    <a:pt x="4" y="37"/>
                    <a:pt x="3" y="27"/>
                  </a:cubicBezTo>
                  <a:cubicBezTo>
                    <a:pt x="1" y="20"/>
                    <a:pt x="6" y="25"/>
                    <a:pt x="6" y="19"/>
                  </a:cubicBezTo>
                  <a:cubicBezTo>
                    <a:pt x="6" y="14"/>
                    <a:pt x="11" y="16"/>
                    <a:pt x="9" y="8"/>
                  </a:cubicBezTo>
                  <a:cubicBezTo>
                    <a:pt x="9" y="2"/>
                    <a:pt x="20" y="5"/>
                    <a:pt x="18" y="0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57" name="Freeform 31">
              <a:extLst>
                <a:ext uri="{FF2B5EF4-FFF2-40B4-BE49-F238E27FC236}">
                  <a16:creationId xmlns:a16="http://schemas.microsoft.com/office/drawing/2014/main" id="{7A22D1A6-AE03-B1C0-E7B3-56E3612660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75697" y="4742517"/>
              <a:ext cx="19152" cy="43712"/>
            </a:xfrm>
            <a:custGeom>
              <a:avLst/>
              <a:gdLst/>
              <a:ahLst/>
              <a:cxnLst>
                <a:cxn ang="0">
                  <a:pos x="1" y="13"/>
                </a:cxn>
                <a:cxn ang="0">
                  <a:pos x="3" y="10"/>
                </a:cxn>
                <a:cxn ang="0">
                  <a:pos x="1" y="6"/>
                </a:cxn>
                <a:cxn ang="0">
                  <a:pos x="0" y="3"/>
                </a:cxn>
                <a:cxn ang="0">
                  <a:pos x="1" y="2"/>
                </a:cxn>
                <a:cxn ang="0">
                  <a:pos x="3" y="3"/>
                </a:cxn>
                <a:cxn ang="0">
                  <a:pos x="4" y="6"/>
                </a:cxn>
                <a:cxn ang="0">
                  <a:pos x="6" y="10"/>
                </a:cxn>
                <a:cxn ang="0">
                  <a:pos x="4" y="13"/>
                </a:cxn>
                <a:cxn ang="0">
                  <a:pos x="1" y="13"/>
                </a:cxn>
              </a:cxnLst>
              <a:rect l="0" t="0" r="r" b="b"/>
              <a:pathLst>
                <a:path w="6" h="14">
                  <a:moveTo>
                    <a:pt x="1" y="13"/>
                  </a:moveTo>
                  <a:cubicBezTo>
                    <a:pt x="0" y="11"/>
                    <a:pt x="3" y="10"/>
                    <a:pt x="3" y="10"/>
                  </a:cubicBezTo>
                  <a:cubicBezTo>
                    <a:pt x="4" y="8"/>
                    <a:pt x="3" y="8"/>
                    <a:pt x="1" y="6"/>
                  </a:cubicBezTo>
                  <a:cubicBezTo>
                    <a:pt x="1" y="5"/>
                    <a:pt x="1" y="3"/>
                    <a:pt x="0" y="3"/>
                  </a:cubicBezTo>
                  <a:cubicBezTo>
                    <a:pt x="0" y="3"/>
                    <a:pt x="0" y="3"/>
                    <a:pt x="1" y="2"/>
                  </a:cubicBezTo>
                  <a:cubicBezTo>
                    <a:pt x="1" y="0"/>
                    <a:pt x="1" y="2"/>
                    <a:pt x="3" y="3"/>
                  </a:cubicBezTo>
                  <a:cubicBezTo>
                    <a:pt x="3" y="5"/>
                    <a:pt x="3" y="6"/>
                    <a:pt x="4" y="6"/>
                  </a:cubicBezTo>
                  <a:cubicBezTo>
                    <a:pt x="6" y="8"/>
                    <a:pt x="4" y="8"/>
                    <a:pt x="6" y="10"/>
                  </a:cubicBezTo>
                  <a:cubicBezTo>
                    <a:pt x="6" y="11"/>
                    <a:pt x="6" y="13"/>
                    <a:pt x="4" y="13"/>
                  </a:cubicBezTo>
                  <a:cubicBezTo>
                    <a:pt x="1" y="14"/>
                    <a:pt x="1" y="13"/>
                    <a:pt x="1" y="13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58" name="Freeform 32">
              <a:extLst>
                <a:ext uri="{FF2B5EF4-FFF2-40B4-BE49-F238E27FC236}">
                  <a16:creationId xmlns:a16="http://schemas.microsoft.com/office/drawing/2014/main" id="{A59E3753-7312-099E-0981-6CFC287529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98042" y="4760326"/>
              <a:ext cx="12769" cy="16190"/>
            </a:xfrm>
            <a:custGeom>
              <a:avLst/>
              <a:gdLst/>
              <a:ahLst/>
              <a:cxnLst>
                <a:cxn ang="0">
                  <a:pos x="2" y="5"/>
                </a:cxn>
                <a:cxn ang="0">
                  <a:pos x="3" y="2"/>
                </a:cxn>
                <a:cxn ang="0">
                  <a:pos x="2" y="5"/>
                </a:cxn>
              </a:cxnLst>
              <a:rect l="0" t="0" r="r" b="b"/>
              <a:pathLst>
                <a:path w="4" h="5">
                  <a:moveTo>
                    <a:pt x="2" y="5"/>
                  </a:moveTo>
                  <a:cubicBezTo>
                    <a:pt x="0" y="3"/>
                    <a:pt x="2" y="0"/>
                    <a:pt x="3" y="2"/>
                  </a:cubicBezTo>
                  <a:cubicBezTo>
                    <a:pt x="4" y="2"/>
                    <a:pt x="3" y="5"/>
                    <a:pt x="2" y="5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59" name="Freeform 33">
              <a:extLst>
                <a:ext uri="{FF2B5EF4-FFF2-40B4-BE49-F238E27FC236}">
                  <a16:creationId xmlns:a16="http://schemas.microsoft.com/office/drawing/2014/main" id="{A2A17F25-CE2F-A92C-467C-C816894976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18790" y="4770039"/>
              <a:ext cx="9577" cy="9713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3" y="0"/>
                </a:cxn>
                <a:cxn ang="0">
                  <a:pos x="0" y="3"/>
                </a:cxn>
              </a:cxnLst>
              <a:rect l="0" t="0" r="r" b="b"/>
              <a:pathLst>
                <a:path w="3" h="3">
                  <a:moveTo>
                    <a:pt x="0" y="3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2"/>
                    <a:pt x="3" y="3"/>
                    <a:pt x="0" y="3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60" name="Freeform 34">
              <a:extLst>
                <a:ext uri="{FF2B5EF4-FFF2-40B4-BE49-F238E27FC236}">
                  <a16:creationId xmlns:a16="http://schemas.microsoft.com/office/drawing/2014/main" id="{CF93F450-8CE3-50EA-6640-13C217FCAB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94849" y="4750612"/>
              <a:ext cx="9577" cy="16190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" y="3"/>
                </a:cxn>
                <a:cxn ang="0">
                  <a:pos x="0" y="2"/>
                </a:cxn>
              </a:cxnLst>
              <a:rect l="0" t="0" r="r" b="b"/>
              <a:pathLst>
                <a:path w="3" h="5">
                  <a:moveTo>
                    <a:pt x="0" y="2"/>
                  </a:moveTo>
                  <a:cubicBezTo>
                    <a:pt x="0" y="0"/>
                    <a:pt x="3" y="2"/>
                    <a:pt x="1" y="3"/>
                  </a:cubicBezTo>
                  <a:cubicBezTo>
                    <a:pt x="1" y="5"/>
                    <a:pt x="0" y="3"/>
                    <a:pt x="0" y="2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61" name="Freeform 35">
              <a:extLst>
                <a:ext uri="{FF2B5EF4-FFF2-40B4-BE49-F238E27FC236}">
                  <a16:creationId xmlns:a16="http://schemas.microsoft.com/office/drawing/2014/main" id="{D4D87859-0AD7-1EE0-5CED-C58C95A2B4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69313" y="4757087"/>
              <a:ext cx="15960" cy="9713"/>
            </a:xfrm>
            <a:custGeom>
              <a:avLst/>
              <a:gdLst/>
              <a:ahLst/>
              <a:cxnLst>
                <a:cxn ang="0">
                  <a:pos x="2" y="1"/>
                </a:cxn>
                <a:cxn ang="0">
                  <a:pos x="2" y="3"/>
                </a:cxn>
                <a:cxn ang="0">
                  <a:pos x="2" y="1"/>
                </a:cxn>
              </a:cxnLst>
              <a:rect l="0" t="0" r="r" b="b"/>
              <a:pathLst>
                <a:path w="5" h="3">
                  <a:moveTo>
                    <a:pt x="2" y="1"/>
                  </a:moveTo>
                  <a:cubicBezTo>
                    <a:pt x="3" y="0"/>
                    <a:pt x="5" y="3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62" name="Freeform 36">
              <a:extLst>
                <a:ext uri="{FF2B5EF4-FFF2-40B4-BE49-F238E27FC236}">
                  <a16:creationId xmlns:a16="http://schemas.microsoft.com/office/drawing/2014/main" id="{ABBD47CF-C3DF-5821-D9A5-7AC078B040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98042" y="4786229"/>
              <a:ext cx="9577" cy="9713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</a:cxnLst>
              <a:rect l="0" t="0" r="r" b="b"/>
              <a:pathLst>
                <a:path w="3" h="3">
                  <a:moveTo>
                    <a:pt x="2" y="2"/>
                  </a:moveTo>
                  <a:cubicBezTo>
                    <a:pt x="0" y="0"/>
                    <a:pt x="3" y="2"/>
                    <a:pt x="2" y="2"/>
                  </a:cubicBezTo>
                  <a:cubicBezTo>
                    <a:pt x="2" y="3"/>
                    <a:pt x="2" y="3"/>
                    <a:pt x="2" y="2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63" name="Freeform 37">
              <a:extLst>
                <a:ext uri="{FF2B5EF4-FFF2-40B4-BE49-F238E27FC236}">
                  <a16:creationId xmlns:a16="http://schemas.microsoft.com/office/drawing/2014/main" id="{487622F1-7620-DCFE-854B-F6AC05945B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98042" y="4739279"/>
              <a:ext cx="6384" cy="3238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2" y="1"/>
                </a:cxn>
                <a:cxn ang="0">
                  <a:pos x="0" y="1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0" y="1"/>
                    <a:pt x="2" y="0"/>
                    <a:pt x="2" y="1"/>
                  </a:cubicBezTo>
                  <a:cubicBezTo>
                    <a:pt x="2" y="1"/>
                    <a:pt x="2" y="1"/>
                    <a:pt x="0" y="1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64" name="Freeform 38">
              <a:extLst>
                <a:ext uri="{FF2B5EF4-FFF2-40B4-BE49-F238E27FC236}">
                  <a16:creationId xmlns:a16="http://schemas.microsoft.com/office/drawing/2014/main" id="{F0804D04-8A43-2E5E-E623-B0B8A92B3C6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01291" y="4175888"/>
              <a:ext cx="55861" cy="29140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9" y="1"/>
                </a:cxn>
                <a:cxn ang="0">
                  <a:pos x="16" y="6"/>
                </a:cxn>
                <a:cxn ang="0">
                  <a:pos x="12" y="6"/>
                </a:cxn>
                <a:cxn ang="0">
                  <a:pos x="7" y="8"/>
                </a:cxn>
                <a:cxn ang="0">
                  <a:pos x="1" y="4"/>
                </a:cxn>
                <a:cxn ang="0">
                  <a:pos x="0" y="1"/>
                </a:cxn>
              </a:cxnLst>
              <a:rect l="0" t="0" r="r" b="b"/>
              <a:pathLst>
                <a:path w="18" h="9">
                  <a:moveTo>
                    <a:pt x="0" y="1"/>
                  </a:moveTo>
                  <a:cubicBezTo>
                    <a:pt x="1" y="0"/>
                    <a:pt x="4" y="0"/>
                    <a:pt x="9" y="1"/>
                  </a:cubicBezTo>
                  <a:cubicBezTo>
                    <a:pt x="15" y="3"/>
                    <a:pt x="16" y="3"/>
                    <a:pt x="16" y="6"/>
                  </a:cubicBezTo>
                  <a:cubicBezTo>
                    <a:pt x="18" y="8"/>
                    <a:pt x="15" y="6"/>
                    <a:pt x="12" y="6"/>
                  </a:cubicBezTo>
                  <a:cubicBezTo>
                    <a:pt x="9" y="6"/>
                    <a:pt x="12" y="9"/>
                    <a:pt x="7" y="8"/>
                  </a:cubicBezTo>
                  <a:cubicBezTo>
                    <a:pt x="1" y="6"/>
                    <a:pt x="4" y="4"/>
                    <a:pt x="1" y="4"/>
                  </a:cubicBezTo>
                  <a:cubicBezTo>
                    <a:pt x="0" y="3"/>
                    <a:pt x="0" y="3"/>
                    <a:pt x="0" y="1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65" name="Freeform 39">
              <a:extLst>
                <a:ext uri="{FF2B5EF4-FFF2-40B4-BE49-F238E27FC236}">
                  <a16:creationId xmlns:a16="http://schemas.microsoft.com/office/drawing/2014/main" id="{82A585EA-0408-810E-59B8-22F4D904B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93862" y="4132177"/>
              <a:ext cx="75015" cy="69614"/>
            </a:xfrm>
            <a:custGeom>
              <a:avLst/>
              <a:gdLst/>
              <a:ahLst/>
              <a:cxnLst>
                <a:cxn ang="0">
                  <a:pos x="23" y="18"/>
                </a:cxn>
                <a:cxn ang="0">
                  <a:pos x="12" y="18"/>
                </a:cxn>
                <a:cxn ang="0">
                  <a:pos x="4" y="18"/>
                </a:cxn>
                <a:cxn ang="0">
                  <a:pos x="0" y="14"/>
                </a:cxn>
                <a:cxn ang="0">
                  <a:pos x="15" y="14"/>
                </a:cxn>
                <a:cxn ang="0">
                  <a:pos x="17" y="11"/>
                </a:cxn>
                <a:cxn ang="0">
                  <a:pos x="14" y="4"/>
                </a:cxn>
                <a:cxn ang="0">
                  <a:pos x="9" y="1"/>
                </a:cxn>
                <a:cxn ang="0">
                  <a:pos x="17" y="1"/>
                </a:cxn>
                <a:cxn ang="0">
                  <a:pos x="23" y="1"/>
                </a:cxn>
                <a:cxn ang="0">
                  <a:pos x="21" y="12"/>
                </a:cxn>
                <a:cxn ang="0">
                  <a:pos x="23" y="18"/>
                </a:cxn>
              </a:cxnLst>
              <a:rect l="0" t="0" r="r" b="b"/>
              <a:pathLst>
                <a:path w="24" h="22">
                  <a:moveTo>
                    <a:pt x="23" y="18"/>
                  </a:moveTo>
                  <a:cubicBezTo>
                    <a:pt x="17" y="15"/>
                    <a:pt x="15" y="20"/>
                    <a:pt x="12" y="18"/>
                  </a:cubicBezTo>
                  <a:cubicBezTo>
                    <a:pt x="4" y="15"/>
                    <a:pt x="8" y="22"/>
                    <a:pt x="4" y="18"/>
                  </a:cubicBezTo>
                  <a:cubicBezTo>
                    <a:pt x="1" y="15"/>
                    <a:pt x="0" y="17"/>
                    <a:pt x="0" y="14"/>
                  </a:cubicBezTo>
                  <a:cubicBezTo>
                    <a:pt x="1" y="11"/>
                    <a:pt x="11" y="17"/>
                    <a:pt x="15" y="14"/>
                  </a:cubicBezTo>
                  <a:cubicBezTo>
                    <a:pt x="17" y="14"/>
                    <a:pt x="20" y="15"/>
                    <a:pt x="17" y="11"/>
                  </a:cubicBezTo>
                  <a:cubicBezTo>
                    <a:pt x="11" y="6"/>
                    <a:pt x="17" y="6"/>
                    <a:pt x="14" y="4"/>
                  </a:cubicBezTo>
                  <a:cubicBezTo>
                    <a:pt x="9" y="3"/>
                    <a:pt x="8" y="4"/>
                    <a:pt x="9" y="1"/>
                  </a:cubicBezTo>
                  <a:cubicBezTo>
                    <a:pt x="9" y="0"/>
                    <a:pt x="15" y="0"/>
                    <a:pt x="17" y="1"/>
                  </a:cubicBezTo>
                  <a:cubicBezTo>
                    <a:pt x="20" y="3"/>
                    <a:pt x="20" y="1"/>
                    <a:pt x="23" y="1"/>
                  </a:cubicBezTo>
                  <a:cubicBezTo>
                    <a:pt x="21" y="6"/>
                    <a:pt x="24" y="9"/>
                    <a:pt x="21" y="12"/>
                  </a:cubicBezTo>
                  <a:cubicBezTo>
                    <a:pt x="20" y="15"/>
                    <a:pt x="23" y="14"/>
                    <a:pt x="23" y="18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66" name="Freeform 40">
              <a:extLst>
                <a:ext uri="{FF2B5EF4-FFF2-40B4-BE49-F238E27FC236}">
                  <a16:creationId xmlns:a16="http://schemas.microsoft.com/office/drawing/2014/main" id="{8E421D22-547C-2821-DB9B-B821548C81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56107" y="4125701"/>
              <a:ext cx="92570" cy="85804"/>
            </a:xfrm>
            <a:custGeom>
              <a:avLst/>
              <a:gdLst/>
              <a:ahLst/>
              <a:cxnLst>
                <a:cxn ang="0">
                  <a:pos x="3" y="3"/>
                </a:cxn>
                <a:cxn ang="0">
                  <a:pos x="1" y="14"/>
                </a:cxn>
                <a:cxn ang="0">
                  <a:pos x="3" y="20"/>
                </a:cxn>
                <a:cxn ang="0">
                  <a:pos x="7" y="20"/>
                </a:cxn>
                <a:cxn ang="0">
                  <a:pos x="12" y="17"/>
                </a:cxn>
                <a:cxn ang="0">
                  <a:pos x="15" y="17"/>
                </a:cxn>
                <a:cxn ang="0">
                  <a:pos x="26" y="19"/>
                </a:cxn>
                <a:cxn ang="0">
                  <a:pos x="29" y="14"/>
                </a:cxn>
                <a:cxn ang="0">
                  <a:pos x="24" y="11"/>
                </a:cxn>
                <a:cxn ang="0">
                  <a:pos x="21" y="9"/>
                </a:cxn>
                <a:cxn ang="0">
                  <a:pos x="20" y="8"/>
                </a:cxn>
                <a:cxn ang="0">
                  <a:pos x="15" y="5"/>
                </a:cxn>
                <a:cxn ang="0">
                  <a:pos x="7" y="2"/>
                </a:cxn>
                <a:cxn ang="0">
                  <a:pos x="3" y="3"/>
                </a:cxn>
              </a:cxnLst>
              <a:rect l="0" t="0" r="r" b="b"/>
              <a:pathLst>
                <a:path w="30" h="27">
                  <a:moveTo>
                    <a:pt x="3" y="3"/>
                  </a:moveTo>
                  <a:cubicBezTo>
                    <a:pt x="1" y="8"/>
                    <a:pt x="4" y="11"/>
                    <a:pt x="1" y="14"/>
                  </a:cubicBezTo>
                  <a:cubicBezTo>
                    <a:pt x="0" y="17"/>
                    <a:pt x="3" y="16"/>
                    <a:pt x="3" y="20"/>
                  </a:cubicBezTo>
                  <a:cubicBezTo>
                    <a:pt x="4" y="27"/>
                    <a:pt x="6" y="23"/>
                    <a:pt x="7" y="20"/>
                  </a:cubicBezTo>
                  <a:cubicBezTo>
                    <a:pt x="9" y="17"/>
                    <a:pt x="10" y="16"/>
                    <a:pt x="12" y="17"/>
                  </a:cubicBezTo>
                  <a:cubicBezTo>
                    <a:pt x="12" y="20"/>
                    <a:pt x="14" y="20"/>
                    <a:pt x="15" y="17"/>
                  </a:cubicBezTo>
                  <a:cubicBezTo>
                    <a:pt x="18" y="16"/>
                    <a:pt x="24" y="17"/>
                    <a:pt x="26" y="19"/>
                  </a:cubicBezTo>
                  <a:cubicBezTo>
                    <a:pt x="27" y="20"/>
                    <a:pt x="30" y="16"/>
                    <a:pt x="29" y="14"/>
                  </a:cubicBezTo>
                  <a:cubicBezTo>
                    <a:pt x="26" y="13"/>
                    <a:pt x="26" y="11"/>
                    <a:pt x="24" y="11"/>
                  </a:cubicBezTo>
                  <a:cubicBezTo>
                    <a:pt x="21" y="11"/>
                    <a:pt x="20" y="9"/>
                    <a:pt x="21" y="9"/>
                  </a:cubicBezTo>
                  <a:cubicBezTo>
                    <a:pt x="24" y="9"/>
                    <a:pt x="23" y="6"/>
                    <a:pt x="20" y="8"/>
                  </a:cubicBezTo>
                  <a:cubicBezTo>
                    <a:pt x="15" y="9"/>
                    <a:pt x="18" y="3"/>
                    <a:pt x="15" y="5"/>
                  </a:cubicBezTo>
                  <a:cubicBezTo>
                    <a:pt x="14" y="6"/>
                    <a:pt x="9" y="0"/>
                    <a:pt x="7" y="2"/>
                  </a:cubicBezTo>
                  <a:cubicBezTo>
                    <a:pt x="6" y="3"/>
                    <a:pt x="4" y="0"/>
                    <a:pt x="3" y="3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67" name="Freeform 153">
              <a:extLst>
                <a:ext uri="{FF2B5EF4-FFF2-40B4-BE49-F238E27FC236}">
                  <a16:creationId xmlns:a16="http://schemas.microsoft.com/office/drawing/2014/main" id="{525D13C7-C08A-B961-161D-AB5E3FCCB2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02071" y="4221219"/>
              <a:ext cx="11172" cy="14570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1" y="0"/>
                </a:cxn>
                <a:cxn ang="0">
                  <a:pos x="0" y="1"/>
                </a:cxn>
              </a:cxnLst>
              <a:rect l="0" t="0" r="r" b="b"/>
              <a:pathLst>
                <a:path w="4" h="5">
                  <a:moveTo>
                    <a:pt x="0" y="1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4" y="0"/>
                    <a:pt x="1" y="5"/>
                    <a:pt x="0" y="1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68" name="Freeform 154">
              <a:extLst>
                <a:ext uri="{FF2B5EF4-FFF2-40B4-BE49-F238E27FC236}">
                  <a16:creationId xmlns:a16="http://schemas.microsoft.com/office/drawing/2014/main" id="{63263C08-CBF4-871D-A758-DBDB3BBDA9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22820" y="4235789"/>
              <a:ext cx="12769" cy="9713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2" y="0"/>
                </a:cxn>
                <a:cxn ang="0">
                  <a:pos x="2" y="1"/>
                </a:cxn>
                <a:cxn ang="0">
                  <a:pos x="0" y="1"/>
                </a:cxn>
              </a:cxnLst>
              <a:rect l="0" t="0" r="r" b="b"/>
              <a:pathLst>
                <a:path w="4" h="3">
                  <a:moveTo>
                    <a:pt x="0" y="1"/>
                  </a:moveTo>
                  <a:cubicBezTo>
                    <a:pt x="0" y="0"/>
                    <a:pt x="0" y="0"/>
                    <a:pt x="2" y="0"/>
                  </a:cubicBezTo>
                  <a:cubicBezTo>
                    <a:pt x="4" y="1"/>
                    <a:pt x="4" y="1"/>
                    <a:pt x="2" y="1"/>
                  </a:cubicBezTo>
                  <a:cubicBezTo>
                    <a:pt x="0" y="1"/>
                    <a:pt x="0" y="3"/>
                    <a:pt x="0" y="1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69" name="Freeform 155">
              <a:extLst>
                <a:ext uri="{FF2B5EF4-FFF2-40B4-BE49-F238E27FC236}">
                  <a16:creationId xmlns:a16="http://schemas.microsoft.com/office/drawing/2014/main" id="{E794400D-8B1A-18DE-2DB8-CD6007F87B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19627" y="4285976"/>
              <a:ext cx="9577" cy="12952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2"/>
                </a:cxn>
                <a:cxn ang="0">
                  <a:pos x="2" y="0"/>
                </a:cxn>
              </a:cxnLst>
              <a:rect l="0" t="0" r="r" b="b"/>
              <a:pathLst>
                <a:path w="3" h="4">
                  <a:moveTo>
                    <a:pt x="2" y="0"/>
                  </a:moveTo>
                  <a:cubicBezTo>
                    <a:pt x="2" y="0"/>
                    <a:pt x="3" y="2"/>
                    <a:pt x="2" y="2"/>
                  </a:cubicBezTo>
                  <a:cubicBezTo>
                    <a:pt x="2" y="4"/>
                    <a:pt x="0" y="2"/>
                    <a:pt x="2" y="0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70" name="Freeform 157">
              <a:extLst>
                <a:ext uri="{FF2B5EF4-FFF2-40B4-BE49-F238E27FC236}">
                  <a16:creationId xmlns:a16="http://schemas.microsoft.com/office/drawing/2014/main" id="{4E41D5B8-6CC2-F827-B2CA-459782AAEF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56165" y="6437547"/>
              <a:ext cx="52670" cy="46949"/>
            </a:xfrm>
            <a:custGeom>
              <a:avLst/>
              <a:gdLst/>
              <a:ahLst/>
              <a:cxnLst>
                <a:cxn ang="0">
                  <a:pos x="2" y="14"/>
                </a:cxn>
                <a:cxn ang="0">
                  <a:pos x="0" y="10"/>
                </a:cxn>
                <a:cxn ang="0">
                  <a:pos x="2" y="7"/>
                </a:cxn>
                <a:cxn ang="0">
                  <a:pos x="5" y="6"/>
                </a:cxn>
                <a:cxn ang="0">
                  <a:pos x="5" y="4"/>
                </a:cxn>
                <a:cxn ang="0">
                  <a:pos x="5" y="3"/>
                </a:cxn>
                <a:cxn ang="0">
                  <a:pos x="6" y="1"/>
                </a:cxn>
                <a:cxn ang="0">
                  <a:pos x="10" y="1"/>
                </a:cxn>
                <a:cxn ang="0">
                  <a:pos x="11" y="3"/>
                </a:cxn>
                <a:cxn ang="0">
                  <a:pos x="11" y="4"/>
                </a:cxn>
                <a:cxn ang="0">
                  <a:pos x="13" y="3"/>
                </a:cxn>
                <a:cxn ang="0">
                  <a:pos x="16" y="3"/>
                </a:cxn>
                <a:cxn ang="0">
                  <a:pos x="16" y="4"/>
                </a:cxn>
                <a:cxn ang="0">
                  <a:pos x="14" y="6"/>
                </a:cxn>
                <a:cxn ang="0">
                  <a:pos x="11" y="7"/>
                </a:cxn>
                <a:cxn ang="0">
                  <a:pos x="8" y="9"/>
                </a:cxn>
                <a:cxn ang="0">
                  <a:pos x="8" y="10"/>
                </a:cxn>
                <a:cxn ang="0">
                  <a:pos x="6" y="10"/>
                </a:cxn>
                <a:cxn ang="0">
                  <a:pos x="5" y="12"/>
                </a:cxn>
                <a:cxn ang="0">
                  <a:pos x="2" y="14"/>
                </a:cxn>
              </a:cxnLst>
              <a:rect l="0" t="0" r="r" b="b"/>
              <a:pathLst>
                <a:path w="17" h="15">
                  <a:moveTo>
                    <a:pt x="2" y="14"/>
                  </a:moveTo>
                  <a:cubicBezTo>
                    <a:pt x="0" y="12"/>
                    <a:pt x="0" y="10"/>
                    <a:pt x="0" y="10"/>
                  </a:cubicBezTo>
                  <a:cubicBezTo>
                    <a:pt x="2" y="10"/>
                    <a:pt x="0" y="9"/>
                    <a:pt x="2" y="7"/>
                  </a:cubicBezTo>
                  <a:cubicBezTo>
                    <a:pt x="5" y="6"/>
                    <a:pt x="3" y="6"/>
                    <a:pt x="5" y="6"/>
                  </a:cubicBezTo>
                  <a:cubicBezTo>
                    <a:pt x="6" y="6"/>
                    <a:pt x="6" y="6"/>
                    <a:pt x="5" y="4"/>
                  </a:cubicBezTo>
                  <a:cubicBezTo>
                    <a:pt x="5" y="4"/>
                    <a:pt x="6" y="4"/>
                    <a:pt x="5" y="3"/>
                  </a:cubicBezTo>
                  <a:cubicBezTo>
                    <a:pt x="5" y="3"/>
                    <a:pt x="8" y="3"/>
                    <a:pt x="6" y="1"/>
                  </a:cubicBezTo>
                  <a:cubicBezTo>
                    <a:pt x="6" y="0"/>
                    <a:pt x="8" y="1"/>
                    <a:pt x="10" y="1"/>
                  </a:cubicBezTo>
                  <a:cubicBezTo>
                    <a:pt x="11" y="1"/>
                    <a:pt x="11" y="3"/>
                    <a:pt x="11" y="3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3" y="6"/>
                    <a:pt x="11" y="3"/>
                    <a:pt x="13" y="3"/>
                  </a:cubicBezTo>
                  <a:cubicBezTo>
                    <a:pt x="14" y="1"/>
                    <a:pt x="14" y="1"/>
                    <a:pt x="16" y="3"/>
                  </a:cubicBezTo>
                  <a:cubicBezTo>
                    <a:pt x="16" y="4"/>
                    <a:pt x="14" y="4"/>
                    <a:pt x="16" y="4"/>
                  </a:cubicBezTo>
                  <a:cubicBezTo>
                    <a:pt x="17" y="6"/>
                    <a:pt x="16" y="6"/>
                    <a:pt x="14" y="6"/>
                  </a:cubicBezTo>
                  <a:cubicBezTo>
                    <a:pt x="11" y="7"/>
                    <a:pt x="14" y="9"/>
                    <a:pt x="11" y="7"/>
                  </a:cubicBezTo>
                  <a:cubicBezTo>
                    <a:pt x="6" y="7"/>
                    <a:pt x="5" y="7"/>
                    <a:pt x="8" y="9"/>
                  </a:cubicBezTo>
                  <a:cubicBezTo>
                    <a:pt x="10" y="9"/>
                    <a:pt x="10" y="12"/>
                    <a:pt x="8" y="10"/>
                  </a:cubicBezTo>
                  <a:cubicBezTo>
                    <a:pt x="6" y="9"/>
                    <a:pt x="8" y="12"/>
                    <a:pt x="6" y="10"/>
                  </a:cubicBezTo>
                  <a:cubicBezTo>
                    <a:pt x="3" y="9"/>
                    <a:pt x="6" y="14"/>
                    <a:pt x="5" y="12"/>
                  </a:cubicBezTo>
                  <a:cubicBezTo>
                    <a:pt x="0" y="10"/>
                    <a:pt x="5" y="15"/>
                    <a:pt x="2" y="14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71" name="Freeform 158">
              <a:extLst>
                <a:ext uri="{FF2B5EF4-FFF2-40B4-BE49-F238E27FC236}">
                  <a16:creationId xmlns:a16="http://schemas.microsoft.com/office/drawing/2014/main" id="{E4F7EE18-389C-AA03-56AB-CB8DFD6A0B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25840" y="6440785"/>
              <a:ext cx="46286" cy="33997"/>
            </a:xfrm>
            <a:custGeom>
              <a:avLst/>
              <a:gdLst/>
              <a:ahLst/>
              <a:cxnLst>
                <a:cxn ang="0">
                  <a:pos x="3" y="11"/>
                </a:cxn>
                <a:cxn ang="0">
                  <a:pos x="1" y="10"/>
                </a:cxn>
                <a:cxn ang="0">
                  <a:pos x="1" y="8"/>
                </a:cxn>
                <a:cxn ang="0">
                  <a:pos x="4" y="8"/>
                </a:cxn>
                <a:cxn ang="0">
                  <a:pos x="6" y="6"/>
                </a:cxn>
                <a:cxn ang="0">
                  <a:pos x="4" y="5"/>
                </a:cxn>
                <a:cxn ang="0">
                  <a:pos x="4" y="5"/>
                </a:cxn>
                <a:cxn ang="0">
                  <a:pos x="4" y="3"/>
                </a:cxn>
                <a:cxn ang="0">
                  <a:pos x="4" y="2"/>
                </a:cxn>
                <a:cxn ang="0">
                  <a:pos x="9" y="2"/>
                </a:cxn>
                <a:cxn ang="0">
                  <a:pos x="10" y="2"/>
                </a:cxn>
                <a:cxn ang="0">
                  <a:pos x="13" y="0"/>
                </a:cxn>
                <a:cxn ang="0">
                  <a:pos x="13" y="3"/>
                </a:cxn>
                <a:cxn ang="0">
                  <a:pos x="10" y="6"/>
                </a:cxn>
                <a:cxn ang="0">
                  <a:pos x="7" y="8"/>
                </a:cxn>
                <a:cxn ang="0">
                  <a:pos x="6" y="10"/>
                </a:cxn>
                <a:cxn ang="0">
                  <a:pos x="4" y="11"/>
                </a:cxn>
                <a:cxn ang="0">
                  <a:pos x="3" y="11"/>
                </a:cxn>
              </a:cxnLst>
              <a:rect l="0" t="0" r="r" b="b"/>
              <a:pathLst>
                <a:path w="15" h="11">
                  <a:moveTo>
                    <a:pt x="3" y="11"/>
                  </a:moveTo>
                  <a:cubicBezTo>
                    <a:pt x="1" y="10"/>
                    <a:pt x="3" y="11"/>
                    <a:pt x="1" y="10"/>
                  </a:cubicBezTo>
                  <a:cubicBezTo>
                    <a:pt x="0" y="8"/>
                    <a:pt x="1" y="10"/>
                    <a:pt x="1" y="8"/>
                  </a:cubicBezTo>
                  <a:cubicBezTo>
                    <a:pt x="1" y="8"/>
                    <a:pt x="3" y="10"/>
                    <a:pt x="4" y="8"/>
                  </a:cubicBezTo>
                  <a:cubicBezTo>
                    <a:pt x="4" y="6"/>
                    <a:pt x="6" y="6"/>
                    <a:pt x="6" y="6"/>
                  </a:cubicBezTo>
                  <a:cubicBezTo>
                    <a:pt x="7" y="5"/>
                    <a:pt x="6" y="5"/>
                    <a:pt x="4" y="5"/>
                  </a:cubicBezTo>
                  <a:cubicBezTo>
                    <a:pt x="3" y="6"/>
                    <a:pt x="3" y="5"/>
                    <a:pt x="4" y="5"/>
                  </a:cubicBezTo>
                  <a:cubicBezTo>
                    <a:pt x="6" y="5"/>
                    <a:pt x="6" y="3"/>
                    <a:pt x="4" y="3"/>
                  </a:cubicBezTo>
                  <a:cubicBezTo>
                    <a:pt x="3" y="2"/>
                    <a:pt x="1" y="0"/>
                    <a:pt x="4" y="2"/>
                  </a:cubicBezTo>
                  <a:cubicBezTo>
                    <a:pt x="9" y="3"/>
                    <a:pt x="7" y="2"/>
                    <a:pt x="9" y="2"/>
                  </a:cubicBezTo>
                  <a:cubicBezTo>
                    <a:pt x="9" y="0"/>
                    <a:pt x="9" y="2"/>
                    <a:pt x="10" y="2"/>
                  </a:cubicBezTo>
                  <a:cubicBezTo>
                    <a:pt x="12" y="2"/>
                    <a:pt x="12" y="0"/>
                    <a:pt x="13" y="0"/>
                  </a:cubicBezTo>
                  <a:cubicBezTo>
                    <a:pt x="15" y="2"/>
                    <a:pt x="15" y="2"/>
                    <a:pt x="13" y="3"/>
                  </a:cubicBezTo>
                  <a:cubicBezTo>
                    <a:pt x="12" y="5"/>
                    <a:pt x="12" y="3"/>
                    <a:pt x="10" y="6"/>
                  </a:cubicBezTo>
                  <a:cubicBezTo>
                    <a:pt x="9" y="8"/>
                    <a:pt x="9" y="8"/>
                    <a:pt x="7" y="8"/>
                  </a:cubicBezTo>
                  <a:cubicBezTo>
                    <a:pt x="6" y="8"/>
                    <a:pt x="6" y="10"/>
                    <a:pt x="6" y="10"/>
                  </a:cubicBezTo>
                  <a:cubicBezTo>
                    <a:pt x="4" y="11"/>
                    <a:pt x="4" y="10"/>
                    <a:pt x="4" y="11"/>
                  </a:cubicBezTo>
                  <a:cubicBezTo>
                    <a:pt x="4" y="11"/>
                    <a:pt x="4" y="11"/>
                    <a:pt x="3" y="11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72" name="Freeform 232">
              <a:extLst>
                <a:ext uri="{FF2B5EF4-FFF2-40B4-BE49-F238E27FC236}">
                  <a16:creationId xmlns:a16="http://schemas.microsoft.com/office/drawing/2014/main" id="{43AAD84B-90D3-8D35-0DDD-93F0C6A2D9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560345" y="5288101"/>
              <a:ext cx="218658" cy="1330769"/>
            </a:xfrm>
            <a:custGeom>
              <a:avLst/>
              <a:gdLst/>
              <a:ahLst/>
              <a:cxnLst>
                <a:cxn ang="0">
                  <a:pos x="69" y="59"/>
                </a:cxn>
                <a:cxn ang="0">
                  <a:pos x="46" y="158"/>
                </a:cxn>
                <a:cxn ang="0">
                  <a:pos x="33" y="251"/>
                </a:cxn>
                <a:cxn ang="0">
                  <a:pos x="33" y="313"/>
                </a:cxn>
                <a:cxn ang="0">
                  <a:pos x="46" y="375"/>
                </a:cxn>
                <a:cxn ang="0">
                  <a:pos x="31" y="391"/>
                </a:cxn>
                <a:cxn ang="0">
                  <a:pos x="25" y="389"/>
                </a:cxn>
                <a:cxn ang="0">
                  <a:pos x="20" y="386"/>
                </a:cxn>
                <a:cxn ang="0">
                  <a:pos x="28" y="374"/>
                </a:cxn>
                <a:cxn ang="0">
                  <a:pos x="17" y="369"/>
                </a:cxn>
                <a:cxn ang="0">
                  <a:pos x="14" y="357"/>
                </a:cxn>
                <a:cxn ang="0">
                  <a:pos x="14" y="341"/>
                </a:cxn>
                <a:cxn ang="0">
                  <a:pos x="19" y="327"/>
                </a:cxn>
                <a:cxn ang="0">
                  <a:pos x="3" y="313"/>
                </a:cxn>
                <a:cxn ang="0">
                  <a:pos x="22" y="293"/>
                </a:cxn>
                <a:cxn ang="0">
                  <a:pos x="22" y="256"/>
                </a:cxn>
                <a:cxn ang="0">
                  <a:pos x="34" y="165"/>
                </a:cxn>
                <a:cxn ang="0">
                  <a:pos x="43" y="58"/>
                </a:cxn>
                <a:cxn ang="0">
                  <a:pos x="59" y="383"/>
                </a:cxn>
                <a:cxn ang="0">
                  <a:pos x="46" y="399"/>
                </a:cxn>
                <a:cxn ang="0">
                  <a:pos x="34" y="406"/>
                </a:cxn>
                <a:cxn ang="0">
                  <a:pos x="48" y="411"/>
                </a:cxn>
                <a:cxn ang="0">
                  <a:pos x="22" y="287"/>
                </a:cxn>
                <a:cxn ang="0">
                  <a:pos x="45" y="403"/>
                </a:cxn>
                <a:cxn ang="0">
                  <a:pos x="13" y="271"/>
                </a:cxn>
                <a:cxn ang="0">
                  <a:pos x="14" y="259"/>
                </a:cxn>
                <a:cxn ang="0">
                  <a:pos x="16" y="296"/>
                </a:cxn>
                <a:cxn ang="0">
                  <a:pos x="14" y="290"/>
                </a:cxn>
                <a:cxn ang="0">
                  <a:pos x="17" y="299"/>
                </a:cxn>
                <a:cxn ang="0">
                  <a:pos x="14" y="301"/>
                </a:cxn>
                <a:cxn ang="0">
                  <a:pos x="6" y="305"/>
                </a:cxn>
                <a:cxn ang="0">
                  <a:pos x="16" y="284"/>
                </a:cxn>
                <a:cxn ang="0">
                  <a:pos x="10" y="302"/>
                </a:cxn>
                <a:cxn ang="0">
                  <a:pos x="53" y="417"/>
                </a:cxn>
                <a:cxn ang="0">
                  <a:pos x="59" y="416"/>
                </a:cxn>
                <a:cxn ang="0">
                  <a:pos x="48" y="413"/>
                </a:cxn>
                <a:cxn ang="0">
                  <a:pos x="39" y="411"/>
                </a:cxn>
                <a:cxn ang="0">
                  <a:pos x="66" y="421"/>
                </a:cxn>
                <a:cxn ang="0">
                  <a:pos x="33" y="403"/>
                </a:cxn>
                <a:cxn ang="0">
                  <a:pos x="25" y="396"/>
                </a:cxn>
                <a:cxn ang="0">
                  <a:pos x="23" y="402"/>
                </a:cxn>
                <a:cxn ang="0">
                  <a:pos x="17" y="383"/>
                </a:cxn>
                <a:cxn ang="0">
                  <a:pos x="19" y="389"/>
                </a:cxn>
                <a:cxn ang="0">
                  <a:pos x="16" y="374"/>
                </a:cxn>
                <a:cxn ang="0">
                  <a:pos x="11" y="372"/>
                </a:cxn>
                <a:cxn ang="0">
                  <a:pos x="13" y="378"/>
                </a:cxn>
                <a:cxn ang="0">
                  <a:pos x="10" y="380"/>
                </a:cxn>
                <a:cxn ang="0">
                  <a:pos x="16" y="368"/>
                </a:cxn>
                <a:cxn ang="0">
                  <a:pos x="13" y="366"/>
                </a:cxn>
                <a:cxn ang="0">
                  <a:pos x="6" y="343"/>
                </a:cxn>
                <a:cxn ang="0">
                  <a:pos x="5" y="360"/>
                </a:cxn>
                <a:cxn ang="0">
                  <a:pos x="13" y="361"/>
                </a:cxn>
                <a:cxn ang="0">
                  <a:pos x="8" y="355"/>
                </a:cxn>
                <a:cxn ang="0">
                  <a:pos x="10" y="363"/>
                </a:cxn>
                <a:cxn ang="0">
                  <a:pos x="8" y="341"/>
                </a:cxn>
                <a:cxn ang="0">
                  <a:pos x="10" y="336"/>
                </a:cxn>
                <a:cxn ang="0">
                  <a:pos x="6" y="333"/>
                </a:cxn>
                <a:cxn ang="0">
                  <a:pos x="8" y="329"/>
                </a:cxn>
                <a:cxn ang="0">
                  <a:pos x="3" y="336"/>
                </a:cxn>
                <a:cxn ang="0">
                  <a:pos x="6" y="326"/>
                </a:cxn>
                <a:cxn ang="0">
                  <a:pos x="5" y="338"/>
                </a:cxn>
              </a:cxnLst>
              <a:rect l="0" t="0" r="r" b="b"/>
              <a:pathLst>
                <a:path w="71" h="424">
                  <a:moveTo>
                    <a:pt x="51" y="0"/>
                  </a:moveTo>
                  <a:cubicBezTo>
                    <a:pt x="53" y="7"/>
                    <a:pt x="54" y="7"/>
                    <a:pt x="54" y="8"/>
                  </a:cubicBezTo>
                  <a:cubicBezTo>
                    <a:pt x="54" y="10"/>
                    <a:pt x="56" y="17"/>
                    <a:pt x="57" y="17"/>
                  </a:cubicBezTo>
                  <a:cubicBezTo>
                    <a:pt x="59" y="21"/>
                    <a:pt x="60" y="21"/>
                    <a:pt x="59" y="22"/>
                  </a:cubicBezTo>
                  <a:cubicBezTo>
                    <a:pt x="56" y="25"/>
                    <a:pt x="60" y="25"/>
                    <a:pt x="59" y="27"/>
                  </a:cubicBezTo>
                  <a:cubicBezTo>
                    <a:pt x="57" y="30"/>
                    <a:pt x="57" y="31"/>
                    <a:pt x="59" y="31"/>
                  </a:cubicBezTo>
                  <a:cubicBezTo>
                    <a:pt x="60" y="33"/>
                    <a:pt x="57" y="36"/>
                    <a:pt x="60" y="36"/>
                  </a:cubicBezTo>
                  <a:cubicBezTo>
                    <a:pt x="62" y="36"/>
                    <a:pt x="63" y="46"/>
                    <a:pt x="63" y="52"/>
                  </a:cubicBezTo>
                  <a:cubicBezTo>
                    <a:pt x="65" y="56"/>
                    <a:pt x="66" y="56"/>
                    <a:pt x="69" y="55"/>
                  </a:cubicBezTo>
                  <a:cubicBezTo>
                    <a:pt x="71" y="56"/>
                    <a:pt x="71" y="58"/>
                    <a:pt x="69" y="59"/>
                  </a:cubicBezTo>
                  <a:cubicBezTo>
                    <a:pt x="69" y="63"/>
                    <a:pt x="69" y="67"/>
                    <a:pt x="66" y="69"/>
                  </a:cubicBezTo>
                  <a:cubicBezTo>
                    <a:pt x="65" y="69"/>
                    <a:pt x="57" y="72"/>
                    <a:pt x="59" y="77"/>
                  </a:cubicBezTo>
                  <a:cubicBezTo>
                    <a:pt x="60" y="78"/>
                    <a:pt x="57" y="91"/>
                    <a:pt x="60" y="95"/>
                  </a:cubicBezTo>
                  <a:cubicBezTo>
                    <a:pt x="63" y="103"/>
                    <a:pt x="57" y="95"/>
                    <a:pt x="56" y="103"/>
                  </a:cubicBezTo>
                  <a:cubicBezTo>
                    <a:pt x="53" y="111"/>
                    <a:pt x="54" y="109"/>
                    <a:pt x="51" y="111"/>
                  </a:cubicBezTo>
                  <a:cubicBezTo>
                    <a:pt x="49" y="112"/>
                    <a:pt x="49" y="119"/>
                    <a:pt x="48" y="120"/>
                  </a:cubicBezTo>
                  <a:cubicBezTo>
                    <a:pt x="45" y="123"/>
                    <a:pt x="49" y="129"/>
                    <a:pt x="48" y="133"/>
                  </a:cubicBezTo>
                  <a:cubicBezTo>
                    <a:pt x="46" y="134"/>
                    <a:pt x="46" y="131"/>
                    <a:pt x="45" y="136"/>
                  </a:cubicBezTo>
                  <a:cubicBezTo>
                    <a:pt x="43" y="140"/>
                    <a:pt x="42" y="145"/>
                    <a:pt x="43" y="147"/>
                  </a:cubicBezTo>
                  <a:cubicBezTo>
                    <a:pt x="45" y="150"/>
                    <a:pt x="45" y="153"/>
                    <a:pt x="46" y="158"/>
                  </a:cubicBezTo>
                  <a:cubicBezTo>
                    <a:pt x="48" y="162"/>
                    <a:pt x="45" y="164"/>
                    <a:pt x="48" y="164"/>
                  </a:cubicBezTo>
                  <a:cubicBezTo>
                    <a:pt x="51" y="164"/>
                    <a:pt x="48" y="167"/>
                    <a:pt x="48" y="171"/>
                  </a:cubicBezTo>
                  <a:cubicBezTo>
                    <a:pt x="49" y="176"/>
                    <a:pt x="45" y="173"/>
                    <a:pt x="45" y="181"/>
                  </a:cubicBezTo>
                  <a:cubicBezTo>
                    <a:pt x="43" y="190"/>
                    <a:pt x="45" y="192"/>
                    <a:pt x="43" y="195"/>
                  </a:cubicBezTo>
                  <a:cubicBezTo>
                    <a:pt x="40" y="200"/>
                    <a:pt x="39" y="196"/>
                    <a:pt x="39" y="200"/>
                  </a:cubicBezTo>
                  <a:cubicBezTo>
                    <a:pt x="37" y="203"/>
                    <a:pt x="39" y="207"/>
                    <a:pt x="37" y="210"/>
                  </a:cubicBezTo>
                  <a:cubicBezTo>
                    <a:pt x="37" y="214"/>
                    <a:pt x="42" y="221"/>
                    <a:pt x="39" y="223"/>
                  </a:cubicBezTo>
                  <a:cubicBezTo>
                    <a:pt x="33" y="228"/>
                    <a:pt x="37" y="231"/>
                    <a:pt x="34" y="232"/>
                  </a:cubicBezTo>
                  <a:cubicBezTo>
                    <a:pt x="31" y="235"/>
                    <a:pt x="36" y="240"/>
                    <a:pt x="33" y="243"/>
                  </a:cubicBezTo>
                  <a:cubicBezTo>
                    <a:pt x="29" y="246"/>
                    <a:pt x="33" y="245"/>
                    <a:pt x="33" y="251"/>
                  </a:cubicBezTo>
                  <a:cubicBezTo>
                    <a:pt x="31" y="257"/>
                    <a:pt x="34" y="259"/>
                    <a:pt x="33" y="260"/>
                  </a:cubicBezTo>
                  <a:cubicBezTo>
                    <a:pt x="33" y="263"/>
                    <a:pt x="31" y="259"/>
                    <a:pt x="29" y="265"/>
                  </a:cubicBezTo>
                  <a:cubicBezTo>
                    <a:pt x="29" y="271"/>
                    <a:pt x="33" y="271"/>
                    <a:pt x="33" y="273"/>
                  </a:cubicBezTo>
                  <a:cubicBezTo>
                    <a:pt x="34" y="274"/>
                    <a:pt x="31" y="279"/>
                    <a:pt x="34" y="281"/>
                  </a:cubicBezTo>
                  <a:cubicBezTo>
                    <a:pt x="36" y="282"/>
                    <a:pt x="29" y="288"/>
                    <a:pt x="34" y="287"/>
                  </a:cubicBezTo>
                  <a:cubicBezTo>
                    <a:pt x="40" y="285"/>
                    <a:pt x="39" y="291"/>
                    <a:pt x="34" y="291"/>
                  </a:cubicBezTo>
                  <a:cubicBezTo>
                    <a:pt x="29" y="290"/>
                    <a:pt x="29" y="291"/>
                    <a:pt x="33" y="293"/>
                  </a:cubicBezTo>
                  <a:cubicBezTo>
                    <a:pt x="37" y="293"/>
                    <a:pt x="37" y="298"/>
                    <a:pt x="34" y="299"/>
                  </a:cubicBezTo>
                  <a:cubicBezTo>
                    <a:pt x="29" y="301"/>
                    <a:pt x="36" y="304"/>
                    <a:pt x="33" y="305"/>
                  </a:cubicBezTo>
                  <a:cubicBezTo>
                    <a:pt x="31" y="307"/>
                    <a:pt x="36" y="312"/>
                    <a:pt x="33" y="313"/>
                  </a:cubicBezTo>
                  <a:cubicBezTo>
                    <a:pt x="28" y="316"/>
                    <a:pt x="36" y="316"/>
                    <a:pt x="31" y="319"/>
                  </a:cubicBezTo>
                  <a:cubicBezTo>
                    <a:pt x="26" y="324"/>
                    <a:pt x="29" y="324"/>
                    <a:pt x="28" y="326"/>
                  </a:cubicBezTo>
                  <a:cubicBezTo>
                    <a:pt x="25" y="329"/>
                    <a:pt x="31" y="330"/>
                    <a:pt x="28" y="333"/>
                  </a:cubicBezTo>
                  <a:cubicBezTo>
                    <a:pt x="25" y="335"/>
                    <a:pt x="23" y="344"/>
                    <a:pt x="20" y="344"/>
                  </a:cubicBezTo>
                  <a:cubicBezTo>
                    <a:pt x="17" y="343"/>
                    <a:pt x="20" y="347"/>
                    <a:pt x="19" y="351"/>
                  </a:cubicBezTo>
                  <a:cubicBezTo>
                    <a:pt x="17" y="355"/>
                    <a:pt x="20" y="352"/>
                    <a:pt x="22" y="358"/>
                  </a:cubicBezTo>
                  <a:cubicBezTo>
                    <a:pt x="22" y="363"/>
                    <a:pt x="23" y="358"/>
                    <a:pt x="26" y="358"/>
                  </a:cubicBezTo>
                  <a:cubicBezTo>
                    <a:pt x="29" y="358"/>
                    <a:pt x="26" y="371"/>
                    <a:pt x="29" y="372"/>
                  </a:cubicBezTo>
                  <a:cubicBezTo>
                    <a:pt x="33" y="374"/>
                    <a:pt x="29" y="375"/>
                    <a:pt x="34" y="375"/>
                  </a:cubicBezTo>
                  <a:cubicBezTo>
                    <a:pt x="39" y="375"/>
                    <a:pt x="46" y="375"/>
                    <a:pt x="46" y="375"/>
                  </a:cubicBezTo>
                  <a:cubicBezTo>
                    <a:pt x="51" y="378"/>
                    <a:pt x="59" y="377"/>
                    <a:pt x="60" y="380"/>
                  </a:cubicBezTo>
                  <a:cubicBezTo>
                    <a:pt x="59" y="380"/>
                    <a:pt x="57" y="380"/>
                    <a:pt x="56" y="378"/>
                  </a:cubicBezTo>
                  <a:cubicBezTo>
                    <a:pt x="53" y="378"/>
                    <a:pt x="53" y="378"/>
                    <a:pt x="51" y="382"/>
                  </a:cubicBezTo>
                  <a:cubicBezTo>
                    <a:pt x="48" y="383"/>
                    <a:pt x="49" y="380"/>
                    <a:pt x="46" y="383"/>
                  </a:cubicBezTo>
                  <a:cubicBezTo>
                    <a:pt x="43" y="385"/>
                    <a:pt x="42" y="383"/>
                    <a:pt x="40" y="386"/>
                  </a:cubicBezTo>
                  <a:cubicBezTo>
                    <a:pt x="40" y="391"/>
                    <a:pt x="40" y="388"/>
                    <a:pt x="39" y="394"/>
                  </a:cubicBezTo>
                  <a:cubicBezTo>
                    <a:pt x="39" y="399"/>
                    <a:pt x="40" y="399"/>
                    <a:pt x="37" y="399"/>
                  </a:cubicBezTo>
                  <a:cubicBezTo>
                    <a:pt x="34" y="399"/>
                    <a:pt x="33" y="397"/>
                    <a:pt x="33" y="397"/>
                  </a:cubicBezTo>
                  <a:cubicBezTo>
                    <a:pt x="31" y="397"/>
                    <a:pt x="28" y="394"/>
                    <a:pt x="28" y="393"/>
                  </a:cubicBezTo>
                  <a:cubicBezTo>
                    <a:pt x="28" y="391"/>
                    <a:pt x="29" y="391"/>
                    <a:pt x="31" y="391"/>
                  </a:cubicBezTo>
                  <a:cubicBezTo>
                    <a:pt x="31" y="393"/>
                    <a:pt x="31" y="391"/>
                    <a:pt x="33" y="391"/>
                  </a:cubicBezTo>
                  <a:cubicBezTo>
                    <a:pt x="34" y="393"/>
                    <a:pt x="33" y="391"/>
                    <a:pt x="34" y="389"/>
                  </a:cubicBezTo>
                  <a:cubicBezTo>
                    <a:pt x="37" y="389"/>
                    <a:pt x="39" y="386"/>
                    <a:pt x="37" y="386"/>
                  </a:cubicBezTo>
                  <a:cubicBezTo>
                    <a:pt x="36" y="385"/>
                    <a:pt x="36" y="386"/>
                    <a:pt x="33" y="388"/>
                  </a:cubicBezTo>
                  <a:cubicBezTo>
                    <a:pt x="31" y="388"/>
                    <a:pt x="33" y="389"/>
                    <a:pt x="29" y="389"/>
                  </a:cubicBezTo>
                  <a:cubicBezTo>
                    <a:pt x="25" y="388"/>
                    <a:pt x="31" y="389"/>
                    <a:pt x="29" y="391"/>
                  </a:cubicBezTo>
                  <a:cubicBezTo>
                    <a:pt x="28" y="391"/>
                    <a:pt x="26" y="391"/>
                    <a:pt x="26" y="394"/>
                  </a:cubicBezTo>
                  <a:cubicBezTo>
                    <a:pt x="28" y="396"/>
                    <a:pt x="26" y="394"/>
                    <a:pt x="25" y="393"/>
                  </a:cubicBezTo>
                  <a:cubicBezTo>
                    <a:pt x="22" y="393"/>
                    <a:pt x="20" y="389"/>
                    <a:pt x="22" y="389"/>
                  </a:cubicBezTo>
                  <a:cubicBezTo>
                    <a:pt x="23" y="389"/>
                    <a:pt x="25" y="391"/>
                    <a:pt x="25" y="389"/>
                  </a:cubicBezTo>
                  <a:cubicBezTo>
                    <a:pt x="23" y="389"/>
                    <a:pt x="25" y="389"/>
                    <a:pt x="23" y="388"/>
                  </a:cubicBezTo>
                  <a:cubicBezTo>
                    <a:pt x="23" y="386"/>
                    <a:pt x="25" y="385"/>
                    <a:pt x="26" y="386"/>
                  </a:cubicBezTo>
                  <a:cubicBezTo>
                    <a:pt x="28" y="388"/>
                    <a:pt x="28" y="383"/>
                    <a:pt x="31" y="383"/>
                  </a:cubicBezTo>
                  <a:cubicBezTo>
                    <a:pt x="33" y="385"/>
                    <a:pt x="34" y="385"/>
                    <a:pt x="36" y="383"/>
                  </a:cubicBezTo>
                  <a:cubicBezTo>
                    <a:pt x="36" y="383"/>
                    <a:pt x="29" y="382"/>
                    <a:pt x="28" y="383"/>
                  </a:cubicBezTo>
                  <a:cubicBezTo>
                    <a:pt x="26" y="385"/>
                    <a:pt x="28" y="382"/>
                    <a:pt x="25" y="382"/>
                  </a:cubicBezTo>
                  <a:cubicBezTo>
                    <a:pt x="23" y="383"/>
                    <a:pt x="25" y="383"/>
                    <a:pt x="25" y="383"/>
                  </a:cubicBezTo>
                  <a:cubicBezTo>
                    <a:pt x="26" y="385"/>
                    <a:pt x="23" y="385"/>
                    <a:pt x="23" y="386"/>
                  </a:cubicBezTo>
                  <a:cubicBezTo>
                    <a:pt x="23" y="388"/>
                    <a:pt x="23" y="389"/>
                    <a:pt x="20" y="389"/>
                  </a:cubicBezTo>
                  <a:cubicBezTo>
                    <a:pt x="17" y="388"/>
                    <a:pt x="22" y="388"/>
                    <a:pt x="20" y="386"/>
                  </a:cubicBezTo>
                  <a:cubicBezTo>
                    <a:pt x="20" y="386"/>
                    <a:pt x="19" y="385"/>
                    <a:pt x="20" y="386"/>
                  </a:cubicBezTo>
                  <a:cubicBezTo>
                    <a:pt x="22" y="386"/>
                    <a:pt x="20" y="382"/>
                    <a:pt x="19" y="385"/>
                  </a:cubicBezTo>
                  <a:cubicBezTo>
                    <a:pt x="17" y="386"/>
                    <a:pt x="17" y="385"/>
                    <a:pt x="19" y="382"/>
                  </a:cubicBezTo>
                  <a:cubicBezTo>
                    <a:pt x="20" y="380"/>
                    <a:pt x="17" y="382"/>
                    <a:pt x="19" y="380"/>
                  </a:cubicBezTo>
                  <a:cubicBezTo>
                    <a:pt x="19" y="377"/>
                    <a:pt x="16" y="375"/>
                    <a:pt x="17" y="377"/>
                  </a:cubicBezTo>
                  <a:cubicBezTo>
                    <a:pt x="19" y="377"/>
                    <a:pt x="20" y="380"/>
                    <a:pt x="22" y="378"/>
                  </a:cubicBezTo>
                  <a:cubicBezTo>
                    <a:pt x="22" y="377"/>
                    <a:pt x="23" y="377"/>
                    <a:pt x="23" y="377"/>
                  </a:cubicBezTo>
                  <a:cubicBezTo>
                    <a:pt x="23" y="378"/>
                    <a:pt x="23" y="378"/>
                    <a:pt x="23" y="375"/>
                  </a:cubicBezTo>
                  <a:cubicBezTo>
                    <a:pt x="25" y="374"/>
                    <a:pt x="28" y="378"/>
                    <a:pt x="26" y="377"/>
                  </a:cubicBezTo>
                  <a:cubicBezTo>
                    <a:pt x="25" y="375"/>
                    <a:pt x="26" y="375"/>
                    <a:pt x="28" y="374"/>
                  </a:cubicBezTo>
                  <a:cubicBezTo>
                    <a:pt x="28" y="371"/>
                    <a:pt x="26" y="371"/>
                    <a:pt x="23" y="369"/>
                  </a:cubicBezTo>
                  <a:cubicBezTo>
                    <a:pt x="20" y="368"/>
                    <a:pt x="20" y="369"/>
                    <a:pt x="23" y="371"/>
                  </a:cubicBezTo>
                  <a:cubicBezTo>
                    <a:pt x="26" y="372"/>
                    <a:pt x="28" y="374"/>
                    <a:pt x="25" y="374"/>
                  </a:cubicBezTo>
                  <a:cubicBezTo>
                    <a:pt x="22" y="372"/>
                    <a:pt x="23" y="374"/>
                    <a:pt x="23" y="374"/>
                  </a:cubicBezTo>
                  <a:cubicBezTo>
                    <a:pt x="22" y="374"/>
                    <a:pt x="22" y="375"/>
                    <a:pt x="22" y="377"/>
                  </a:cubicBezTo>
                  <a:cubicBezTo>
                    <a:pt x="20" y="378"/>
                    <a:pt x="17" y="374"/>
                    <a:pt x="19" y="374"/>
                  </a:cubicBezTo>
                  <a:cubicBezTo>
                    <a:pt x="20" y="375"/>
                    <a:pt x="19" y="375"/>
                    <a:pt x="19" y="372"/>
                  </a:cubicBezTo>
                  <a:cubicBezTo>
                    <a:pt x="19" y="371"/>
                    <a:pt x="17" y="374"/>
                    <a:pt x="16" y="372"/>
                  </a:cubicBezTo>
                  <a:cubicBezTo>
                    <a:pt x="16" y="371"/>
                    <a:pt x="17" y="371"/>
                    <a:pt x="16" y="369"/>
                  </a:cubicBezTo>
                  <a:cubicBezTo>
                    <a:pt x="16" y="368"/>
                    <a:pt x="16" y="368"/>
                    <a:pt x="17" y="369"/>
                  </a:cubicBezTo>
                  <a:cubicBezTo>
                    <a:pt x="17" y="371"/>
                    <a:pt x="19" y="371"/>
                    <a:pt x="17" y="368"/>
                  </a:cubicBezTo>
                  <a:cubicBezTo>
                    <a:pt x="17" y="366"/>
                    <a:pt x="17" y="366"/>
                    <a:pt x="16" y="366"/>
                  </a:cubicBezTo>
                  <a:cubicBezTo>
                    <a:pt x="14" y="366"/>
                    <a:pt x="14" y="368"/>
                    <a:pt x="14" y="364"/>
                  </a:cubicBezTo>
                  <a:cubicBezTo>
                    <a:pt x="14" y="363"/>
                    <a:pt x="14" y="364"/>
                    <a:pt x="14" y="363"/>
                  </a:cubicBezTo>
                  <a:cubicBezTo>
                    <a:pt x="13" y="363"/>
                    <a:pt x="14" y="361"/>
                    <a:pt x="16" y="363"/>
                  </a:cubicBezTo>
                  <a:cubicBezTo>
                    <a:pt x="16" y="363"/>
                    <a:pt x="17" y="361"/>
                    <a:pt x="17" y="360"/>
                  </a:cubicBezTo>
                  <a:cubicBezTo>
                    <a:pt x="19" y="357"/>
                    <a:pt x="17" y="357"/>
                    <a:pt x="17" y="358"/>
                  </a:cubicBezTo>
                  <a:cubicBezTo>
                    <a:pt x="16" y="361"/>
                    <a:pt x="16" y="361"/>
                    <a:pt x="14" y="360"/>
                  </a:cubicBezTo>
                  <a:cubicBezTo>
                    <a:pt x="13" y="358"/>
                    <a:pt x="13" y="358"/>
                    <a:pt x="14" y="358"/>
                  </a:cubicBezTo>
                  <a:cubicBezTo>
                    <a:pt x="16" y="358"/>
                    <a:pt x="16" y="358"/>
                    <a:pt x="14" y="357"/>
                  </a:cubicBezTo>
                  <a:cubicBezTo>
                    <a:pt x="13" y="357"/>
                    <a:pt x="14" y="357"/>
                    <a:pt x="13" y="357"/>
                  </a:cubicBezTo>
                  <a:cubicBezTo>
                    <a:pt x="11" y="355"/>
                    <a:pt x="11" y="355"/>
                    <a:pt x="10" y="354"/>
                  </a:cubicBezTo>
                  <a:cubicBezTo>
                    <a:pt x="8" y="354"/>
                    <a:pt x="11" y="352"/>
                    <a:pt x="13" y="354"/>
                  </a:cubicBezTo>
                  <a:cubicBezTo>
                    <a:pt x="14" y="355"/>
                    <a:pt x="16" y="355"/>
                    <a:pt x="14" y="354"/>
                  </a:cubicBezTo>
                  <a:cubicBezTo>
                    <a:pt x="13" y="352"/>
                    <a:pt x="11" y="351"/>
                    <a:pt x="14" y="352"/>
                  </a:cubicBezTo>
                  <a:cubicBezTo>
                    <a:pt x="17" y="352"/>
                    <a:pt x="16" y="352"/>
                    <a:pt x="13" y="351"/>
                  </a:cubicBezTo>
                  <a:cubicBezTo>
                    <a:pt x="11" y="349"/>
                    <a:pt x="14" y="349"/>
                    <a:pt x="13" y="347"/>
                  </a:cubicBezTo>
                  <a:cubicBezTo>
                    <a:pt x="13" y="347"/>
                    <a:pt x="14" y="346"/>
                    <a:pt x="16" y="347"/>
                  </a:cubicBezTo>
                  <a:cubicBezTo>
                    <a:pt x="17" y="349"/>
                    <a:pt x="16" y="346"/>
                    <a:pt x="14" y="344"/>
                  </a:cubicBezTo>
                  <a:cubicBezTo>
                    <a:pt x="14" y="343"/>
                    <a:pt x="16" y="341"/>
                    <a:pt x="14" y="341"/>
                  </a:cubicBezTo>
                  <a:cubicBezTo>
                    <a:pt x="13" y="343"/>
                    <a:pt x="14" y="346"/>
                    <a:pt x="13" y="346"/>
                  </a:cubicBezTo>
                  <a:cubicBezTo>
                    <a:pt x="11" y="346"/>
                    <a:pt x="13" y="343"/>
                    <a:pt x="11" y="340"/>
                  </a:cubicBezTo>
                  <a:cubicBezTo>
                    <a:pt x="11" y="336"/>
                    <a:pt x="13" y="336"/>
                    <a:pt x="13" y="335"/>
                  </a:cubicBezTo>
                  <a:cubicBezTo>
                    <a:pt x="13" y="332"/>
                    <a:pt x="16" y="335"/>
                    <a:pt x="16" y="335"/>
                  </a:cubicBezTo>
                  <a:cubicBezTo>
                    <a:pt x="14" y="333"/>
                    <a:pt x="16" y="333"/>
                    <a:pt x="14" y="333"/>
                  </a:cubicBezTo>
                  <a:cubicBezTo>
                    <a:pt x="14" y="332"/>
                    <a:pt x="13" y="332"/>
                    <a:pt x="11" y="330"/>
                  </a:cubicBezTo>
                  <a:cubicBezTo>
                    <a:pt x="11" y="329"/>
                    <a:pt x="11" y="330"/>
                    <a:pt x="10" y="329"/>
                  </a:cubicBezTo>
                  <a:cubicBezTo>
                    <a:pt x="10" y="327"/>
                    <a:pt x="11" y="329"/>
                    <a:pt x="14" y="329"/>
                  </a:cubicBezTo>
                  <a:cubicBezTo>
                    <a:pt x="16" y="329"/>
                    <a:pt x="17" y="329"/>
                    <a:pt x="19" y="330"/>
                  </a:cubicBezTo>
                  <a:cubicBezTo>
                    <a:pt x="22" y="332"/>
                    <a:pt x="17" y="327"/>
                    <a:pt x="19" y="327"/>
                  </a:cubicBezTo>
                  <a:cubicBezTo>
                    <a:pt x="20" y="327"/>
                    <a:pt x="17" y="324"/>
                    <a:pt x="17" y="326"/>
                  </a:cubicBezTo>
                  <a:cubicBezTo>
                    <a:pt x="17" y="327"/>
                    <a:pt x="16" y="324"/>
                    <a:pt x="13" y="326"/>
                  </a:cubicBezTo>
                  <a:cubicBezTo>
                    <a:pt x="10" y="326"/>
                    <a:pt x="10" y="326"/>
                    <a:pt x="10" y="324"/>
                  </a:cubicBezTo>
                  <a:cubicBezTo>
                    <a:pt x="11" y="322"/>
                    <a:pt x="11" y="324"/>
                    <a:pt x="13" y="324"/>
                  </a:cubicBezTo>
                  <a:cubicBezTo>
                    <a:pt x="14" y="324"/>
                    <a:pt x="10" y="322"/>
                    <a:pt x="11" y="321"/>
                  </a:cubicBezTo>
                  <a:cubicBezTo>
                    <a:pt x="13" y="318"/>
                    <a:pt x="16" y="319"/>
                    <a:pt x="16" y="318"/>
                  </a:cubicBezTo>
                  <a:cubicBezTo>
                    <a:pt x="16" y="315"/>
                    <a:pt x="14" y="316"/>
                    <a:pt x="14" y="315"/>
                  </a:cubicBezTo>
                  <a:cubicBezTo>
                    <a:pt x="13" y="313"/>
                    <a:pt x="11" y="313"/>
                    <a:pt x="11" y="315"/>
                  </a:cubicBezTo>
                  <a:cubicBezTo>
                    <a:pt x="11" y="316"/>
                    <a:pt x="8" y="315"/>
                    <a:pt x="6" y="313"/>
                  </a:cubicBezTo>
                  <a:cubicBezTo>
                    <a:pt x="6" y="310"/>
                    <a:pt x="3" y="312"/>
                    <a:pt x="3" y="313"/>
                  </a:cubicBezTo>
                  <a:cubicBezTo>
                    <a:pt x="3" y="316"/>
                    <a:pt x="3" y="316"/>
                    <a:pt x="2" y="315"/>
                  </a:cubicBezTo>
                  <a:cubicBezTo>
                    <a:pt x="0" y="312"/>
                    <a:pt x="3" y="310"/>
                    <a:pt x="6" y="307"/>
                  </a:cubicBezTo>
                  <a:cubicBezTo>
                    <a:pt x="11" y="305"/>
                    <a:pt x="8" y="302"/>
                    <a:pt x="11" y="304"/>
                  </a:cubicBezTo>
                  <a:cubicBezTo>
                    <a:pt x="13" y="304"/>
                    <a:pt x="10" y="302"/>
                    <a:pt x="13" y="302"/>
                  </a:cubicBezTo>
                  <a:cubicBezTo>
                    <a:pt x="16" y="302"/>
                    <a:pt x="13" y="305"/>
                    <a:pt x="16" y="307"/>
                  </a:cubicBezTo>
                  <a:cubicBezTo>
                    <a:pt x="19" y="308"/>
                    <a:pt x="14" y="313"/>
                    <a:pt x="17" y="312"/>
                  </a:cubicBezTo>
                  <a:cubicBezTo>
                    <a:pt x="19" y="310"/>
                    <a:pt x="17" y="310"/>
                    <a:pt x="19" y="305"/>
                  </a:cubicBezTo>
                  <a:cubicBezTo>
                    <a:pt x="19" y="301"/>
                    <a:pt x="19" y="302"/>
                    <a:pt x="19" y="299"/>
                  </a:cubicBezTo>
                  <a:cubicBezTo>
                    <a:pt x="19" y="298"/>
                    <a:pt x="22" y="298"/>
                    <a:pt x="20" y="296"/>
                  </a:cubicBezTo>
                  <a:cubicBezTo>
                    <a:pt x="20" y="294"/>
                    <a:pt x="19" y="294"/>
                    <a:pt x="22" y="293"/>
                  </a:cubicBezTo>
                  <a:cubicBezTo>
                    <a:pt x="23" y="293"/>
                    <a:pt x="25" y="291"/>
                    <a:pt x="25" y="290"/>
                  </a:cubicBezTo>
                  <a:cubicBezTo>
                    <a:pt x="26" y="288"/>
                    <a:pt x="26" y="285"/>
                    <a:pt x="23" y="285"/>
                  </a:cubicBezTo>
                  <a:cubicBezTo>
                    <a:pt x="22" y="285"/>
                    <a:pt x="20" y="284"/>
                    <a:pt x="22" y="284"/>
                  </a:cubicBezTo>
                  <a:cubicBezTo>
                    <a:pt x="23" y="282"/>
                    <a:pt x="23" y="279"/>
                    <a:pt x="22" y="276"/>
                  </a:cubicBezTo>
                  <a:cubicBezTo>
                    <a:pt x="22" y="273"/>
                    <a:pt x="26" y="273"/>
                    <a:pt x="25" y="268"/>
                  </a:cubicBezTo>
                  <a:cubicBezTo>
                    <a:pt x="23" y="265"/>
                    <a:pt x="25" y="266"/>
                    <a:pt x="25" y="263"/>
                  </a:cubicBezTo>
                  <a:cubicBezTo>
                    <a:pt x="25" y="262"/>
                    <a:pt x="25" y="262"/>
                    <a:pt x="26" y="263"/>
                  </a:cubicBezTo>
                  <a:cubicBezTo>
                    <a:pt x="28" y="265"/>
                    <a:pt x="29" y="260"/>
                    <a:pt x="25" y="260"/>
                  </a:cubicBezTo>
                  <a:cubicBezTo>
                    <a:pt x="22" y="259"/>
                    <a:pt x="28" y="257"/>
                    <a:pt x="26" y="256"/>
                  </a:cubicBezTo>
                  <a:cubicBezTo>
                    <a:pt x="23" y="256"/>
                    <a:pt x="23" y="251"/>
                    <a:pt x="22" y="256"/>
                  </a:cubicBezTo>
                  <a:cubicBezTo>
                    <a:pt x="22" y="257"/>
                    <a:pt x="19" y="259"/>
                    <a:pt x="16" y="252"/>
                  </a:cubicBezTo>
                  <a:cubicBezTo>
                    <a:pt x="14" y="248"/>
                    <a:pt x="16" y="248"/>
                    <a:pt x="17" y="238"/>
                  </a:cubicBezTo>
                  <a:cubicBezTo>
                    <a:pt x="17" y="232"/>
                    <a:pt x="19" y="240"/>
                    <a:pt x="20" y="231"/>
                  </a:cubicBezTo>
                  <a:cubicBezTo>
                    <a:pt x="22" y="223"/>
                    <a:pt x="19" y="224"/>
                    <a:pt x="19" y="218"/>
                  </a:cubicBezTo>
                  <a:cubicBezTo>
                    <a:pt x="20" y="210"/>
                    <a:pt x="17" y="215"/>
                    <a:pt x="17" y="207"/>
                  </a:cubicBezTo>
                  <a:cubicBezTo>
                    <a:pt x="19" y="203"/>
                    <a:pt x="22" y="210"/>
                    <a:pt x="22" y="203"/>
                  </a:cubicBezTo>
                  <a:cubicBezTo>
                    <a:pt x="22" y="196"/>
                    <a:pt x="23" y="206"/>
                    <a:pt x="23" y="196"/>
                  </a:cubicBezTo>
                  <a:cubicBezTo>
                    <a:pt x="25" y="190"/>
                    <a:pt x="26" y="195"/>
                    <a:pt x="26" y="190"/>
                  </a:cubicBezTo>
                  <a:cubicBezTo>
                    <a:pt x="26" y="187"/>
                    <a:pt x="31" y="184"/>
                    <a:pt x="31" y="175"/>
                  </a:cubicBezTo>
                  <a:cubicBezTo>
                    <a:pt x="31" y="167"/>
                    <a:pt x="36" y="171"/>
                    <a:pt x="34" y="165"/>
                  </a:cubicBezTo>
                  <a:cubicBezTo>
                    <a:pt x="33" y="161"/>
                    <a:pt x="37" y="158"/>
                    <a:pt x="36" y="154"/>
                  </a:cubicBezTo>
                  <a:cubicBezTo>
                    <a:pt x="34" y="151"/>
                    <a:pt x="36" y="150"/>
                    <a:pt x="34" y="142"/>
                  </a:cubicBezTo>
                  <a:cubicBezTo>
                    <a:pt x="33" y="134"/>
                    <a:pt x="34" y="133"/>
                    <a:pt x="36" y="131"/>
                  </a:cubicBezTo>
                  <a:cubicBezTo>
                    <a:pt x="37" y="129"/>
                    <a:pt x="37" y="125"/>
                    <a:pt x="36" y="120"/>
                  </a:cubicBezTo>
                  <a:cubicBezTo>
                    <a:pt x="33" y="116"/>
                    <a:pt x="37" y="117"/>
                    <a:pt x="39" y="111"/>
                  </a:cubicBezTo>
                  <a:cubicBezTo>
                    <a:pt x="39" y="103"/>
                    <a:pt x="40" y="106"/>
                    <a:pt x="40" y="101"/>
                  </a:cubicBezTo>
                  <a:cubicBezTo>
                    <a:pt x="39" y="98"/>
                    <a:pt x="43" y="91"/>
                    <a:pt x="42" y="88"/>
                  </a:cubicBezTo>
                  <a:cubicBezTo>
                    <a:pt x="40" y="84"/>
                    <a:pt x="45" y="83"/>
                    <a:pt x="43" y="77"/>
                  </a:cubicBezTo>
                  <a:cubicBezTo>
                    <a:pt x="40" y="69"/>
                    <a:pt x="45" y="63"/>
                    <a:pt x="43" y="63"/>
                  </a:cubicBezTo>
                  <a:cubicBezTo>
                    <a:pt x="40" y="61"/>
                    <a:pt x="43" y="58"/>
                    <a:pt x="43" y="58"/>
                  </a:cubicBezTo>
                  <a:cubicBezTo>
                    <a:pt x="45" y="58"/>
                    <a:pt x="45" y="56"/>
                    <a:pt x="46" y="47"/>
                  </a:cubicBezTo>
                  <a:cubicBezTo>
                    <a:pt x="48" y="38"/>
                    <a:pt x="45" y="36"/>
                    <a:pt x="46" y="30"/>
                  </a:cubicBezTo>
                  <a:cubicBezTo>
                    <a:pt x="46" y="24"/>
                    <a:pt x="45" y="24"/>
                    <a:pt x="45" y="19"/>
                  </a:cubicBezTo>
                  <a:cubicBezTo>
                    <a:pt x="45" y="16"/>
                    <a:pt x="43" y="21"/>
                    <a:pt x="43" y="10"/>
                  </a:cubicBezTo>
                  <a:cubicBezTo>
                    <a:pt x="53" y="7"/>
                    <a:pt x="46" y="4"/>
                    <a:pt x="48" y="4"/>
                  </a:cubicBezTo>
                  <a:cubicBezTo>
                    <a:pt x="51" y="4"/>
                    <a:pt x="51" y="0"/>
                    <a:pt x="51" y="0"/>
                  </a:cubicBezTo>
                  <a:close/>
                  <a:moveTo>
                    <a:pt x="59" y="411"/>
                  </a:moveTo>
                  <a:cubicBezTo>
                    <a:pt x="59" y="383"/>
                    <a:pt x="59" y="383"/>
                    <a:pt x="59" y="383"/>
                  </a:cubicBezTo>
                  <a:moveTo>
                    <a:pt x="59" y="411"/>
                  </a:moveTo>
                  <a:cubicBezTo>
                    <a:pt x="59" y="383"/>
                    <a:pt x="59" y="383"/>
                    <a:pt x="59" y="383"/>
                  </a:cubicBezTo>
                  <a:cubicBezTo>
                    <a:pt x="57" y="382"/>
                    <a:pt x="56" y="385"/>
                    <a:pt x="54" y="385"/>
                  </a:cubicBezTo>
                  <a:cubicBezTo>
                    <a:pt x="53" y="385"/>
                    <a:pt x="53" y="382"/>
                    <a:pt x="51" y="382"/>
                  </a:cubicBezTo>
                  <a:cubicBezTo>
                    <a:pt x="49" y="382"/>
                    <a:pt x="49" y="385"/>
                    <a:pt x="48" y="386"/>
                  </a:cubicBezTo>
                  <a:cubicBezTo>
                    <a:pt x="46" y="386"/>
                    <a:pt x="45" y="385"/>
                    <a:pt x="45" y="385"/>
                  </a:cubicBezTo>
                  <a:cubicBezTo>
                    <a:pt x="43" y="385"/>
                    <a:pt x="45" y="385"/>
                    <a:pt x="45" y="386"/>
                  </a:cubicBezTo>
                  <a:cubicBezTo>
                    <a:pt x="45" y="388"/>
                    <a:pt x="46" y="386"/>
                    <a:pt x="46" y="388"/>
                  </a:cubicBezTo>
                  <a:cubicBezTo>
                    <a:pt x="45" y="389"/>
                    <a:pt x="45" y="389"/>
                    <a:pt x="45" y="388"/>
                  </a:cubicBezTo>
                  <a:cubicBezTo>
                    <a:pt x="43" y="386"/>
                    <a:pt x="43" y="389"/>
                    <a:pt x="45" y="393"/>
                  </a:cubicBezTo>
                  <a:cubicBezTo>
                    <a:pt x="45" y="396"/>
                    <a:pt x="51" y="391"/>
                    <a:pt x="53" y="393"/>
                  </a:cubicBezTo>
                  <a:cubicBezTo>
                    <a:pt x="54" y="396"/>
                    <a:pt x="45" y="396"/>
                    <a:pt x="46" y="399"/>
                  </a:cubicBezTo>
                  <a:cubicBezTo>
                    <a:pt x="46" y="403"/>
                    <a:pt x="56" y="405"/>
                    <a:pt x="56" y="406"/>
                  </a:cubicBezTo>
                  <a:cubicBezTo>
                    <a:pt x="49" y="405"/>
                    <a:pt x="51" y="403"/>
                    <a:pt x="51" y="405"/>
                  </a:cubicBezTo>
                  <a:cubicBezTo>
                    <a:pt x="49" y="406"/>
                    <a:pt x="48" y="403"/>
                    <a:pt x="46" y="403"/>
                  </a:cubicBezTo>
                  <a:cubicBezTo>
                    <a:pt x="45" y="405"/>
                    <a:pt x="48" y="406"/>
                    <a:pt x="45" y="405"/>
                  </a:cubicBezTo>
                  <a:cubicBezTo>
                    <a:pt x="42" y="402"/>
                    <a:pt x="39" y="400"/>
                    <a:pt x="40" y="402"/>
                  </a:cubicBezTo>
                  <a:cubicBezTo>
                    <a:pt x="40" y="405"/>
                    <a:pt x="45" y="403"/>
                    <a:pt x="42" y="405"/>
                  </a:cubicBezTo>
                  <a:cubicBezTo>
                    <a:pt x="39" y="405"/>
                    <a:pt x="40" y="406"/>
                    <a:pt x="39" y="406"/>
                  </a:cubicBezTo>
                  <a:cubicBezTo>
                    <a:pt x="36" y="405"/>
                    <a:pt x="36" y="405"/>
                    <a:pt x="36" y="405"/>
                  </a:cubicBezTo>
                  <a:cubicBezTo>
                    <a:pt x="36" y="406"/>
                    <a:pt x="34" y="405"/>
                    <a:pt x="33" y="405"/>
                  </a:cubicBezTo>
                  <a:cubicBezTo>
                    <a:pt x="31" y="405"/>
                    <a:pt x="34" y="406"/>
                    <a:pt x="34" y="406"/>
                  </a:cubicBezTo>
                  <a:cubicBezTo>
                    <a:pt x="33" y="408"/>
                    <a:pt x="31" y="405"/>
                    <a:pt x="31" y="406"/>
                  </a:cubicBezTo>
                  <a:cubicBezTo>
                    <a:pt x="31" y="408"/>
                    <a:pt x="31" y="408"/>
                    <a:pt x="31" y="408"/>
                  </a:cubicBezTo>
                  <a:cubicBezTo>
                    <a:pt x="33" y="410"/>
                    <a:pt x="34" y="408"/>
                    <a:pt x="36" y="408"/>
                  </a:cubicBezTo>
                  <a:cubicBezTo>
                    <a:pt x="36" y="410"/>
                    <a:pt x="36" y="406"/>
                    <a:pt x="37" y="406"/>
                  </a:cubicBezTo>
                  <a:cubicBezTo>
                    <a:pt x="37" y="406"/>
                    <a:pt x="36" y="408"/>
                    <a:pt x="37" y="408"/>
                  </a:cubicBezTo>
                  <a:cubicBezTo>
                    <a:pt x="37" y="410"/>
                    <a:pt x="40" y="406"/>
                    <a:pt x="39" y="408"/>
                  </a:cubicBezTo>
                  <a:cubicBezTo>
                    <a:pt x="39" y="411"/>
                    <a:pt x="39" y="410"/>
                    <a:pt x="40" y="410"/>
                  </a:cubicBezTo>
                  <a:cubicBezTo>
                    <a:pt x="40" y="410"/>
                    <a:pt x="40" y="411"/>
                    <a:pt x="42" y="410"/>
                  </a:cubicBezTo>
                  <a:cubicBezTo>
                    <a:pt x="43" y="410"/>
                    <a:pt x="45" y="411"/>
                    <a:pt x="45" y="411"/>
                  </a:cubicBezTo>
                  <a:cubicBezTo>
                    <a:pt x="46" y="410"/>
                    <a:pt x="46" y="411"/>
                    <a:pt x="48" y="411"/>
                  </a:cubicBezTo>
                  <a:cubicBezTo>
                    <a:pt x="48" y="410"/>
                    <a:pt x="49" y="411"/>
                    <a:pt x="49" y="410"/>
                  </a:cubicBezTo>
                  <a:cubicBezTo>
                    <a:pt x="49" y="408"/>
                    <a:pt x="49" y="411"/>
                    <a:pt x="51" y="411"/>
                  </a:cubicBezTo>
                  <a:cubicBezTo>
                    <a:pt x="56" y="411"/>
                    <a:pt x="57" y="413"/>
                    <a:pt x="57" y="411"/>
                  </a:cubicBezTo>
                  <a:cubicBezTo>
                    <a:pt x="57" y="410"/>
                    <a:pt x="57" y="411"/>
                    <a:pt x="59" y="411"/>
                  </a:cubicBezTo>
                  <a:close/>
                  <a:moveTo>
                    <a:pt x="20" y="291"/>
                  </a:moveTo>
                  <a:cubicBezTo>
                    <a:pt x="20" y="291"/>
                    <a:pt x="19" y="291"/>
                    <a:pt x="20" y="293"/>
                  </a:cubicBezTo>
                  <a:cubicBezTo>
                    <a:pt x="22" y="293"/>
                    <a:pt x="23" y="291"/>
                    <a:pt x="23" y="291"/>
                  </a:cubicBezTo>
                  <a:cubicBezTo>
                    <a:pt x="25" y="290"/>
                    <a:pt x="23" y="290"/>
                    <a:pt x="23" y="290"/>
                  </a:cubicBezTo>
                  <a:cubicBezTo>
                    <a:pt x="25" y="290"/>
                    <a:pt x="26" y="288"/>
                    <a:pt x="23" y="287"/>
                  </a:cubicBezTo>
                  <a:cubicBezTo>
                    <a:pt x="22" y="285"/>
                    <a:pt x="23" y="287"/>
                    <a:pt x="22" y="287"/>
                  </a:cubicBezTo>
                  <a:cubicBezTo>
                    <a:pt x="22" y="287"/>
                    <a:pt x="20" y="287"/>
                    <a:pt x="20" y="288"/>
                  </a:cubicBezTo>
                  <a:cubicBezTo>
                    <a:pt x="22" y="290"/>
                    <a:pt x="20" y="288"/>
                    <a:pt x="19" y="290"/>
                  </a:cubicBezTo>
                  <a:cubicBezTo>
                    <a:pt x="19" y="290"/>
                    <a:pt x="19" y="290"/>
                    <a:pt x="20" y="291"/>
                  </a:cubicBezTo>
                  <a:close/>
                  <a:moveTo>
                    <a:pt x="43" y="402"/>
                  </a:moveTo>
                  <a:cubicBezTo>
                    <a:pt x="42" y="400"/>
                    <a:pt x="42" y="400"/>
                    <a:pt x="43" y="400"/>
                  </a:cubicBezTo>
                  <a:cubicBezTo>
                    <a:pt x="45" y="402"/>
                    <a:pt x="45" y="402"/>
                    <a:pt x="43" y="400"/>
                  </a:cubicBezTo>
                  <a:cubicBezTo>
                    <a:pt x="43" y="399"/>
                    <a:pt x="43" y="397"/>
                    <a:pt x="43" y="396"/>
                  </a:cubicBezTo>
                  <a:cubicBezTo>
                    <a:pt x="43" y="394"/>
                    <a:pt x="42" y="396"/>
                    <a:pt x="42" y="397"/>
                  </a:cubicBezTo>
                  <a:cubicBezTo>
                    <a:pt x="42" y="399"/>
                    <a:pt x="40" y="397"/>
                    <a:pt x="40" y="399"/>
                  </a:cubicBezTo>
                  <a:cubicBezTo>
                    <a:pt x="40" y="400"/>
                    <a:pt x="42" y="402"/>
                    <a:pt x="45" y="403"/>
                  </a:cubicBezTo>
                  <a:cubicBezTo>
                    <a:pt x="46" y="405"/>
                    <a:pt x="45" y="403"/>
                    <a:pt x="43" y="402"/>
                  </a:cubicBezTo>
                  <a:close/>
                  <a:moveTo>
                    <a:pt x="39" y="402"/>
                  </a:moveTo>
                  <a:cubicBezTo>
                    <a:pt x="39" y="400"/>
                    <a:pt x="37" y="402"/>
                    <a:pt x="37" y="400"/>
                  </a:cubicBezTo>
                  <a:cubicBezTo>
                    <a:pt x="36" y="399"/>
                    <a:pt x="34" y="399"/>
                    <a:pt x="34" y="400"/>
                  </a:cubicBezTo>
                  <a:cubicBezTo>
                    <a:pt x="34" y="402"/>
                    <a:pt x="33" y="403"/>
                    <a:pt x="34" y="403"/>
                  </a:cubicBezTo>
                  <a:cubicBezTo>
                    <a:pt x="36" y="403"/>
                    <a:pt x="34" y="402"/>
                    <a:pt x="36" y="403"/>
                  </a:cubicBezTo>
                  <a:cubicBezTo>
                    <a:pt x="37" y="403"/>
                    <a:pt x="36" y="403"/>
                    <a:pt x="37" y="405"/>
                  </a:cubicBezTo>
                  <a:cubicBezTo>
                    <a:pt x="39" y="405"/>
                    <a:pt x="39" y="403"/>
                    <a:pt x="39" y="402"/>
                  </a:cubicBezTo>
                  <a:close/>
                  <a:moveTo>
                    <a:pt x="13" y="265"/>
                  </a:moveTo>
                  <a:cubicBezTo>
                    <a:pt x="13" y="266"/>
                    <a:pt x="14" y="266"/>
                    <a:pt x="13" y="271"/>
                  </a:cubicBezTo>
                  <a:cubicBezTo>
                    <a:pt x="11" y="276"/>
                    <a:pt x="13" y="274"/>
                    <a:pt x="16" y="276"/>
                  </a:cubicBezTo>
                  <a:cubicBezTo>
                    <a:pt x="20" y="276"/>
                    <a:pt x="16" y="273"/>
                    <a:pt x="17" y="273"/>
                  </a:cubicBezTo>
                  <a:cubicBezTo>
                    <a:pt x="20" y="273"/>
                    <a:pt x="17" y="270"/>
                    <a:pt x="19" y="270"/>
                  </a:cubicBezTo>
                  <a:cubicBezTo>
                    <a:pt x="20" y="270"/>
                    <a:pt x="20" y="270"/>
                    <a:pt x="17" y="266"/>
                  </a:cubicBezTo>
                  <a:cubicBezTo>
                    <a:pt x="16" y="265"/>
                    <a:pt x="19" y="266"/>
                    <a:pt x="17" y="265"/>
                  </a:cubicBezTo>
                  <a:cubicBezTo>
                    <a:pt x="17" y="263"/>
                    <a:pt x="17" y="263"/>
                    <a:pt x="19" y="263"/>
                  </a:cubicBezTo>
                  <a:cubicBezTo>
                    <a:pt x="22" y="263"/>
                    <a:pt x="20" y="262"/>
                    <a:pt x="19" y="260"/>
                  </a:cubicBezTo>
                  <a:cubicBezTo>
                    <a:pt x="19" y="259"/>
                    <a:pt x="19" y="257"/>
                    <a:pt x="17" y="259"/>
                  </a:cubicBezTo>
                  <a:cubicBezTo>
                    <a:pt x="14" y="259"/>
                    <a:pt x="17" y="257"/>
                    <a:pt x="16" y="257"/>
                  </a:cubicBezTo>
                  <a:cubicBezTo>
                    <a:pt x="14" y="257"/>
                    <a:pt x="14" y="257"/>
                    <a:pt x="14" y="259"/>
                  </a:cubicBezTo>
                  <a:cubicBezTo>
                    <a:pt x="16" y="262"/>
                    <a:pt x="14" y="262"/>
                    <a:pt x="13" y="265"/>
                  </a:cubicBezTo>
                  <a:close/>
                  <a:moveTo>
                    <a:pt x="22" y="281"/>
                  </a:moveTo>
                  <a:cubicBezTo>
                    <a:pt x="22" y="281"/>
                    <a:pt x="22" y="282"/>
                    <a:pt x="20" y="282"/>
                  </a:cubicBezTo>
                  <a:cubicBezTo>
                    <a:pt x="20" y="282"/>
                    <a:pt x="20" y="281"/>
                    <a:pt x="22" y="281"/>
                  </a:cubicBezTo>
                  <a:close/>
                  <a:moveTo>
                    <a:pt x="16" y="281"/>
                  </a:moveTo>
                  <a:cubicBezTo>
                    <a:pt x="17" y="281"/>
                    <a:pt x="17" y="281"/>
                    <a:pt x="17" y="281"/>
                  </a:cubicBezTo>
                  <a:cubicBezTo>
                    <a:pt x="16" y="279"/>
                    <a:pt x="16" y="281"/>
                    <a:pt x="14" y="281"/>
                  </a:cubicBezTo>
                  <a:cubicBezTo>
                    <a:pt x="14" y="279"/>
                    <a:pt x="13" y="281"/>
                    <a:pt x="14" y="281"/>
                  </a:cubicBezTo>
                  <a:cubicBezTo>
                    <a:pt x="16" y="282"/>
                    <a:pt x="16" y="282"/>
                    <a:pt x="16" y="281"/>
                  </a:cubicBezTo>
                  <a:close/>
                  <a:moveTo>
                    <a:pt x="16" y="296"/>
                  </a:moveTo>
                  <a:cubicBezTo>
                    <a:pt x="16" y="296"/>
                    <a:pt x="16" y="296"/>
                    <a:pt x="17" y="296"/>
                  </a:cubicBezTo>
                  <a:cubicBezTo>
                    <a:pt x="17" y="298"/>
                    <a:pt x="17" y="296"/>
                    <a:pt x="17" y="294"/>
                  </a:cubicBezTo>
                  <a:cubicBezTo>
                    <a:pt x="16" y="293"/>
                    <a:pt x="16" y="294"/>
                    <a:pt x="14" y="294"/>
                  </a:cubicBezTo>
                  <a:cubicBezTo>
                    <a:pt x="13" y="293"/>
                    <a:pt x="13" y="294"/>
                    <a:pt x="14" y="296"/>
                  </a:cubicBezTo>
                  <a:cubicBezTo>
                    <a:pt x="14" y="296"/>
                    <a:pt x="14" y="296"/>
                    <a:pt x="16" y="296"/>
                  </a:cubicBezTo>
                  <a:close/>
                  <a:moveTo>
                    <a:pt x="16" y="293"/>
                  </a:moveTo>
                  <a:cubicBezTo>
                    <a:pt x="16" y="293"/>
                    <a:pt x="16" y="293"/>
                    <a:pt x="14" y="291"/>
                  </a:cubicBezTo>
                  <a:cubicBezTo>
                    <a:pt x="13" y="291"/>
                    <a:pt x="13" y="293"/>
                    <a:pt x="13" y="293"/>
                  </a:cubicBezTo>
                  <a:cubicBezTo>
                    <a:pt x="11" y="294"/>
                    <a:pt x="13" y="293"/>
                    <a:pt x="16" y="293"/>
                  </a:cubicBezTo>
                  <a:close/>
                  <a:moveTo>
                    <a:pt x="14" y="290"/>
                  </a:moveTo>
                  <a:cubicBezTo>
                    <a:pt x="16" y="290"/>
                    <a:pt x="16" y="290"/>
                    <a:pt x="16" y="290"/>
                  </a:cubicBezTo>
                  <a:cubicBezTo>
                    <a:pt x="16" y="288"/>
                    <a:pt x="14" y="288"/>
                    <a:pt x="13" y="290"/>
                  </a:cubicBezTo>
                  <a:cubicBezTo>
                    <a:pt x="11" y="290"/>
                    <a:pt x="13" y="290"/>
                    <a:pt x="13" y="291"/>
                  </a:cubicBezTo>
                  <a:cubicBezTo>
                    <a:pt x="13" y="291"/>
                    <a:pt x="14" y="291"/>
                    <a:pt x="14" y="290"/>
                  </a:cubicBezTo>
                  <a:close/>
                  <a:moveTo>
                    <a:pt x="17" y="290"/>
                  </a:moveTo>
                  <a:cubicBezTo>
                    <a:pt x="19" y="290"/>
                    <a:pt x="19" y="288"/>
                    <a:pt x="17" y="288"/>
                  </a:cubicBezTo>
                  <a:cubicBezTo>
                    <a:pt x="16" y="288"/>
                    <a:pt x="17" y="288"/>
                    <a:pt x="17" y="290"/>
                  </a:cubicBezTo>
                  <a:cubicBezTo>
                    <a:pt x="17" y="290"/>
                    <a:pt x="17" y="290"/>
                    <a:pt x="17" y="290"/>
                  </a:cubicBezTo>
                  <a:close/>
                  <a:moveTo>
                    <a:pt x="19" y="301"/>
                  </a:moveTo>
                  <a:cubicBezTo>
                    <a:pt x="19" y="299"/>
                    <a:pt x="19" y="299"/>
                    <a:pt x="17" y="299"/>
                  </a:cubicBezTo>
                  <a:cubicBezTo>
                    <a:pt x="17" y="299"/>
                    <a:pt x="16" y="301"/>
                    <a:pt x="17" y="302"/>
                  </a:cubicBezTo>
                  <a:cubicBezTo>
                    <a:pt x="17" y="302"/>
                    <a:pt x="19" y="302"/>
                    <a:pt x="19" y="301"/>
                  </a:cubicBezTo>
                  <a:close/>
                  <a:moveTo>
                    <a:pt x="13" y="301"/>
                  </a:moveTo>
                  <a:cubicBezTo>
                    <a:pt x="14" y="301"/>
                    <a:pt x="13" y="299"/>
                    <a:pt x="13" y="299"/>
                  </a:cubicBezTo>
                  <a:cubicBezTo>
                    <a:pt x="11" y="298"/>
                    <a:pt x="11" y="299"/>
                    <a:pt x="11" y="301"/>
                  </a:cubicBezTo>
                  <a:cubicBezTo>
                    <a:pt x="13" y="301"/>
                    <a:pt x="11" y="302"/>
                    <a:pt x="13" y="302"/>
                  </a:cubicBezTo>
                  <a:cubicBezTo>
                    <a:pt x="13" y="301"/>
                    <a:pt x="13" y="301"/>
                    <a:pt x="13" y="301"/>
                  </a:cubicBezTo>
                  <a:close/>
                  <a:moveTo>
                    <a:pt x="14" y="301"/>
                  </a:moveTo>
                  <a:cubicBezTo>
                    <a:pt x="14" y="301"/>
                    <a:pt x="16" y="299"/>
                    <a:pt x="16" y="301"/>
                  </a:cubicBezTo>
                  <a:cubicBezTo>
                    <a:pt x="16" y="301"/>
                    <a:pt x="16" y="302"/>
                    <a:pt x="14" y="301"/>
                  </a:cubicBezTo>
                  <a:close/>
                  <a:moveTo>
                    <a:pt x="17" y="304"/>
                  </a:moveTo>
                  <a:cubicBezTo>
                    <a:pt x="17" y="304"/>
                    <a:pt x="17" y="304"/>
                    <a:pt x="17" y="302"/>
                  </a:cubicBezTo>
                  <a:cubicBezTo>
                    <a:pt x="17" y="302"/>
                    <a:pt x="16" y="302"/>
                    <a:pt x="16" y="304"/>
                  </a:cubicBezTo>
                  <a:cubicBezTo>
                    <a:pt x="16" y="305"/>
                    <a:pt x="16" y="305"/>
                    <a:pt x="17" y="304"/>
                  </a:cubicBezTo>
                  <a:close/>
                  <a:moveTo>
                    <a:pt x="6" y="305"/>
                  </a:moveTo>
                  <a:cubicBezTo>
                    <a:pt x="6" y="305"/>
                    <a:pt x="6" y="305"/>
                    <a:pt x="6" y="305"/>
                  </a:cubicBezTo>
                  <a:cubicBezTo>
                    <a:pt x="6" y="307"/>
                    <a:pt x="8" y="307"/>
                    <a:pt x="8" y="305"/>
                  </a:cubicBezTo>
                  <a:cubicBezTo>
                    <a:pt x="10" y="305"/>
                    <a:pt x="10" y="304"/>
                    <a:pt x="8" y="302"/>
                  </a:cubicBezTo>
                  <a:cubicBezTo>
                    <a:pt x="8" y="302"/>
                    <a:pt x="8" y="302"/>
                    <a:pt x="6" y="304"/>
                  </a:cubicBezTo>
                  <a:cubicBezTo>
                    <a:pt x="6" y="304"/>
                    <a:pt x="6" y="304"/>
                    <a:pt x="6" y="305"/>
                  </a:cubicBezTo>
                  <a:close/>
                  <a:moveTo>
                    <a:pt x="13" y="287"/>
                  </a:moveTo>
                  <a:cubicBezTo>
                    <a:pt x="13" y="287"/>
                    <a:pt x="13" y="287"/>
                    <a:pt x="11" y="287"/>
                  </a:cubicBezTo>
                  <a:cubicBezTo>
                    <a:pt x="11" y="288"/>
                    <a:pt x="11" y="288"/>
                    <a:pt x="11" y="288"/>
                  </a:cubicBezTo>
                  <a:cubicBezTo>
                    <a:pt x="13" y="288"/>
                    <a:pt x="13" y="287"/>
                    <a:pt x="13" y="287"/>
                  </a:cubicBezTo>
                  <a:close/>
                  <a:moveTo>
                    <a:pt x="14" y="288"/>
                  </a:moveTo>
                  <a:cubicBezTo>
                    <a:pt x="16" y="288"/>
                    <a:pt x="16" y="288"/>
                    <a:pt x="16" y="288"/>
                  </a:cubicBezTo>
                  <a:cubicBezTo>
                    <a:pt x="16" y="287"/>
                    <a:pt x="14" y="288"/>
                    <a:pt x="13" y="288"/>
                  </a:cubicBezTo>
                  <a:cubicBezTo>
                    <a:pt x="13" y="288"/>
                    <a:pt x="13" y="288"/>
                    <a:pt x="14" y="288"/>
                  </a:cubicBezTo>
                  <a:close/>
                  <a:moveTo>
                    <a:pt x="14" y="285"/>
                  </a:moveTo>
                  <a:cubicBezTo>
                    <a:pt x="14" y="284"/>
                    <a:pt x="14" y="284"/>
                    <a:pt x="16" y="284"/>
                  </a:cubicBezTo>
                  <a:cubicBezTo>
                    <a:pt x="16" y="285"/>
                    <a:pt x="14" y="287"/>
                    <a:pt x="14" y="285"/>
                  </a:cubicBezTo>
                  <a:close/>
                  <a:moveTo>
                    <a:pt x="19" y="284"/>
                  </a:moveTo>
                  <a:cubicBezTo>
                    <a:pt x="17" y="284"/>
                    <a:pt x="17" y="282"/>
                    <a:pt x="17" y="282"/>
                  </a:cubicBezTo>
                  <a:cubicBezTo>
                    <a:pt x="17" y="281"/>
                    <a:pt x="19" y="284"/>
                    <a:pt x="19" y="284"/>
                  </a:cubicBezTo>
                  <a:close/>
                  <a:moveTo>
                    <a:pt x="8" y="277"/>
                  </a:moveTo>
                  <a:cubicBezTo>
                    <a:pt x="8" y="277"/>
                    <a:pt x="10" y="276"/>
                    <a:pt x="10" y="277"/>
                  </a:cubicBezTo>
                  <a:cubicBezTo>
                    <a:pt x="11" y="277"/>
                    <a:pt x="8" y="279"/>
                    <a:pt x="8" y="277"/>
                  </a:cubicBezTo>
                  <a:close/>
                  <a:moveTo>
                    <a:pt x="10" y="302"/>
                  </a:moveTo>
                  <a:cubicBezTo>
                    <a:pt x="10" y="301"/>
                    <a:pt x="10" y="301"/>
                    <a:pt x="10" y="301"/>
                  </a:cubicBezTo>
                  <a:cubicBezTo>
                    <a:pt x="11" y="301"/>
                    <a:pt x="11" y="302"/>
                    <a:pt x="10" y="302"/>
                  </a:cubicBezTo>
                  <a:close/>
                  <a:moveTo>
                    <a:pt x="16" y="299"/>
                  </a:moveTo>
                  <a:cubicBezTo>
                    <a:pt x="16" y="299"/>
                    <a:pt x="14" y="298"/>
                    <a:pt x="14" y="299"/>
                  </a:cubicBezTo>
                  <a:cubicBezTo>
                    <a:pt x="14" y="299"/>
                    <a:pt x="14" y="299"/>
                    <a:pt x="16" y="299"/>
                  </a:cubicBezTo>
                  <a:cubicBezTo>
                    <a:pt x="16" y="299"/>
                    <a:pt x="17" y="299"/>
                    <a:pt x="16" y="299"/>
                  </a:cubicBezTo>
                  <a:close/>
                  <a:moveTo>
                    <a:pt x="17" y="293"/>
                  </a:moveTo>
                  <a:cubicBezTo>
                    <a:pt x="16" y="293"/>
                    <a:pt x="16" y="291"/>
                    <a:pt x="16" y="291"/>
                  </a:cubicBezTo>
                  <a:cubicBezTo>
                    <a:pt x="17" y="291"/>
                    <a:pt x="17" y="293"/>
                    <a:pt x="17" y="293"/>
                  </a:cubicBezTo>
                  <a:close/>
                  <a:moveTo>
                    <a:pt x="51" y="417"/>
                  </a:moveTo>
                  <a:cubicBezTo>
                    <a:pt x="53" y="417"/>
                    <a:pt x="53" y="419"/>
                    <a:pt x="54" y="419"/>
                  </a:cubicBezTo>
                  <a:cubicBezTo>
                    <a:pt x="56" y="419"/>
                    <a:pt x="54" y="419"/>
                    <a:pt x="53" y="417"/>
                  </a:cubicBezTo>
                  <a:cubicBezTo>
                    <a:pt x="51" y="416"/>
                    <a:pt x="53" y="416"/>
                    <a:pt x="54" y="416"/>
                  </a:cubicBezTo>
                  <a:cubicBezTo>
                    <a:pt x="56" y="416"/>
                    <a:pt x="57" y="416"/>
                    <a:pt x="56" y="416"/>
                  </a:cubicBezTo>
                  <a:cubicBezTo>
                    <a:pt x="56" y="417"/>
                    <a:pt x="56" y="417"/>
                    <a:pt x="56" y="419"/>
                  </a:cubicBezTo>
                  <a:cubicBezTo>
                    <a:pt x="57" y="421"/>
                    <a:pt x="57" y="417"/>
                    <a:pt x="59" y="419"/>
                  </a:cubicBezTo>
                  <a:cubicBezTo>
                    <a:pt x="59" y="421"/>
                    <a:pt x="60" y="419"/>
                    <a:pt x="60" y="421"/>
                  </a:cubicBezTo>
                  <a:cubicBezTo>
                    <a:pt x="62" y="422"/>
                    <a:pt x="62" y="421"/>
                    <a:pt x="62" y="422"/>
                  </a:cubicBezTo>
                  <a:cubicBezTo>
                    <a:pt x="63" y="424"/>
                    <a:pt x="63" y="421"/>
                    <a:pt x="63" y="421"/>
                  </a:cubicBezTo>
                  <a:cubicBezTo>
                    <a:pt x="62" y="419"/>
                    <a:pt x="63" y="419"/>
                    <a:pt x="60" y="417"/>
                  </a:cubicBezTo>
                  <a:cubicBezTo>
                    <a:pt x="57" y="416"/>
                    <a:pt x="62" y="417"/>
                    <a:pt x="60" y="416"/>
                  </a:cubicBezTo>
                  <a:cubicBezTo>
                    <a:pt x="60" y="416"/>
                    <a:pt x="60" y="416"/>
                    <a:pt x="59" y="416"/>
                  </a:cubicBezTo>
                  <a:cubicBezTo>
                    <a:pt x="57" y="414"/>
                    <a:pt x="57" y="414"/>
                    <a:pt x="59" y="414"/>
                  </a:cubicBezTo>
                  <a:cubicBezTo>
                    <a:pt x="60" y="414"/>
                    <a:pt x="60" y="413"/>
                    <a:pt x="60" y="413"/>
                  </a:cubicBezTo>
                  <a:cubicBezTo>
                    <a:pt x="59" y="411"/>
                    <a:pt x="56" y="413"/>
                    <a:pt x="54" y="413"/>
                  </a:cubicBezTo>
                  <a:cubicBezTo>
                    <a:pt x="53" y="413"/>
                    <a:pt x="51" y="413"/>
                    <a:pt x="48" y="414"/>
                  </a:cubicBezTo>
                  <a:cubicBezTo>
                    <a:pt x="46" y="414"/>
                    <a:pt x="48" y="414"/>
                    <a:pt x="49" y="416"/>
                  </a:cubicBezTo>
                  <a:cubicBezTo>
                    <a:pt x="51" y="417"/>
                    <a:pt x="46" y="416"/>
                    <a:pt x="51" y="417"/>
                  </a:cubicBezTo>
                  <a:close/>
                  <a:moveTo>
                    <a:pt x="51" y="413"/>
                  </a:moveTo>
                  <a:cubicBezTo>
                    <a:pt x="54" y="411"/>
                    <a:pt x="53" y="413"/>
                    <a:pt x="51" y="411"/>
                  </a:cubicBezTo>
                  <a:cubicBezTo>
                    <a:pt x="48" y="411"/>
                    <a:pt x="48" y="411"/>
                    <a:pt x="46" y="413"/>
                  </a:cubicBezTo>
                  <a:cubicBezTo>
                    <a:pt x="45" y="413"/>
                    <a:pt x="46" y="413"/>
                    <a:pt x="48" y="413"/>
                  </a:cubicBezTo>
                  <a:cubicBezTo>
                    <a:pt x="48" y="413"/>
                    <a:pt x="48" y="413"/>
                    <a:pt x="51" y="413"/>
                  </a:cubicBezTo>
                  <a:close/>
                  <a:moveTo>
                    <a:pt x="43" y="413"/>
                  </a:moveTo>
                  <a:cubicBezTo>
                    <a:pt x="43" y="413"/>
                    <a:pt x="42" y="413"/>
                    <a:pt x="43" y="413"/>
                  </a:cubicBezTo>
                  <a:cubicBezTo>
                    <a:pt x="46" y="413"/>
                    <a:pt x="45" y="411"/>
                    <a:pt x="43" y="411"/>
                  </a:cubicBezTo>
                  <a:cubicBezTo>
                    <a:pt x="42" y="411"/>
                    <a:pt x="42" y="413"/>
                    <a:pt x="40" y="413"/>
                  </a:cubicBezTo>
                  <a:cubicBezTo>
                    <a:pt x="39" y="413"/>
                    <a:pt x="39" y="413"/>
                    <a:pt x="39" y="413"/>
                  </a:cubicBezTo>
                  <a:cubicBezTo>
                    <a:pt x="39" y="414"/>
                    <a:pt x="40" y="414"/>
                    <a:pt x="42" y="414"/>
                  </a:cubicBezTo>
                  <a:cubicBezTo>
                    <a:pt x="43" y="414"/>
                    <a:pt x="42" y="416"/>
                    <a:pt x="43" y="416"/>
                  </a:cubicBezTo>
                  <a:cubicBezTo>
                    <a:pt x="45" y="414"/>
                    <a:pt x="45" y="413"/>
                    <a:pt x="43" y="413"/>
                  </a:cubicBezTo>
                  <a:close/>
                  <a:moveTo>
                    <a:pt x="39" y="411"/>
                  </a:moveTo>
                  <a:cubicBezTo>
                    <a:pt x="39" y="411"/>
                    <a:pt x="37" y="410"/>
                    <a:pt x="36" y="411"/>
                  </a:cubicBezTo>
                  <a:cubicBezTo>
                    <a:pt x="36" y="411"/>
                    <a:pt x="36" y="413"/>
                    <a:pt x="37" y="411"/>
                  </a:cubicBezTo>
                  <a:cubicBezTo>
                    <a:pt x="39" y="411"/>
                    <a:pt x="37" y="413"/>
                    <a:pt x="39" y="411"/>
                  </a:cubicBezTo>
                  <a:cubicBezTo>
                    <a:pt x="40" y="411"/>
                    <a:pt x="39" y="411"/>
                    <a:pt x="39" y="411"/>
                  </a:cubicBezTo>
                  <a:close/>
                  <a:moveTo>
                    <a:pt x="65" y="424"/>
                  </a:moveTo>
                  <a:cubicBezTo>
                    <a:pt x="63" y="422"/>
                    <a:pt x="66" y="422"/>
                    <a:pt x="66" y="422"/>
                  </a:cubicBezTo>
                  <a:cubicBezTo>
                    <a:pt x="68" y="424"/>
                    <a:pt x="65" y="424"/>
                    <a:pt x="65" y="424"/>
                  </a:cubicBezTo>
                  <a:close/>
                  <a:moveTo>
                    <a:pt x="68" y="421"/>
                  </a:moveTo>
                  <a:cubicBezTo>
                    <a:pt x="68" y="421"/>
                    <a:pt x="68" y="419"/>
                    <a:pt x="68" y="421"/>
                  </a:cubicBezTo>
                  <a:cubicBezTo>
                    <a:pt x="68" y="422"/>
                    <a:pt x="66" y="421"/>
                    <a:pt x="66" y="421"/>
                  </a:cubicBezTo>
                  <a:cubicBezTo>
                    <a:pt x="66" y="422"/>
                    <a:pt x="66" y="422"/>
                    <a:pt x="68" y="422"/>
                  </a:cubicBezTo>
                  <a:cubicBezTo>
                    <a:pt x="69" y="422"/>
                    <a:pt x="69" y="422"/>
                    <a:pt x="68" y="421"/>
                  </a:cubicBezTo>
                  <a:close/>
                  <a:moveTo>
                    <a:pt x="33" y="403"/>
                  </a:moveTo>
                  <a:cubicBezTo>
                    <a:pt x="33" y="402"/>
                    <a:pt x="34" y="402"/>
                    <a:pt x="34" y="402"/>
                  </a:cubicBezTo>
                  <a:cubicBezTo>
                    <a:pt x="33" y="400"/>
                    <a:pt x="34" y="399"/>
                    <a:pt x="33" y="399"/>
                  </a:cubicBezTo>
                  <a:cubicBezTo>
                    <a:pt x="31" y="399"/>
                    <a:pt x="31" y="399"/>
                    <a:pt x="31" y="399"/>
                  </a:cubicBezTo>
                  <a:cubicBezTo>
                    <a:pt x="31" y="400"/>
                    <a:pt x="29" y="399"/>
                    <a:pt x="29" y="399"/>
                  </a:cubicBezTo>
                  <a:cubicBezTo>
                    <a:pt x="28" y="400"/>
                    <a:pt x="29" y="400"/>
                    <a:pt x="29" y="402"/>
                  </a:cubicBezTo>
                  <a:cubicBezTo>
                    <a:pt x="31" y="402"/>
                    <a:pt x="33" y="402"/>
                    <a:pt x="31" y="403"/>
                  </a:cubicBezTo>
                  <a:cubicBezTo>
                    <a:pt x="31" y="405"/>
                    <a:pt x="33" y="405"/>
                    <a:pt x="33" y="403"/>
                  </a:cubicBezTo>
                  <a:cubicBezTo>
                    <a:pt x="33" y="403"/>
                    <a:pt x="33" y="403"/>
                    <a:pt x="33" y="403"/>
                  </a:cubicBezTo>
                  <a:close/>
                  <a:moveTo>
                    <a:pt x="22" y="377"/>
                  </a:moveTo>
                  <a:cubicBezTo>
                    <a:pt x="22" y="375"/>
                    <a:pt x="23" y="374"/>
                    <a:pt x="23" y="374"/>
                  </a:cubicBezTo>
                  <a:cubicBezTo>
                    <a:pt x="25" y="374"/>
                    <a:pt x="23" y="377"/>
                    <a:pt x="22" y="377"/>
                  </a:cubicBezTo>
                  <a:close/>
                  <a:moveTo>
                    <a:pt x="28" y="400"/>
                  </a:moveTo>
                  <a:cubicBezTo>
                    <a:pt x="28" y="402"/>
                    <a:pt x="28" y="402"/>
                    <a:pt x="28" y="400"/>
                  </a:cubicBezTo>
                  <a:cubicBezTo>
                    <a:pt x="28" y="399"/>
                    <a:pt x="31" y="399"/>
                    <a:pt x="29" y="397"/>
                  </a:cubicBezTo>
                  <a:cubicBezTo>
                    <a:pt x="29" y="397"/>
                    <a:pt x="28" y="397"/>
                    <a:pt x="28" y="396"/>
                  </a:cubicBezTo>
                  <a:cubicBezTo>
                    <a:pt x="28" y="396"/>
                    <a:pt x="26" y="394"/>
                    <a:pt x="25" y="396"/>
                  </a:cubicBezTo>
                  <a:cubicBezTo>
                    <a:pt x="25" y="396"/>
                    <a:pt x="25" y="394"/>
                    <a:pt x="25" y="396"/>
                  </a:cubicBezTo>
                  <a:cubicBezTo>
                    <a:pt x="23" y="396"/>
                    <a:pt x="25" y="394"/>
                    <a:pt x="23" y="393"/>
                  </a:cubicBezTo>
                  <a:cubicBezTo>
                    <a:pt x="22" y="393"/>
                    <a:pt x="23" y="394"/>
                    <a:pt x="20" y="394"/>
                  </a:cubicBezTo>
                  <a:cubicBezTo>
                    <a:pt x="19" y="393"/>
                    <a:pt x="22" y="396"/>
                    <a:pt x="20" y="396"/>
                  </a:cubicBezTo>
                  <a:cubicBezTo>
                    <a:pt x="19" y="396"/>
                    <a:pt x="19" y="394"/>
                    <a:pt x="19" y="396"/>
                  </a:cubicBezTo>
                  <a:cubicBezTo>
                    <a:pt x="17" y="397"/>
                    <a:pt x="19" y="396"/>
                    <a:pt x="19" y="397"/>
                  </a:cubicBezTo>
                  <a:cubicBezTo>
                    <a:pt x="19" y="399"/>
                    <a:pt x="20" y="396"/>
                    <a:pt x="20" y="397"/>
                  </a:cubicBezTo>
                  <a:cubicBezTo>
                    <a:pt x="22" y="399"/>
                    <a:pt x="20" y="400"/>
                    <a:pt x="22" y="400"/>
                  </a:cubicBezTo>
                  <a:cubicBezTo>
                    <a:pt x="23" y="402"/>
                    <a:pt x="22" y="397"/>
                    <a:pt x="23" y="399"/>
                  </a:cubicBezTo>
                  <a:cubicBezTo>
                    <a:pt x="23" y="400"/>
                    <a:pt x="25" y="397"/>
                    <a:pt x="25" y="399"/>
                  </a:cubicBezTo>
                  <a:cubicBezTo>
                    <a:pt x="25" y="402"/>
                    <a:pt x="22" y="402"/>
                    <a:pt x="23" y="402"/>
                  </a:cubicBezTo>
                  <a:cubicBezTo>
                    <a:pt x="25" y="402"/>
                    <a:pt x="25" y="400"/>
                    <a:pt x="26" y="402"/>
                  </a:cubicBezTo>
                  <a:cubicBezTo>
                    <a:pt x="26" y="402"/>
                    <a:pt x="26" y="400"/>
                    <a:pt x="28" y="400"/>
                  </a:cubicBezTo>
                  <a:close/>
                  <a:moveTo>
                    <a:pt x="29" y="403"/>
                  </a:moveTo>
                  <a:cubicBezTo>
                    <a:pt x="29" y="402"/>
                    <a:pt x="29" y="400"/>
                    <a:pt x="28" y="402"/>
                  </a:cubicBezTo>
                  <a:cubicBezTo>
                    <a:pt x="28" y="403"/>
                    <a:pt x="26" y="402"/>
                    <a:pt x="28" y="403"/>
                  </a:cubicBezTo>
                  <a:cubicBezTo>
                    <a:pt x="28" y="403"/>
                    <a:pt x="28" y="403"/>
                    <a:pt x="29" y="403"/>
                  </a:cubicBezTo>
                  <a:close/>
                  <a:moveTo>
                    <a:pt x="14" y="391"/>
                  </a:moveTo>
                  <a:cubicBezTo>
                    <a:pt x="16" y="391"/>
                    <a:pt x="14" y="393"/>
                    <a:pt x="13" y="393"/>
                  </a:cubicBezTo>
                  <a:cubicBezTo>
                    <a:pt x="13" y="391"/>
                    <a:pt x="14" y="391"/>
                    <a:pt x="14" y="391"/>
                  </a:cubicBezTo>
                  <a:close/>
                  <a:moveTo>
                    <a:pt x="17" y="383"/>
                  </a:moveTo>
                  <a:cubicBezTo>
                    <a:pt x="17" y="382"/>
                    <a:pt x="17" y="382"/>
                    <a:pt x="17" y="382"/>
                  </a:cubicBezTo>
                  <a:cubicBezTo>
                    <a:pt x="17" y="380"/>
                    <a:pt x="17" y="382"/>
                    <a:pt x="16" y="382"/>
                  </a:cubicBezTo>
                  <a:cubicBezTo>
                    <a:pt x="14" y="383"/>
                    <a:pt x="16" y="383"/>
                    <a:pt x="16" y="385"/>
                  </a:cubicBezTo>
                  <a:cubicBezTo>
                    <a:pt x="16" y="385"/>
                    <a:pt x="17" y="385"/>
                    <a:pt x="17" y="383"/>
                  </a:cubicBezTo>
                  <a:close/>
                  <a:moveTo>
                    <a:pt x="16" y="391"/>
                  </a:moveTo>
                  <a:cubicBezTo>
                    <a:pt x="17" y="391"/>
                    <a:pt x="17" y="389"/>
                    <a:pt x="19" y="391"/>
                  </a:cubicBezTo>
                  <a:cubicBezTo>
                    <a:pt x="19" y="391"/>
                    <a:pt x="17" y="391"/>
                    <a:pt x="19" y="393"/>
                  </a:cubicBezTo>
                  <a:cubicBezTo>
                    <a:pt x="19" y="393"/>
                    <a:pt x="19" y="391"/>
                    <a:pt x="20" y="393"/>
                  </a:cubicBezTo>
                  <a:cubicBezTo>
                    <a:pt x="22" y="393"/>
                    <a:pt x="22" y="393"/>
                    <a:pt x="22" y="391"/>
                  </a:cubicBezTo>
                  <a:cubicBezTo>
                    <a:pt x="20" y="391"/>
                    <a:pt x="20" y="389"/>
                    <a:pt x="19" y="389"/>
                  </a:cubicBezTo>
                  <a:cubicBezTo>
                    <a:pt x="19" y="389"/>
                    <a:pt x="19" y="388"/>
                    <a:pt x="17" y="389"/>
                  </a:cubicBezTo>
                  <a:cubicBezTo>
                    <a:pt x="17" y="389"/>
                    <a:pt x="17" y="388"/>
                    <a:pt x="16" y="388"/>
                  </a:cubicBezTo>
                  <a:cubicBezTo>
                    <a:pt x="14" y="388"/>
                    <a:pt x="13" y="388"/>
                    <a:pt x="11" y="386"/>
                  </a:cubicBezTo>
                  <a:cubicBezTo>
                    <a:pt x="10" y="385"/>
                    <a:pt x="8" y="385"/>
                    <a:pt x="10" y="386"/>
                  </a:cubicBezTo>
                  <a:cubicBezTo>
                    <a:pt x="11" y="386"/>
                    <a:pt x="10" y="386"/>
                    <a:pt x="11" y="388"/>
                  </a:cubicBezTo>
                  <a:cubicBezTo>
                    <a:pt x="13" y="388"/>
                    <a:pt x="11" y="389"/>
                    <a:pt x="14" y="389"/>
                  </a:cubicBezTo>
                  <a:cubicBezTo>
                    <a:pt x="14" y="389"/>
                    <a:pt x="16" y="389"/>
                    <a:pt x="16" y="391"/>
                  </a:cubicBezTo>
                  <a:close/>
                  <a:moveTo>
                    <a:pt x="14" y="371"/>
                  </a:moveTo>
                  <a:cubicBezTo>
                    <a:pt x="14" y="369"/>
                    <a:pt x="14" y="371"/>
                    <a:pt x="14" y="372"/>
                  </a:cubicBezTo>
                  <a:cubicBezTo>
                    <a:pt x="13" y="372"/>
                    <a:pt x="14" y="374"/>
                    <a:pt x="16" y="374"/>
                  </a:cubicBezTo>
                  <a:cubicBezTo>
                    <a:pt x="16" y="372"/>
                    <a:pt x="16" y="371"/>
                    <a:pt x="14" y="371"/>
                  </a:cubicBezTo>
                  <a:close/>
                  <a:moveTo>
                    <a:pt x="8" y="375"/>
                  </a:moveTo>
                  <a:cubicBezTo>
                    <a:pt x="8" y="374"/>
                    <a:pt x="10" y="374"/>
                    <a:pt x="10" y="372"/>
                  </a:cubicBezTo>
                  <a:cubicBezTo>
                    <a:pt x="8" y="371"/>
                    <a:pt x="8" y="371"/>
                    <a:pt x="8" y="372"/>
                  </a:cubicBezTo>
                  <a:cubicBezTo>
                    <a:pt x="8" y="374"/>
                    <a:pt x="8" y="374"/>
                    <a:pt x="8" y="372"/>
                  </a:cubicBezTo>
                  <a:cubicBezTo>
                    <a:pt x="6" y="372"/>
                    <a:pt x="6" y="374"/>
                    <a:pt x="6" y="374"/>
                  </a:cubicBezTo>
                  <a:cubicBezTo>
                    <a:pt x="8" y="375"/>
                    <a:pt x="6" y="375"/>
                    <a:pt x="6" y="377"/>
                  </a:cubicBezTo>
                  <a:cubicBezTo>
                    <a:pt x="6" y="377"/>
                    <a:pt x="8" y="377"/>
                    <a:pt x="8" y="375"/>
                  </a:cubicBezTo>
                  <a:close/>
                  <a:moveTo>
                    <a:pt x="13" y="374"/>
                  </a:moveTo>
                  <a:cubicBezTo>
                    <a:pt x="11" y="372"/>
                    <a:pt x="11" y="372"/>
                    <a:pt x="11" y="372"/>
                  </a:cubicBezTo>
                  <a:cubicBezTo>
                    <a:pt x="13" y="374"/>
                    <a:pt x="11" y="374"/>
                    <a:pt x="13" y="375"/>
                  </a:cubicBezTo>
                  <a:cubicBezTo>
                    <a:pt x="14" y="375"/>
                    <a:pt x="14" y="374"/>
                    <a:pt x="13" y="374"/>
                  </a:cubicBezTo>
                  <a:close/>
                  <a:moveTo>
                    <a:pt x="16" y="377"/>
                  </a:moveTo>
                  <a:cubicBezTo>
                    <a:pt x="17" y="380"/>
                    <a:pt x="17" y="378"/>
                    <a:pt x="17" y="377"/>
                  </a:cubicBezTo>
                  <a:cubicBezTo>
                    <a:pt x="16" y="375"/>
                    <a:pt x="14" y="374"/>
                    <a:pt x="14" y="375"/>
                  </a:cubicBezTo>
                  <a:cubicBezTo>
                    <a:pt x="14" y="377"/>
                    <a:pt x="14" y="375"/>
                    <a:pt x="16" y="377"/>
                  </a:cubicBezTo>
                  <a:close/>
                  <a:moveTo>
                    <a:pt x="16" y="380"/>
                  </a:moveTo>
                  <a:cubicBezTo>
                    <a:pt x="16" y="380"/>
                    <a:pt x="16" y="378"/>
                    <a:pt x="14" y="377"/>
                  </a:cubicBezTo>
                  <a:cubicBezTo>
                    <a:pt x="13" y="377"/>
                    <a:pt x="11" y="377"/>
                    <a:pt x="13" y="377"/>
                  </a:cubicBezTo>
                  <a:cubicBezTo>
                    <a:pt x="13" y="378"/>
                    <a:pt x="13" y="377"/>
                    <a:pt x="13" y="378"/>
                  </a:cubicBezTo>
                  <a:cubicBezTo>
                    <a:pt x="14" y="378"/>
                    <a:pt x="13" y="378"/>
                    <a:pt x="14" y="380"/>
                  </a:cubicBezTo>
                  <a:cubicBezTo>
                    <a:pt x="14" y="382"/>
                    <a:pt x="14" y="380"/>
                    <a:pt x="16" y="380"/>
                  </a:cubicBezTo>
                  <a:close/>
                  <a:moveTo>
                    <a:pt x="10" y="375"/>
                  </a:moveTo>
                  <a:cubicBezTo>
                    <a:pt x="11" y="374"/>
                    <a:pt x="10" y="374"/>
                    <a:pt x="10" y="375"/>
                  </a:cubicBezTo>
                  <a:cubicBezTo>
                    <a:pt x="8" y="377"/>
                    <a:pt x="8" y="378"/>
                    <a:pt x="8" y="377"/>
                  </a:cubicBezTo>
                  <a:cubicBezTo>
                    <a:pt x="10" y="377"/>
                    <a:pt x="10" y="377"/>
                    <a:pt x="10" y="375"/>
                  </a:cubicBezTo>
                  <a:close/>
                  <a:moveTo>
                    <a:pt x="10" y="380"/>
                  </a:moveTo>
                  <a:cubicBezTo>
                    <a:pt x="10" y="380"/>
                    <a:pt x="11" y="378"/>
                    <a:pt x="10" y="378"/>
                  </a:cubicBezTo>
                  <a:cubicBezTo>
                    <a:pt x="8" y="378"/>
                    <a:pt x="8" y="378"/>
                    <a:pt x="8" y="378"/>
                  </a:cubicBezTo>
                  <a:cubicBezTo>
                    <a:pt x="8" y="378"/>
                    <a:pt x="8" y="378"/>
                    <a:pt x="10" y="380"/>
                  </a:cubicBezTo>
                  <a:close/>
                  <a:moveTo>
                    <a:pt x="6" y="369"/>
                  </a:moveTo>
                  <a:cubicBezTo>
                    <a:pt x="6" y="368"/>
                    <a:pt x="6" y="368"/>
                    <a:pt x="6" y="368"/>
                  </a:cubicBezTo>
                  <a:cubicBezTo>
                    <a:pt x="5" y="366"/>
                    <a:pt x="5" y="368"/>
                    <a:pt x="5" y="369"/>
                  </a:cubicBezTo>
                  <a:cubicBezTo>
                    <a:pt x="5" y="371"/>
                    <a:pt x="3" y="372"/>
                    <a:pt x="5" y="371"/>
                  </a:cubicBezTo>
                  <a:cubicBezTo>
                    <a:pt x="6" y="371"/>
                    <a:pt x="5" y="369"/>
                    <a:pt x="6" y="369"/>
                  </a:cubicBezTo>
                  <a:close/>
                  <a:moveTo>
                    <a:pt x="14" y="369"/>
                  </a:moveTo>
                  <a:cubicBezTo>
                    <a:pt x="13" y="369"/>
                    <a:pt x="13" y="368"/>
                    <a:pt x="13" y="368"/>
                  </a:cubicBezTo>
                  <a:cubicBezTo>
                    <a:pt x="14" y="368"/>
                    <a:pt x="14" y="369"/>
                    <a:pt x="14" y="369"/>
                  </a:cubicBezTo>
                  <a:close/>
                  <a:moveTo>
                    <a:pt x="14" y="368"/>
                  </a:moveTo>
                  <a:cubicBezTo>
                    <a:pt x="14" y="366"/>
                    <a:pt x="16" y="366"/>
                    <a:pt x="16" y="368"/>
                  </a:cubicBezTo>
                  <a:cubicBezTo>
                    <a:pt x="16" y="368"/>
                    <a:pt x="14" y="369"/>
                    <a:pt x="14" y="368"/>
                  </a:cubicBezTo>
                  <a:close/>
                  <a:moveTo>
                    <a:pt x="10" y="368"/>
                  </a:moveTo>
                  <a:cubicBezTo>
                    <a:pt x="10" y="369"/>
                    <a:pt x="11" y="369"/>
                    <a:pt x="11" y="368"/>
                  </a:cubicBezTo>
                  <a:cubicBezTo>
                    <a:pt x="10" y="368"/>
                    <a:pt x="11" y="366"/>
                    <a:pt x="10" y="366"/>
                  </a:cubicBezTo>
                  <a:cubicBezTo>
                    <a:pt x="8" y="366"/>
                    <a:pt x="8" y="368"/>
                    <a:pt x="8" y="368"/>
                  </a:cubicBezTo>
                  <a:cubicBezTo>
                    <a:pt x="6" y="369"/>
                    <a:pt x="6" y="369"/>
                    <a:pt x="8" y="369"/>
                  </a:cubicBezTo>
                  <a:cubicBezTo>
                    <a:pt x="10" y="369"/>
                    <a:pt x="10" y="368"/>
                    <a:pt x="10" y="368"/>
                  </a:cubicBezTo>
                  <a:close/>
                  <a:moveTo>
                    <a:pt x="13" y="366"/>
                  </a:moveTo>
                  <a:cubicBezTo>
                    <a:pt x="13" y="363"/>
                    <a:pt x="13" y="363"/>
                    <a:pt x="13" y="363"/>
                  </a:cubicBezTo>
                  <a:cubicBezTo>
                    <a:pt x="13" y="363"/>
                    <a:pt x="14" y="366"/>
                    <a:pt x="13" y="366"/>
                  </a:cubicBezTo>
                  <a:close/>
                  <a:moveTo>
                    <a:pt x="11" y="349"/>
                  </a:moveTo>
                  <a:cubicBezTo>
                    <a:pt x="13" y="349"/>
                    <a:pt x="11" y="347"/>
                    <a:pt x="11" y="347"/>
                  </a:cubicBezTo>
                  <a:cubicBezTo>
                    <a:pt x="11" y="349"/>
                    <a:pt x="10" y="347"/>
                    <a:pt x="11" y="347"/>
                  </a:cubicBezTo>
                  <a:cubicBezTo>
                    <a:pt x="11" y="346"/>
                    <a:pt x="11" y="344"/>
                    <a:pt x="11" y="341"/>
                  </a:cubicBezTo>
                  <a:cubicBezTo>
                    <a:pt x="11" y="338"/>
                    <a:pt x="11" y="336"/>
                    <a:pt x="11" y="336"/>
                  </a:cubicBezTo>
                  <a:cubicBezTo>
                    <a:pt x="10" y="336"/>
                    <a:pt x="10" y="336"/>
                    <a:pt x="8" y="336"/>
                  </a:cubicBezTo>
                  <a:cubicBezTo>
                    <a:pt x="6" y="338"/>
                    <a:pt x="6" y="338"/>
                    <a:pt x="6" y="338"/>
                  </a:cubicBezTo>
                  <a:cubicBezTo>
                    <a:pt x="8" y="340"/>
                    <a:pt x="6" y="340"/>
                    <a:pt x="8" y="340"/>
                  </a:cubicBezTo>
                  <a:cubicBezTo>
                    <a:pt x="8" y="341"/>
                    <a:pt x="8" y="343"/>
                    <a:pt x="8" y="344"/>
                  </a:cubicBezTo>
                  <a:cubicBezTo>
                    <a:pt x="6" y="343"/>
                    <a:pt x="6" y="343"/>
                    <a:pt x="6" y="343"/>
                  </a:cubicBezTo>
                  <a:cubicBezTo>
                    <a:pt x="5" y="344"/>
                    <a:pt x="5" y="343"/>
                    <a:pt x="5" y="343"/>
                  </a:cubicBezTo>
                  <a:cubicBezTo>
                    <a:pt x="3" y="344"/>
                    <a:pt x="3" y="344"/>
                    <a:pt x="5" y="346"/>
                  </a:cubicBezTo>
                  <a:cubicBezTo>
                    <a:pt x="5" y="347"/>
                    <a:pt x="5" y="349"/>
                    <a:pt x="6" y="351"/>
                  </a:cubicBezTo>
                  <a:cubicBezTo>
                    <a:pt x="8" y="352"/>
                    <a:pt x="8" y="349"/>
                    <a:pt x="6" y="347"/>
                  </a:cubicBezTo>
                  <a:cubicBezTo>
                    <a:pt x="6" y="346"/>
                    <a:pt x="6" y="346"/>
                    <a:pt x="8" y="347"/>
                  </a:cubicBezTo>
                  <a:cubicBezTo>
                    <a:pt x="10" y="347"/>
                    <a:pt x="8" y="347"/>
                    <a:pt x="8" y="349"/>
                  </a:cubicBezTo>
                  <a:cubicBezTo>
                    <a:pt x="8" y="351"/>
                    <a:pt x="8" y="349"/>
                    <a:pt x="8" y="351"/>
                  </a:cubicBezTo>
                  <a:cubicBezTo>
                    <a:pt x="8" y="352"/>
                    <a:pt x="8" y="352"/>
                    <a:pt x="10" y="352"/>
                  </a:cubicBezTo>
                  <a:cubicBezTo>
                    <a:pt x="13" y="352"/>
                    <a:pt x="11" y="349"/>
                    <a:pt x="11" y="349"/>
                  </a:cubicBezTo>
                  <a:close/>
                  <a:moveTo>
                    <a:pt x="5" y="360"/>
                  </a:moveTo>
                  <a:cubicBezTo>
                    <a:pt x="6" y="358"/>
                    <a:pt x="6" y="358"/>
                    <a:pt x="5" y="358"/>
                  </a:cubicBezTo>
                  <a:cubicBezTo>
                    <a:pt x="2" y="357"/>
                    <a:pt x="5" y="358"/>
                    <a:pt x="3" y="360"/>
                  </a:cubicBezTo>
                  <a:cubicBezTo>
                    <a:pt x="3" y="360"/>
                    <a:pt x="2" y="361"/>
                    <a:pt x="3" y="361"/>
                  </a:cubicBezTo>
                  <a:cubicBezTo>
                    <a:pt x="5" y="361"/>
                    <a:pt x="5" y="360"/>
                    <a:pt x="5" y="360"/>
                  </a:cubicBezTo>
                  <a:close/>
                  <a:moveTo>
                    <a:pt x="13" y="361"/>
                  </a:moveTo>
                  <a:cubicBezTo>
                    <a:pt x="14" y="361"/>
                    <a:pt x="14" y="361"/>
                    <a:pt x="13" y="360"/>
                  </a:cubicBezTo>
                  <a:cubicBezTo>
                    <a:pt x="13" y="358"/>
                    <a:pt x="13" y="358"/>
                    <a:pt x="11" y="357"/>
                  </a:cubicBezTo>
                  <a:cubicBezTo>
                    <a:pt x="11" y="357"/>
                    <a:pt x="10" y="357"/>
                    <a:pt x="11" y="358"/>
                  </a:cubicBezTo>
                  <a:cubicBezTo>
                    <a:pt x="13" y="360"/>
                    <a:pt x="10" y="358"/>
                    <a:pt x="11" y="361"/>
                  </a:cubicBezTo>
                  <a:cubicBezTo>
                    <a:pt x="13" y="361"/>
                    <a:pt x="13" y="361"/>
                    <a:pt x="13" y="361"/>
                  </a:cubicBezTo>
                  <a:close/>
                  <a:moveTo>
                    <a:pt x="3" y="349"/>
                  </a:moveTo>
                  <a:cubicBezTo>
                    <a:pt x="5" y="349"/>
                    <a:pt x="3" y="351"/>
                    <a:pt x="5" y="351"/>
                  </a:cubicBezTo>
                  <a:cubicBezTo>
                    <a:pt x="5" y="351"/>
                    <a:pt x="5" y="351"/>
                    <a:pt x="5" y="349"/>
                  </a:cubicBezTo>
                  <a:cubicBezTo>
                    <a:pt x="5" y="347"/>
                    <a:pt x="5" y="347"/>
                    <a:pt x="3" y="347"/>
                  </a:cubicBezTo>
                  <a:cubicBezTo>
                    <a:pt x="2" y="347"/>
                    <a:pt x="2" y="347"/>
                    <a:pt x="2" y="351"/>
                  </a:cubicBezTo>
                  <a:cubicBezTo>
                    <a:pt x="2" y="351"/>
                    <a:pt x="3" y="351"/>
                    <a:pt x="3" y="349"/>
                  </a:cubicBezTo>
                  <a:close/>
                  <a:moveTo>
                    <a:pt x="5" y="357"/>
                  </a:moveTo>
                  <a:cubicBezTo>
                    <a:pt x="5" y="357"/>
                    <a:pt x="5" y="358"/>
                    <a:pt x="6" y="357"/>
                  </a:cubicBezTo>
                  <a:cubicBezTo>
                    <a:pt x="6" y="355"/>
                    <a:pt x="6" y="357"/>
                    <a:pt x="8" y="357"/>
                  </a:cubicBezTo>
                  <a:cubicBezTo>
                    <a:pt x="8" y="355"/>
                    <a:pt x="6" y="355"/>
                    <a:pt x="8" y="355"/>
                  </a:cubicBezTo>
                  <a:cubicBezTo>
                    <a:pt x="10" y="354"/>
                    <a:pt x="8" y="354"/>
                    <a:pt x="8" y="354"/>
                  </a:cubicBezTo>
                  <a:cubicBezTo>
                    <a:pt x="6" y="355"/>
                    <a:pt x="8" y="352"/>
                    <a:pt x="6" y="354"/>
                  </a:cubicBezTo>
                  <a:cubicBezTo>
                    <a:pt x="6" y="354"/>
                    <a:pt x="5" y="352"/>
                    <a:pt x="3" y="352"/>
                  </a:cubicBezTo>
                  <a:cubicBezTo>
                    <a:pt x="2" y="352"/>
                    <a:pt x="6" y="354"/>
                    <a:pt x="5" y="354"/>
                  </a:cubicBezTo>
                  <a:cubicBezTo>
                    <a:pt x="5" y="355"/>
                    <a:pt x="3" y="352"/>
                    <a:pt x="3" y="355"/>
                  </a:cubicBezTo>
                  <a:cubicBezTo>
                    <a:pt x="3" y="357"/>
                    <a:pt x="5" y="355"/>
                    <a:pt x="5" y="357"/>
                  </a:cubicBezTo>
                  <a:close/>
                  <a:moveTo>
                    <a:pt x="11" y="364"/>
                  </a:moveTo>
                  <a:cubicBezTo>
                    <a:pt x="11" y="364"/>
                    <a:pt x="13" y="363"/>
                    <a:pt x="11" y="363"/>
                  </a:cubicBezTo>
                  <a:cubicBezTo>
                    <a:pt x="11" y="361"/>
                    <a:pt x="10" y="360"/>
                    <a:pt x="10" y="361"/>
                  </a:cubicBezTo>
                  <a:cubicBezTo>
                    <a:pt x="10" y="363"/>
                    <a:pt x="11" y="363"/>
                    <a:pt x="10" y="363"/>
                  </a:cubicBezTo>
                  <a:cubicBezTo>
                    <a:pt x="6" y="363"/>
                    <a:pt x="6" y="363"/>
                    <a:pt x="8" y="363"/>
                  </a:cubicBezTo>
                  <a:cubicBezTo>
                    <a:pt x="10" y="364"/>
                    <a:pt x="8" y="364"/>
                    <a:pt x="10" y="364"/>
                  </a:cubicBezTo>
                  <a:cubicBezTo>
                    <a:pt x="10" y="366"/>
                    <a:pt x="11" y="363"/>
                    <a:pt x="11" y="364"/>
                  </a:cubicBezTo>
                  <a:close/>
                  <a:moveTo>
                    <a:pt x="10" y="363"/>
                  </a:moveTo>
                  <a:cubicBezTo>
                    <a:pt x="8" y="361"/>
                    <a:pt x="6" y="361"/>
                    <a:pt x="8" y="360"/>
                  </a:cubicBezTo>
                  <a:cubicBezTo>
                    <a:pt x="10" y="363"/>
                    <a:pt x="10" y="363"/>
                    <a:pt x="10" y="363"/>
                  </a:cubicBezTo>
                  <a:close/>
                  <a:moveTo>
                    <a:pt x="11" y="366"/>
                  </a:moveTo>
                  <a:cubicBezTo>
                    <a:pt x="10" y="366"/>
                    <a:pt x="11" y="364"/>
                    <a:pt x="11" y="364"/>
                  </a:cubicBezTo>
                  <a:cubicBezTo>
                    <a:pt x="11" y="366"/>
                    <a:pt x="13" y="368"/>
                    <a:pt x="11" y="366"/>
                  </a:cubicBezTo>
                  <a:close/>
                  <a:moveTo>
                    <a:pt x="8" y="341"/>
                  </a:moveTo>
                  <a:cubicBezTo>
                    <a:pt x="8" y="341"/>
                    <a:pt x="5" y="340"/>
                    <a:pt x="5" y="341"/>
                  </a:cubicBezTo>
                  <a:cubicBezTo>
                    <a:pt x="5" y="343"/>
                    <a:pt x="6" y="341"/>
                    <a:pt x="6" y="343"/>
                  </a:cubicBezTo>
                  <a:cubicBezTo>
                    <a:pt x="8" y="343"/>
                    <a:pt x="8" y="343"/>
                    <a:pt x="8" y="341"/>
                  </a:cubicBezTo>
                  <a:close/>
                  <a:moveTo>
                    <a:pt x="11" y="335"/>
                  </a:moveTo>
                  <a:cubicBezTo>
                    <a:pt x="11" y="335"/>
                    <a:pt x="11" y="336"/>
                    <a:pt x="11" y="335"/>
                  </a:cubicBezTo>
                  <a:cubicBezTo>
                    <a:pt x="10" y="333"/>
                    <a:pt x="11" y="333"/>
                    <a:pt x="11" y="332"/>
                  </a:cubicBezTo>
                  <a:cubicBezTo>
                    <a:pt x="10" y="330"/>
                    <a:pt x="10" y="329"/>
                    <a:pt x="10" y="330"/>
                  </a:cubicBezTo>
                  <a:cubicBezTo>
                    <a:pt x="8" y="332"/>
                    <a:pt x="10" y="332"/>
                    <a:pt x="10" y="333"/>
                  </a:cubicBezTo>
                  <a:cubicBezTo>
                    <a:pt x="10" y="335"/>
                    <a:pt x="8" y="332"/>
                    <a:pt x="6" y="333"/>
                  </a:cubicBezTo>
                  <a:cubicBezTo>
                    <a:pt x="6" y="335"/>
                    <a:pt x="8" y="335"/>
                    <a:pt x="10" y="336"/>
                  </a:cubicBezTo>
                  <a:cubicBezTo>
                    <a:pt x="11" y="336"/>
                    <a:pt x="11" y="336"/>
                    <a:pt x="11" y="335"/>
                  </a:cubicBezTo>
                  <a:close/>
                  <a:moveTo>
                    <a:pt x="16" y="327"/>
                  </a:moveTo>
                  <a:cubicBezTo>
                    <a:pt x="16" y="329"/>
                    <a:pt x="16" y="327"/>
                    <a:pt x="17" y="327"/>
                  </a:cubicBezTo>
                  <a:cubicBezTo>
                    <a:pt x="17" y="327"/>
                    <a:pt x="16" y="327"/>
                    <a:pt x="14" y="326"/>
                  </a:cubicBezTo>
                  <a:cubicBezTo>
                    <a:pt x="14" y="326"/>
                    <a:pt x="11" y="326"/>
                    <a:pt x="11" y="327"/>
                  </a:cubicBezTo>
                  <a:cubicBezTo>
                    <a:pt x="11" y="329"/>
                    <a:pt x="14" y="327"/>
                    <a:pt x="16" y="327"/>
                  </a:cubicBezTo>
                  <a:close/>
                  <a:moveTo>
                    <a:pt x="8" y="333"/>
                  </a:moveTo>
                  <a:cubicBezTo>
                    <a:pt x="8" y="332"/>
                    <a:pt x="8" y="332"/>
                    <a:pt x="8" y="330"/>
                  </a:cubicBezTo>
                  <a:cubicBezTo>
                    <a:pt x="8" y="330"/>
                    <a:pt x="6" y="330"/>
                    <a:pt x="6" y="329"/>
                  </a:cubicBezTo>
                  <a:cubicBezTo>
                    <a:pt x="5" y="329"/>
                    <a:pt x="5" y="332"/>
                    <a:pt x="6" y="333"/>
                  </a:cubicBezTo>
                  <a:cubicBezTo>
                    <a:pt x="8" y="333"/>
                    <a:pt x="8" y="333"/>
                    <a:pt x="8" y="333"/>
                  </a:cubicBezTo>
                  <a:close/>
                  <a:moveTo>
                    <a:pt x="3" y="343"/>
                  </a:moveTo>
                  <a:cubicBezTo>
                    <a:pt x="3" y="341"/>
                    <a:pt x="5" y="343"/>
                    <a:pt x="3" y="341"/>
                  </a:cubicBezTo>
                  <a:cubicBezTo>
                    <a:pt x="3" y="340"/>
                    <a:pt x="3" y="341"/>
                    <a:pt x="3" y="341"/>
                  </a:cubicBezTo>
                  <a:cubicBezTo>
                    <a:pt x="2" y="341"/>
                    <a:pt x="2" y="343"/>
                    <a:pt x="2" y="343"/>
                  </a:cubicBezTo>
                  <a:cubicBezTo>
                    <a:pt x="3" y="344"/>
                    <a:pt x="3" y="344"/>
                    <a:pt x="3" y="343"/>
                  </a:cubicBezTo>
                  <a:close/>
                  <a:moveTo>
                    <a:pt x="8" y="326"/>
                  </a:moveTo>
                  <a:cubicBezTo>
                    <a:pt x="8" y="326"/>
                    <a:pt x="8" y="327"/>
                    <a:pt x="6" y="327"/>
                  </a:cubicBezTo>
                  <a:cubicBezTo>
                    <a:pt x="5" y="327"/>
                    <a:pt x="5" y="329"/>
                    <a:pt x="6" y="329"/>
                  </a:cubicBezTo>
                  <a:cubicBezTo>
                    <a:pt x="8" y="329"/>
                    <a:pt x="6" y="329"/>
                    <a:pt x="8" y="329"/>
                  </a:cubicBezTo>
                  <a:cubicBezTo>
                    <a:pt x="8" y="329"/>
                    <a:pt x="10" y="326"/>
                    <a:pt x="8" y="326"/>
                  </a:cubicBezTo>
                  <a:close/>
                  <a:moveTo>
                    <a:pt x="6" y="335"/>
                  </a:moveTo>
                  <a:cubicBezTo>
                    <a:pt x="6" y="333"/>
                    <a:pt x="5" y="332"/>
                    <a:pt x="5" y="330"/>
                  </a:cubicBezTo>
                  <a:cubicBezTo>
                    <a:pt x="3" y="329"/>
                    <a:pt x="3" y="329"/>
                    <a:pt x="3" y="329"/>
                  </a:cubicBezTo>
                  <a:cubicBezTo>
                    <a:pt x="2" y="330"/>
                    <a:pt x="3" y="330"/>
                    <a:pt x="3" y="332"/>
                  </a:cubicBezTo>
                  <a:cubicBezTo>
                    <a:pt x="2" y="332"/>
                    <a:pt x="2" y="333"/>
                    <a:pt x="3" y="333"/>
                  </a:cubicBezTo>
                  <a:cubicBezTo>
                    <a:pt x="5" y="332"/>
                    <a:pt x="5" y="333"/>
                    <a:pt x="5" y="335"/>
                  </a:cubicBezTo>
                  <a:cubicBezTo>
                    <a:pt x="5" y="336"/>
                    <a:pt x="5" y="336"/>
                    <a:pt x="5" y="336"/>
                  </a:cubicBezTo>
                  <a:cubicBezTo>
                    <a:pt x="6" y="335"/>
                    <a:pt x="6" y="335"/>
                    <a:pt x="6" y="335"/>
                  </a:cubicBezTo>
                  <a:close/>
                  <a:moveTo>
                    <a:pt x="3" y="336"/>
                  </a:moveTo>
                  <a:cubicBezTo>
                    <a:pt x="5" y="335"/>
                    <a:pt x="3" y="333"/>
                    <a:pt x="3" y="333"/>
                  </a:cubicBezTo>
                  <a:cubicBezTo>
                    <a:pt x="2" y="335"/>
                    <a:pt x="2" y="333"/>
                    <a:pt x="2" y="335"/>
                  </a:cubicBezTo>
                  <a:cubicBezTo>
                    <a:pt x="2" y="336"/>
                    <a:pt x="2" y="336"/>
                    <a:pt x="3" y="336"/>
                  </a:cubicBezTo>
                  <a:close/>
                  <a:moveTo>
                    <a:pt x="3" y="340"/>
                  </a:moveTo>
                  <a:cubicBezTo>
                    <a:pt x="5" y="340"/>
                    <a:pt x="5" y="341"/>
                    <a:pt x="5" y="340"/>
                  </a:cubicBezTo>
                  <a:cubicBezTo>
                    <a:pt x="5" y="340"/>
                    <a:pt x="5" y="338"/>
                    <a:pt x="3" y="338"/>
                  </a:cubicBezTo>
                  <a:cubicBezTo>
                    <a:pt x="3" y="338"/>
                    <a:pt x="0" y="338"/>
                    <a:pt x="2" y="340"/>
                  </a:cubicBezTo>
                  <a:cubicBezTo>
                    <a:pt x="3" y="340"/>
                    <a:pt x="3" y="340"/>
                    <a:pt x="3" y="340"/>
                  </a:cubicBezTo>
                  <a:close/>
                  <a:moveTo>
                    <a:pt x="5" y="326"/>
                  </a:moveTo>
                  <a:cubicBezTo>
                    <a:pt x="5" y="326"/>
                    <a:pt x="6" y="324"/>
                    <a:pt x="6" y="326"/>
                  </a:cubicBezTo>
                  <a:cubicBezTo>
                    <a:pt x="6" y="326"/>
                    <a:pt x="5" y="327"/>
                    <a:pt x="5" y="326"/>
                  </a:cubicBezTo>
                  <a:close/>
                  <a:moveTo>
                    <a:pt x="13" y="318"/>
                  </a:moveTo>
                  <a:cubicBezTo>
                    <a:pt x="13" y="316"/>
                    <a:pt x="16" y="316"/>
                    <a:pt x="14" y="318"/>
                  </a:cubicBezTo>
                  <a:cubicBezTo>
                    <a:pt x="13" y="318"/>
                    <a:pt x="13" y="318"/>
                    <a:pt x="13" y="318"/>
                  </a:cubicBezTo>
                  <a:close/>
                  <a:moveTo>
                    <a:pt x="3" y="336"/>
                  </a:moveTo>
                  <a:cubicBezTo>
                    <a:pt x="5" y="336"/>
                    <a:pt x="5" y="336"/>
                    <a:pt x="3" y="336"/>
                  </a:cubicBezTo>
                  <a:cubicBezTo>
                    <a:pt x="2" y="336"/>
                    <a:pt x="2" y="336"/>
                    <a:pt x="2" y="338"/>
                  </a:cubicBezTo>
                  <a:cubicBezTo>
                    <a:pt x="2" y="338"/>
                    <a:pt x="2" y="338"/>
                    <a:pt x="3" y="336"/>
                  </a:cubicBezTo>
                  <a:close/>
                  <a:moveTo>
                    <a:pt x="6" y="340"/>
                  </a:moveTo>
                  <a:cubicBezTo>
                    <a:pt x="6" y="340"/>
                    <a:pt x="6" y="338"/>
                    <a:pt x="5" y="338"/>
                  </a:cubicBezTo>
                  <a:cubicBezTo>
                    <a:pt x="5" y="338"/>
                    <a:pt x="5" y="338"/>
                    <a:pt x="5" y="340"/>
                  </a:cubicBezTo>
                  <a:cubicBezTo>
                    <a:pt x="5" y="340"/>
                    <a:pt x="5" y="340"/>
                    <a:pt x="6" y="340"/>
                  </a:cubicBezTo>
                  <a:close/>
                  <a:moveTo>
                    <a:pt x="14" y="333"/>
                  </a:moveTo>
                  <a:cubicBezTo>
                    <a:pt x="14" y="333"/>
                    <a:pt x="13" y="332"/>
                    <a:pt x="11" y="332"/>
                  </a:cubicBezTo>
                  <a:cubicBezTo>
                    <a:pt x="11" y="330"/>
                    <a:pt x="11" y="329"/>
                    <a:pt x="11" y="330"/>
                  </a:cubicBezTo>
                  <a:cubicBezTo>
                    <a:pt x="11" y="333"/>
                    <a:pt x="11" y="332"/>
                    <a:pt x="11" y="333"/>
                  </a:cubicBezTo>
                  <a:cubicBezTo>
                    <a:pt x="13" y="333"/>
                    <a:pt x="14" y="333"/>
                    <a:pt x="14" y="333"/>
                  </a:cubicBezTo>
                  <a:close/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73" name="Freeform 233">
              <a:extLst>
                <a:ext uri="{FF2B5EF4-FFF2-40B4-BE49-F238E27FC236}">
                  <a16:creationId xmlns:a16="http://schemas.microsoft.com/office/drawing/2014/main" id="{E4576D4F-DA88-8226-3CFB-7EAF6EA4C6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613014" y="5425710"/>
              <a:ext cx="494775" cy="1172113"/>
            </a:xfrm>
            <a:custGeom>
              <a:avLst/>
              <a:gdLst/>
              <a:ahLst/>
              <a:cxnLst>
                <a:cxn ang="0">
                  <a:pos x="124" y="104"/>
                </a:cxn>
                <a:cxn ang="0">
                  <a:pos x="130" y="140"/>
                </a:cxn>
                <a:cxn ang="0">
                  <a:pos x="131" y="166"/>
                </a:cxn>
                <a:cxn ang="0">
                  <a:pos x="93" y="180"/>
                </a:cxn>
                <a:cxn ang="0">
                  <a:pos x="92" y="199"/>
                </a:cxn>
                <a:cxn ang="0">
                  <a:pos x="69" y="202"/>
                </a:cxn>
                <a:cxn ang="0">
                  <a:pos x="81" y="222"/>
                </a:cxn>
                <a:cxn ang="0">
                  <a:pos x="73" y="227"/>
                </a:cxn>
                <a:cxn ang="0">
                  <a:pos x="58" y="250"/>
                </a:cxn>
                <a:cxn ang="0">
                  <a:pos x="64" y="275"/>
                </a:cxn>
                <a:cxn ang="0">
                  <a:pos x="49" y="298"/>
                </a:cxn>
                <a:cxn ang="0">
                  <a:pos x="43" y="335"/>
                </a:cxn>
                <a:cxn ang="0">
                  <a:pos x="13" y="328"/>
                </a:cxn>
                <a:cxn ang="0">
                  <a:pos x="2" y="306"/>
                </a:cxn>
                <a:cxn ang="0">
                  <a:pos x="11" y="281"/>
                </a:cxn>
                <a:cxn ang="0">
                  <a:pos x="16" y="261"/>
                </a:cxn>
                <a:cxn ang="0">
                  <a:pos x="17" y="247"/>
                </a:cxn>
                <a:cxn ang="0">
                  <a:pos x="16" y="228"/>
                </a:cxn>
                <a:cxn ang="0">
                  <a:pos x="16" y="206"/>
                </a:cxn>
                <a:cxn ang="0">
                  <a:pos x="22" y="179"/>
                </a:cxn>
                <a:cxn ang="0">
                  <a:pos x="26" y="151"/>
                </a:cxn>
                <a:cxn ang="0">
                  <a:pos x="31" y="119"/>
                </a:cxn>
                <a:cxn ang="0">
                  <a:pos x="28" y="91"/>
                </a:cxn>
                <a:cxn ang="0">
                  <a:pos x="34" y="67"/>
                </a:cxn>
                <a:cxn ang="0">
                  <a:pos x="42" y="33"/>
                </a:cxn>
                <a:cxn ang="0">
                  <a:pos x="52" y="11"/>
                </a:cxn>
                <a:cxn ang="0">
                  <a:pos x="66" y="5"/>
                </a:cxn>
                <a:cxn ang="0">
                  <a:pos x="86" y="3"/>
                </a:cxn>
                <a:cxn ang="0">
                  <a:pos x="101" y="20"/>
                </a:cxn>
                <a:cxn ang="0">
                  <a:pos x="128" y="39"/>
                </a:cxn>
                <a:cxn ang="0">
                  <a:pos x="121" y="56"/>
                </a:cxn>
                <a:cxn ang="0">
                  <a:pos x="145" y="57"/>
                </a:cxn>
                <a:cxn ang="0">
                  <a:pos x="159" y="42"/>
                </a:cxn>
                <a:cxn ang="0">
                  <a:pos x="133" y="82"/>
                </a:cxn>
                <a:cxn ang="0">
                  <a:pos x="45" y="366"/>
                </a:cxn>
                <a:cxn ang="0">
                  <a:pos x="64" y="366"/>
                </a:cxn>
                <a:cxn ang="0">
                  <a:pos x="66" y="363"/>
                </a:cxn>
                <a:cxn ang="0">
                  <a:pos x="46" y="349"/>
                </a:cxn>
                <a:cxn ang="0">
                  <a:pos x="43" y="345"/>
                </a:cxn>
                <a:cxn ang="0">
                  <a:pos x="42" y="366"/>
                </a:cxn>
                <a:cxn ang="0">
                  <a:pos x="78" y="365"/>
                </a:cxn>
                <a:cxn ang="0">
                  <a:pos x="72" y="366"/>
                </a:cxn>
                <a:cxn ang="0">
                  <a:pos x="49" y="370"/>
                </a:cxn>
                <a:cxn ang="0">
                  <a:pos x="51" y="368"/>
                </a:cxn>
                <a:cxn ang="0">
                  <a:pos x="45" y="371"/>
                </a:cxn>
                <a:cxn ang="0">
                  <a:pos x="55" y="371"/>
                </a:cxn>
                <a:cxn ang="0">
                  <a:pos x="58" y="370"/>
                </a:cxn>
              </a:cxnLst>
              <a:rect l="0" t="0" r="r" b="b"/>
              <a:pathLst>
                <a:path w="160" h="373">
                  <a:moveTo>
                    <a:pt x="128" y="87"/>
                  </a:moveTo>
                  <a:cubicBezTo>
                    <a:pt x="125" y="91"/>
                    <a:pt x="128" y="93"/>
                    <a:pt x="125" y="98"/>
                  </a:cubicBezTo>
                  <a:cubicBezTo>
                    <a:pt x="122" y="102"/>
                    <a:pt x="127" y="102"/>
                    <a:pt x="124" y="104"/>
                  </a:cubicBezTo>
                  <a:cubicBezTo>
                    <a:pt x="122" y="107"/>
                    <a:pt x="127" y="116"/>
                    <a:pt x="124" y="118"/>
                  </a:cubicBezTo>
                  <a:cubicBezTo>
                    <a:pt x="121" y="119"/>
                    <a:pt x="121" y="126"/>
                    <a:pt x="122" y="129"/>
                  </a:cubicBezTo>
                  <a:cubicBezTo>
                    <a:pt x="118" y="135"/>
                    <a:pt x="127" y="135"/>
                    <a:pt x="130" y="140"/>
                  </a:cubicBezTo>
                  <a:cubicBezTo>
                    <a:pt x="134" y="146"/>
                    <a:pt x="128" y="144"/>
                    <a:pt x="130" y="149"/>
                  </a:cubicBezTo>
                  <a:cubicBezTo>
                    <a:pt x="133" y="155"/>
                    <a:pt x="136" y="149"/>
                    <a:pt x="136" y="155"/>
                  </a:cubicBezTo>
                  <a:cubicBezTo>
                    <a:pt x="136" y="160"/>
                    <a:pt x="134" y="163"/>
                    <a:pt x="131" y="166"/>
                  </a:cubicBezTo>
                  <a:cubicBezTo>
                    <a:pt x="128" y="171"/>
                    <a:pt x="131" y="171"/>
                    <a:pt x="127" y="174"/>
                  </a:cubicBezTo>
                  <a:cubicBezTo>
                    <a:pt x="121" y="177"/>
                    <a:pt x="110" y="180"/>
                    <a:pt x="102" y="182"/>
                  </a:cubicBezTo>
                  <a:cubicBezTo>
                    <a:pt x="95" y="182"/>
                    <a:pt x="96" y="183"/>
                    <a:pt x="93" y="180"/>
                  </a:cubicBezTo>
                  <a:cubicBezTo>
                    <a:pt x="89" y="179"/>
                    <a:pt x="90" y="183"/>
                    <a:pt x="92" y="185"/>
                  </a:cubicBezTo>
                  <a:cubicBezTo>
                    <a:pt x="95" y="186"/>
                    <a:pt x="93" y="189"/>
                    <a:pt x="92" y="192"/>
                  </a:cubicBezTo>
                  <a:cubicBezTo>
                    <a:pt x="90" y="194"/>
                    <a:pt x="89" y="197"/>
                    <a:pt x="92" y="199"/>
                  </a:cubicBezTo>
                  <a:cubicBezTo>
                    <a:pt x="93" y="200"/>
                    <a:pt x="93" y="202"/>
                    <a:pt x="87" y="205"/>
                  </a:cubicBezTo>
                  <a:cubicBezTo>
                    <a:pt x="83" y="206"/>
                    <a:pt x="86" y="205"/>
                    <a:pt x="81" y="205"/>
                  </a:cubicBezTo>
                  <a:cubicBezTo>
                    <a:pt x="77" y="206"/>
                    <a:pt x="73" y="200"/>
                    <a:pt x="69" y="202"/>
                  </a:cubicBezTo>
                  <a:cubicBezTo>
                    <a:pt x="66" y="203"/>
                    <a:pt x="70" y="208"/>
                    <a:pt x="69" y="213"/>
                  </a:cubicBezTo>
                  <a:cubicBezTo>
                    <a:pt x="69" y="219"/>
                    <a:pt x="72" y="219"/>
                    <a:pt x="78" y="216"/>
                  </a:cubicBezTo>
                  <a:cubicBezTo>
                    <a:pt x="81" y="216"/>
                    <a:pt x="81" y="220"/>
                    <a:pt x="81" y="222"/>
                  </a:cubicBezTo>
                  <a:cubicBezTo>
                    <a:pt x="80" y="227"/>
                    <a:pt x="77" y="227"/>
                    <a:pt x="75" y="224"/>
                  </a:cubicBezTo>
                  <a:cubicBezTo>
                    <a:pt x="73" y="220"/>
                    <a:pt x="67" y="222"/>
                    <a:pt x="70" y="225"/>
                  </a:cubicBezTo>
                  <a:cubicBezTo>
                    <a:pt x="73" y="227"/>
                    <a:pt x="77" y="225"/>
                    <a:pt x="73" y="227"/>
                  </a:cubicBezTo>
                  <a:cubicBezTo>
                    <a:pt x="67" y="228"/>
                    <a:pt x="66" y="234"/>
                    <a:pt x="67" y="237"/>
                  </a:cubicBezTo>
                  <a:cubicBezTo>
                    <a:pt x="70" y="245"/>
                    <a:pt x="63" y="244"/>
                    <a:pt x="64" y="247"/>
                  </a:cubicBezTo>
                  <a:cubicBezTo>
                    <a:pt x="67" y="250"/>
                    <a:pt x="60" y="248"/>
                    <a:pt x="58" y="250"/>
                  </a:cubicBezTo>
                  <a:cubicBezTo>
                    <a:pt x="57" y="253"/>
                    <a:pt x="55" y="248"/>
                    <a:pt x="52" y="256"/>
                  </a:cubicBezTo>
                  <a:cubicBezTo>
                    <a:pt x="48" y="262"/>
                    <a:pt x="48" y="262"/>
                    <a:pt x="52" y="269"/>
                  </a:cubicBezTo>
                  <a:cubicBezTo>
                    <a:pt x="58" y="276"/>
                    <a:pt x="63" y="270"/>
                    <a:pt x="64" y="275"/>
                  </a:cubicBezTo>
                  <a:cubicBezTo>
                    <a:pt x="64" y="281"/>
                    <a:pt x="61" y="279"/>
                    <a:pt x="63" y="281"/>
                  </a:cubicBezTo>
                  <a:cubicBezTo>
                    <a:pt x="64" y="284"/>
                    <a:pt x="60" y="284"/>
                    <a:pt x="60" y="287"/>
                  </a:cubicBezTo>
                  <a:cubicBezTo>
                    <a:pt x="60" y="289"/>
                    <a:pt x="51" y="290"/>
                    <a:pt x="49" y="298"/>
                  </a:cubicBezTo>
                  <a:cubicBezTo>
                    <a:pt x="48" y="304"/>
                    <a:pt x="49" y="307"/>
                    <a:pt x="43" y="309"/>
                  </a:cubicBezTo>
                  <a:cubicBezTo>
                    <a:pt x="35" y="312"/>
                    <a:pt x="37" y="318"/>
                    <a:pt x="37" y="323"/>
                  </a:cubicBezTo>
                  <a:cubicBezTo>
                    <a:pt x="38" y="331"/>
                    <a:pt x="45" y="335"/>
                    <a:pt x="43" y="335"/>
                  </a:cubicBezTo>
                  <a:cubicBezTo>
                    <a:pt x="42" y="332"/>
                    <a:pt x="34" y="334"/>
                    <a:pt x="29" y="331"/>
                  </a:cubicBezTo>
                  <a:cubicBezTo>
                    <a:pt x="29" y="331"/>
                    <a:pt x="22" y="331"/>
                    <a:pt x="17" y="331"/>
                  </a:cubicBezTo>
                  <a:cubicBezTo>
                    <a:pt x="13" y="331"/>
                    <a:pt x="16" y="329"/>
                    <a:pt x="13" y="328"/>
                  </a:cubicBezTo>
                  <a:cubicBezTo>
                    <a:pt x="10" y="326"/>
                    <a:pt x="13" y="314"/>
                    <a:pt x="10" y="314"/>
                  </a:cubicBezTo>
                  <a:cubicBezTo>
                    <a:pt x="7" y="314"/>
                    <a:pt x="5" y="318"/>
                    <a:pt x="5" y="314"/>
                  </a:cubicBezTo>
                  <a:cubicBezTo>
                    <a:pt x="3" y="307"/>
                    <a:pt x="0" y="310"/>
                    <a:pt x="2" y="306"/>
                  </a:cubicBezTo>
                  <a:cubicBezTo>
                    <a:pt x="3" y="303"/>
                    <a:pt x="0" y="298"/>
                    <a:pt x="3" y="300"/>
                  </a:cubicBezTo>
                  <a:cubicBezTo>
                    <a:pt x="7" y="300"/>
                    <a:pt x="8" y="290"/>
                    <a:pt x="11" y="289"/>
                  </a:cubicBezTo>
                  <a:cubicBezTo>
                    <a:pt x="14" y="286"/>
                    <a:pt x="8" y="284"/>
                    <a:pt x="11" y="281"/>
                  </a:cubicBezTo>
                  <a:cubicBezTo>
                    <a:pt x="13" y="279"/>
                    <a:pt x="10" y="279"/>
                    <a:pt x="14" y="275"/>
                  </a:cubicBezTo>
                  <a:cubicBezTo>
                    <a:pt x="19" y="272"/>
                    <a:pt x="11" y="272"/>
                    <a:pt x="16" y="269"/>
                  </a:cubicBezTo>
                  <a:cubicBezTo>
                    <a:pt x="19" y="267"/>
                    <a:pt x="14" y="262"/>
                    <a:pt x="16" y="261"/>
                  </a:cubicBezTo>
                  <a:cubicBezTo>
                    <a:pt x="19" y="259"/>
                    <a:pt x="13" y="256"/>
                    <a:pt x="17" y="255"/>
                  </a:cubicBezTo>
                  <a:cubicBezTo>
                    <a:pt x="20" y="253"/>
                    <a:pt x="20" y="248"/>
                    <a:pt x="16" y="248"/>
                  </a:cubicBezTo>
                  <a:cubicBezTo>
                    <a:pt x="13" y="247"/>
                    <a:pt x="13" y="245"/>
                    <a:pt x="17" y="247"/>
                  </a:cubicBezTo>
                  <a:cubicBezTo>
                    <a:pt x="22" y="247"/>
                    <a:pt x="23" y="241"/>
                    <a:pt x="17" y="242"/>
                  </a:cubicBezTo>
                  <a:cubicBezTo>
                    <a:pt x="13" y="244"/>
                    <a:pt x="19" y="237"/>
                    <a:pt x="17" y="236"/>
                  </a:cubicBezTo>
                  <a:cubicBezTo>
                    <a:pt x="14" y="234"/>
                    <a:pt x="17" y="230"/>
                    <a:pt x="16" y="228"/>
                  </a:cubicBezTo>
                  <a:cubicBezTo>
                    <a:pt x="16" y="227"/>
                    <a:pt x="13" y="227"/>
                    <a:pt x="13" y="220"/>
                  </a:cubicBezTo>
                  <a:cubicBezTo>
                    <a:pt x="14" y="214"/>
                    <a:pt x="16" y="219"/>
                    <a:pt x="16" y="216"/>
                  </a:cubicBezTo>
                  <a:cubicBezTo>
                    <a:pt x="17" y="214"/>
                    <a:pt x="14" y="213"/>
                    <a:pt x="16" y="206"/>
                  </a:cubicBezTo>
                  <a:cubicBezTo>
                    <a:pt x="16" y="200"/>
                    <a:pt x="13" y="202"/>
                    <a:pt x="16" y="199"/>
                  </a:cubicBezTo>
                  <a:cubicBezTo>
                    <a:pt x="19" y="196"/>
                    <a:pt x="14" y="191"/>
                    <a:pt x="17" y="188"/>
                  </a:cubicBezTo>
                  <a:cubicBezTo>
                    <a:pt x="20" y="186"/>
                    <a:pt x="16" y="183"/>
                    <a:pt x="22" y="179"/>
                  </a:cubicBezTo>
                  <a:cubicBezTo>
                    <a:pt x="25" y="177"/>
                    <a:pt x="20" y="169"/>
                    <a:pt x="20" y="166"/>
                  </a:cubicBezTo>
                  <a:cubicBezTo>
                    <a:pt x="22" y="163"/>
                    <a:pt x="20" y="158"/>
                    <a:pt x="22" y="155"/>
                  </a:cubicBezTo>
                  <a:cubicBezTo>
                    <a:pt x="22" y="152"/>
                    <a:pt x="23" y="155"/>
                    <a:pt x="26" y="151"/>
                  </a:cubicBezTo>
                  <a:cubicBezTo>
                    <a:pt x="28" y="147"/>
                    <a:pt x="26" y="146"/>
                    <a:pt x="28" y="136"/>
                  </a:cubicBezTo>
                  <a:cubicBezTo>
                    <a:pt x="28" y="129"/>
                    <a:pt x="32" y="132"/>
                    <a:pt x="31" y="127"/>
                  </a:cubicBezTo>
                  <a:cubicBezTo>
                    <a:pt x="31" y="123"/>
                    <a:pt x="34" y="119"/>
                    <a:pt x="31" y="119"/>
                  </a:cubicBezTo>
                  <a:cubicBezTo>
                    <a:pt x="28" y="119"/>
                    <a:pt x="31" y="118"/>
                    <a:pt x="29" y="113"/>
                  </a:cubicBezTo>
                  <a:cubicBezTo>
                    <a:pt x="28" y="109"/>
                    <a:pt x="28" y="106"/>
                    <a:pt x="26" y="102"/>
                  </a:cubicBezTo>
                  <a:cubicBezTo>
                    <a:pt x="25" y="101"/>
                    <a:pt x="26" y="96"/>
                    <a:pt x="28" y="91"/>
                  </a:cubicBezTo>
                  <a:cubicBezTo>
                    <a:pt x="29" y="87"/>
                    <a:pt x="29" y="90"/>
                    <a:pt x="31" y="88"/>
                  </a:cubicBezTo>
                  <a:cubicBezTo>
                    <a:pt x="32" y="85"/>
                    <a:pt x="28" y="79"/>
                    <a:pt x="31" y="76"/>
                  </a:cubicBezTo>
                  <a:cubicBezTo>
                    <a:pt x="32" y="74"/>
                    <a:pt x="32" y="68"/>
                    <a:pt x="34" y="67"/>
                  </a:cubicBezTo>
                  <a:cubicBezTo>
                    <a:pt x="37" y="65"/>
                    <a:pt x="35" y="67"/>
                    <a:pt x="38" y="59"/>
                  </a:cubicBezTo>
                  <a:cubicBezTo>
                    <a:pt x="40" y="51"/>
                    <a:pt x="46" y="59"/>
                    <a:pt x="43" y="51"/>
                  </a:cubicBezTo>
                  <a:cubicBezTo>
                    <a:pt x="40" y="46"/>
                    <a:pt x="43" y="34"/>
                    <a:pt x="42" y="33"/>
                  </a:cubicBezTo>
                  <a:cubicBezTo>
                    <a:pt x="40" y="28"/>
                    <a:pt x="48" y="25"/>
                    <a:pt x="49" y="25"/>
                  </a:cubicBezTo>
                  <a:cubicBezTo>
                    <a:pt x="52" y="23"/>
                    <a:pt x="52" y="19"/>
                    <a:pt x="52" y="15"/>
                  </a:cubicBezTo>
                  <a:cubicBezTo>
                    <a:pt x="54" y="14"/>
                    <a:pt x="54" y="12"/>
                    <a:pt x="52" y="11"/>
                  </a:cubicBezTo>
                  <a:cubicBezTo>
                    <a:pt x="55" y="9"/>
                    <a:pt x="55" y="6"/>
                    <a:pt x="57" y="5"/>
                  </a:cubicBezTo>
                  <a:cubicBezTo>
                    <a:pt x="60" y="3"/>
                    <a:pt x="58" y="1"/>
                    <a:pt x="60" y="0"/>
                  </a:cubicBezTo>
                  <a:cubicBezTo>
                    <a:pt x="61" y="0"/>
                    <a:pt x="61" y="5"/>
                    <a:pt x="66" y="5"/>
                  </a:cubicBezTo>
                  <a:cubicBezTo>
                    <a:pt x="70" y="3"/>
                    <a:pt x="73" y="3"/>
                    <a:pt x="75" y="11"/>
                  </a:cubicBezTo>
                  <a:cubicBezTo>
                    <a:pt x="77" y="5"/>
                    <a:pt x="78" y="3"/>
                    <a:pt x="80" y="3"/>
                  </a:cubicBezTo>
                  <a:cubicBezTo>
                    <a:pt x="83" y="3"/>
                    <a:pt x="84" y="3"/>
                    <a:pt x="86" y="3"/>
                  </a:cubicBezTo>
                  <a:cubicBezTo>
                    <a:pt x="87" y="3"/>
                    <a:pt x="87" y="5"/>
                    <a:pt x="89" y="6"/>
                  </a:cubicBezTo>
                  <a:cubicBezTo>
                    <a:pt x="90" y="8"/>
                    <a:pt x="90" y="6"/>
                    <a:pt x="92" y="11"/>
                  </a:cubicBezTo>
                  <a:cubicBezTo>
                    <a:pt x="95" y="17"/>
                    <a:pt x="99" y="17"/>
                    <a:pt x="101" y="20"/>
                  </a:cubicBezTo>
                  <a:cubicBezTo>
                    <a:pt x="102" y="23"/>
                    <a:pt x="107" y="22"/>
                    <a:pt x="112" y="26"/>
                  </a:cubicBezTo>
                  <a:cubicBezTo>
                    <a:pt x="118" y="31"/>
                    <a:pt x="121" y="33"/>
                    <a:pt x="124" y="33"/>
                  </a:cubicBezTo>
                  <a:cubicBezTo>
                    <a:pt x="125" y="33"/>
                    <a:pt x="130" y="37"/>
                    <a:pt x="128" y="39"/>
                  </a:cubicBezTo>
                  <a:cubicBezTo>
                    <a:pt x="125" y="43"/>
                    <a:pt x="128" y="43"/>
                    <a:pt x="125" y="45"/>
                  </a:cubicBezTo>
                  <a:cubicBezTo>
                    <a:pt x="122" y="46"/>
                    <a:pt x="125" y="48"/>
                    <a:pt x="124" y="51"/>
                  </a:cubicBezTo>
                  <a:cubicBezTo>
                    <a:pt x="122" y="54"/>
                    <a:pt x="119" y="54"/>
                    <a:pt x="121" y="56"/>
                  </a:cubicBezTo>
                  <a:cubicBezTo>
                    <a:pt x="121" y="59"/>
                    <a:pt x="121" y="57"/>
                    <a:pt x="125" y="57"/>
                  </a:cubicBezTo>
                  <a:cubicBezTo>
                    <a:pt x="131" y="57"/>
                    <a:pt x="134" y="62"/>
                    <a:pt x="139" y="59"/>
                  </a:cubicBezTo>
                  <a:cubicBezTo>
                    <a:pt x="142" y="54"/>
                    <a:pt x="144" y="62"/>
                    <a:pt x="145" y="57"/>
                  </a:cubicBezTo>
                  <a:cubicBezTo>
                    <a:pt x="145" y="53"/>
                    <a:pt x="150" y="53"/>
                    <a:pt x="151" y="48"/>
                  </a:cubicBezTo>
                  <a:cubicBezTo>
                    <a:pt x="151" y="43"/>
                    <a:pt x="153" y="45"/>
                    <a:pt x="151" y="39"/>
                  </a:cubicBezTo>
                  <a:cubicBezTo>
                    <a:pt x="154" y="40"/>
                    <a:pt x="156" y="34"/>
                    <a:pt x="159" y="42"/>
                  </a:cubicBezTo>
                  <a:cubicBezTo>
                    <a:pt x="160" y="48"/>
                    <a:pt x="160" y="54"/>
                    <a:pt x="156" y="57"/>
                  </a:cubicBezTo>
                  <a:cubicBezTo>
                    <a:pt x="151" y="60"/>
                    <a:pt x="145" y="64"/>
                    <a:pt x="140" y="71"/>
                  </a:cubicBezTo>
                  <a:cubicBezTo>
                    <a:pt x="134" y="79"/>
                    <a:pt x="134" y="82"/>
                    <a:pt x="133" y="82"/>
                  </a:cubicBezTo>
                  <a:cubicBezTo>
                    <a:pt x="130" y="84"/>
                    <a:pt x="130" y="85"/>
                    <a:pt x="128" y="87"/>
                  </a:cubicBezTo>
                  <a:close/>
                  <a:moveTo>
                    <a:pt x="42" y="366"/>
                  </a:moveTo>
                  <a:cubicBezTo>
                    <a:pt x="45" y="366"/>
                    <a:pt x="42" y="365"/>
                    <a:pt x="45" y="366"/>
                  </a:cubicBezTo>
                  <a:cubicBezTo>
                    <a:pt x="48" y="366"/>
                    <a:pt x="54" y="366"/>
                    <a:pt x="57" y="368"/>
                  </a:cubicBezTo>
                  <a:cubicBezTo>
                    <a:pt x="60" y="370"/>
                    <a:pt x="58" y="368"/>
                    <a:pt x="60" y="368"/>
                  </a:cubicBezTo>
                  <a:cubicBezTo>
                    <a:pt x="63" y="368"/>
                    <a:pt x="63" y="365"/>
                    <a:pt x="64" y="366"/>
                  </a:cubicBezTo>
                  <a:cubicBezTo>
                    <a:pt x="64" y="368"/>
                    <a:pt x="64" y="366"/>
                    <a:pt x="66" y="366"/>
                  </a:cubicBezTo>
                  <a:cubicBezTo>
                    <a:pt x="67" y="366"/>
                    <a:pt x="67" y="366"/>
                    <a:pt x="67" y="365"/>
                  </a:cubicBezTo>
                  <a:cubicBezTo>
                    <a:pt x="69" y="363"/>
                    <a:pt x="67" y="363"/>
                    <a:pt x="66" y="363"/>
                  </a:cubicBezTo>
                  <a:cubicBezTo>
                    <a:pt x="63" y="365"/>
                    <a:pt x="63" y="363"/>
                    <a:pt x="60" y="362"/>
                  </a:cubicBezTo>
                  <a:cubicBezTo>
                    <a:pt x="58" y="362"/>
                    <a:pt x="57" y="359"/>
                    <a:pt x="54" y="357"/>
                  </a:cubicBezTo>
                  <a:cubicBezTo>
                    <a:pt x="51" y="356"/>
                    <a:pt x="46" y="351"/>
                    <a:pt x="46" y="349"/>
                  </a:cubicBezTo>
                  <a:cubicBezTo>
                    <a:pt x="45" y="348"/>
                    <a:pt x="46" y="346"/>
                    <a:pt x="43" y="346"/>
                  </a:cubicBezTo>
                  <a:cubicBezTo>
                    <a:pt x="42" y="346"/>
                    <a:pt x="42" y="346"/>
                    <a:pt x="42" y="345"/>
                  </a:cubicBezTo>
                  <a:cubicBezTo>
                    <a:pt x="43" y="343"/>
                    <a:pt x="43" y="343"/>
                    <a:pt x="43" y="345"/>
                  </a:cubicBezTo>
                  <a:cubicBezTo>
                    <a:pt x="45" y="345"/>
                    <a:pt x="45" y="345"/>
                    <a:pt x="45" y="345"/>
                  </a:cubicBezTo>
                  <a:cubicBezTo>
                    <a:pt x="45" y="343"/>
                    <a:pt x="43" y="342"/>
                    <a:pt x="42" y="338"/>
                  </a:cubicBezTo>
                  <a:cubicBezTo>
                    <a:pt x="42" y="366"/>
                    <a:pt x="42" y="366"/>
                    <a:pt x="42" y="366"/>
                  </a:cubicBezTo>
                  <a:close/>
                  <a:moveTo>
                    <a:pt x="73" y="366"/>
                  </a:moveTo>
                  <a:cubicBezTo>
                    <a:pt x="75" y="365"/>
                    <a:pt x="75" y="366"/>
                    <a:pt x="77" y="366"/>
                  </a:cubicBezTo>
                  <a:cubicBezTo>
                    <a:pt x="78" y="365"/>
                    <a:pt x="77" y="366"/>
                    <a:pt x="78" y="365"/>
                  </a:cubicBezTo>
                  <a:cubicBezTo>
                    <a:pt x="80" y="365"/>
                    <a:pt x="80" y="363"/>
                    <a:pt x="78" y="365"/>
                  </a:cubicBezTo>
                  <a:cubicBezTo>
                    <a:pt x="77" y="365"/>
                    <a:pt x="77" y="363"/>
                    <a:pt x="73" y="365"/>
                  </a:cubicBezTo>
                  <a:cubicBezTo>
                    <a:pt x="73" y="365"/>
                    <a:pt x="70" y="365"/>
                    <a:pt x="72" y="366"/>
                  </a:cubicBezTo>
                  <a:cubicBezTo>
                    <a:pt x="73" y="366"/>
                    <a:pt x="73" y="366"/>
                    <a:pt x="73" y="366"/>
                  </a:cubicBezTo>
                  <a:close/>
                  <a:moveTo>
                    <a:pt x="48" y="371"/>
                  </a:moveTo>
                  <a:cubicBezTo>
                    <a:pt x="49" y="371"/>
                    <a:pt x="48" y="370"/>
                    <a:pt x="49" y="370"/>
                  </a:cubicBezTo>
                  <a:cubicBezTo>
                    <a:pt x="51" y="370"/>
                    <a:pt x="49" y="371"/>
                    <a:pt x="51" y="371"/>
                  </a:cubicBezTo>
                  <a:cubicBezTo>
                    <a:pt x="52" y="371"/>
                    <a:pt x="52" y="371"/>
                    <a:pt x="54" y="370"/>
                  </a:cubicBezTo>
                  <a:cubicBezTo>
                    <a:pt x="54" y="368"/>
                    <a:pt x="52" y="368"/>
                    <a:pt x="51" y="368"/>
                  </a:cubicBezTo>
                  <a:cubicBezTo>
                    <a:pt x="49" y="368"/>
                    <a:pt x="48" y="366"/>
                    <a:pt x="45" y="366"/>
                  </a:cubicBezTo>
                  <a:cubicBezTo>
                    <a:pt x="43" y="366"/>
                    <a:pt x="43" y="368"/>
                    <a:pt x="45" y="368"/>
                  </a:cubicBezTo>
                  <a:cubicBezTo>
                    <a:pt x="45" y="368"/>
                    <a:pt x="45" y="368"/>
                    <a:pt x="45" y="371"/>
                  </a:cubicBezTo>
                  <a:cubicBezTo>
                    <a:pt x="45" y="371"/>
                    <a:pt x="46" y="371"/>
                    <a:pt x="48" y="371"/>
                  </a:cubicBezTo>
                  <a:close/>
                  <a:moveTo>
                    <a:pt x="54" y="371"/>
                  </a:moveTo>
                  <a:cubicBezTo>
                    <a:pt x="54" y="371"/>
                    <a:pt x="55" y="370"/>
                    <a:pt x="55" y="371"/>
                  </a:cubicBezTo>
                  <a:cubicBezTo>
                    <a:pt x="55" y="373"/>
                    <a:pt x="54" y="373"/>
                    <a:pt x="54" y="371"/>
                  </a:cubicBezTo>
                  <a:close/>
                  <a:moveTo>
                    <a:pt x="57" y="371"/>
                  </a:moveTo>
                  <a:cubicBezTo>
                    <a:pt x="55" y="371"/>
                    <a:pt x="57" y="370"/>
                    <a:pt x="58" y="370"/>
                  </a:cubicBezTo>
                  <a:cubicBezTo>
                    <a:pt x="58" y="371"/>
                    <a:pt x="58" y="371"/>
                    <a:pt x="57" y="371"/>
                  </a:cubicBezTo>
                  <a:close/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74" name="Freeform 234">
              <a:extLst>
                <a:ext uri="{FF2B5EF4-FFF2-40B4-BE49-F238E27FC236}">
                  <a16:creationId xmlns:a16="http://schemas.microsoft.com/office/drawing/2014/main" id="{7CA8D63B-9C18-00B5-A1ED-453A20E58F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61504" y="6821236"/>
              <a:ext cx="27132" cy="21047"/>
            </a:xfrm>
            <a:custGeom>
              <a:avLst/>
              <a:gdLst/>
              <a:ahLst/>
              <a:cxnLst>
                <a:cxn ang="0">
                  <a:pos x="1" y="4"/>
                </a:cxn>
                <a:cxn ang="0">
                  <a:pos x="6" y="2"/>
                </a:cxn>
                <a:cxn ang="0">
                  <a:pos x="1" y="4"/>
                </a:cxn>
              </a:cxnLst>
              <a:rect l="0" t="0" r="r" b="b"/>
              <a:pathLst>
                <a:path w="9" h="7">
                  <a:moveTo>
                    <a:pt x="1" y="4"/>
                  </a:moveTo>
                  <a:cubicBezTo>
                    <a:pt x="0" y="2"/>
                    <a:pt x="3" y="0"/>
                    <a:pt x="6" y="2"/>
                  </a:cubicBezTo>
                  <a:cubicBezTo>
                    <a:pt x="9" y="4"/>
                    <a:pt x="3" y="7"/>
                    <a:pt x="1" y="4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75" name="Freeform 239">
              <a:extLst>
                <a:ext uri="{FF2B5EF4-FFF2-40B4-BE49-F238E27FC236}">
                  <a16:creationId xmlns:a16="http://schemas.microsoft.com/office/drawing/2014/main" id="{04CC2E0A-CA53-6BB5-1044-1AA8694AEF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82138" y="3907144"/>
              <a:ext cx="154817" cy="197511"/>
            </a:xfrm>
            <a:custGeom>
              <a:avLst/>
              <a:gdLst/>
              <a:ahLst/>
              <a:cxnLst>
                <a:cxn ang="0">
                  <a:pos x="42" y="61"/>
                </a:cxn>
                <a:cxn ang="0">
                  <a:pos x="47" y="59"/>
                </a:cxn>
                <a:cxn ang="0">
                  <a:pos x="45" y="63"/>
                </a:cxn>
                <a:cxn ang="0">
                  <a:pos x="42" y="61"/>
                </a:cxn>
                <a:cxn ang="0">
                  <a:pos x="11" y="27"/>
                </a:cxn>
                <a:cxn ang="0">
                  <a:pos x="11" y="22"/>
                </a:cxn>
                <a:cxn ang="0">
                  <a:pos x="9" y="19"/>
                </a:cxn>
                <a:cxn ang="0">
                  <a:pos x="7" y="23"/>
                </a:cxn>
                <a:cxn ang="0">
                  <a:pos x="9" y="27"/>
                </a:cxn>
                <a:cxn ang="0">
                  <a:pos x="11" y="27"/>
                </a:cxn>
                <a:cxn ang="0">
                  <a:pos x="12" y="33"/>
                </a:cxn>
                <a:cxn ang="0">
                  <a:pos x="12" y="30"/>
                </a:cxn>
                <a:cxn ang="0">
                  <a:pos x="11" y="28"/>
                </a:cxn>
                <a:cxn ang="0">
                  <a:pos x="11" y="31"/>
                </a:cxn>
                <a:cxn ang="0">
                  <a:pos x="12" y="33"/>
                </a:cxn>
                <a:cxn ang="0">
                  <a:pos x="6" y="3"/>
                </a:cxn>
                <a:cxn ang="0">
                  <a:pos x="9" y="3"/>
                </a:cxn>
                <a:cxn ang="0">
                  <a:pos x="4" y="2"/>
                </a:cxn>
                <a:cxn ang="0">
                  <a:pos x="3" y="3"/>
                </a:cxn>
                <a:cxn ang="0">
                  <a:pos x="3" y="5"/>
                </a:cxn>
                <a:cxn ang="0">
                  <a:pos x="6" y="3"/>
                </a:cxn>
                <a:cxn ang="0">
                  <a:pos x="17" y="8"/>
                </a:cxn>
                <a:cxn ang="0">
                  <a:pos x="15" y="5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5" y="5"/>
                </a:cxn>
                <a:cxn ang="0">
                  <a:pos x="15" y="8"/>
                </a:cxn>
                <a:cxn ang="0">
                  <a:pos x="15" y="11"/>
                </a:cxn>
                <a:cxn ang="0">
                  <a:pos x="17" y="8"/>
                </a:cxn>
                <a:cxn ang="0">
                  <a:pos x="48" y="49"/>
                </a:cxn>
                <a:cxn ang="0">
                  <a:pos x="50" y="49"/>
                </a:cxn>
                <a:cxn ang="0">
                  <a:pos x="47" y="47"/>
                </a:cxn>
                <a:cxn ang="0">
                  <a:pos x="48" y="49"/>
                </a:cxn>
                <a:cxn ang="0">
                  <a:pos x="23" y="19"/>
                </a:cxn>
                <a:cxn ang="0">
                  <a:pos x="21" y="23"/>
                </a:cxn>
                <a:cxn ang="0">
                  <a:pos x="23" y="25"/>
                </a:cxn>
                <a:cxn ang="0">
                  <a:pos x="23" y="23"/>
                </a:cxn>
                <a:cxn ang="0">
                  <a:pos x="23" y="17"/>
                </a:cxn>
                <a:cxn ang="0">
                  <a:pos x="18" y="16"/>
                </a:cxn>
                <a:cxn ang="0">
                  <a:pos x="23" y="19"/>
                </a:cxn>
                <a:cxn ang="0">
                  <a:pos x="39" y="47"/>
                </a:cxn>
                <a:cxn ang="0">
                  <a:pos x="39" y="49"/>
                </a:cxn>
                <a:cxn ang="0">
                  <a:pos x="41" y="44"/>
                </a:cxn>
                <a:cxn ang="0">
                  <a:pos x="38" y="42"/>
                </a:cxn>
                <a:cxn ang="0">
                  <a:pos x="39" y="45"/>
                </a:cxn>
                <a:cxn ang="0">
                  <a:pos x="39" y="47"/>
                </a:cxn>
                <a:cxn ang="0">
                  <a:pos x="26" y="36"/>
                </a:cxn>
                <a:cxn ang="0">
                  <a:pos x="26" y="36"/>
                </a:cxn>
                <a:cxn ang="0">
                  <a:pos x="24" y="34"/>
                </a:cxn>
                <a:cxn ang="0">
                  <a:pos x="26" y="36"/>
                </a:cxn>
                <a:cxn ang="0">
                  <a:pos x="29" y="28"/>
                </a:cxn>
                <a:cxn ang="0">
                  <a:pos x="27" y="23"/>
                </a:cxn>
                <a:cxn ang="0">
                  <a:pos x="27" y="25"/>
                </a:cxn>
                <a:cxn ang="0">
                  <a:pos x="29" y="28"/>
                </a:cxn>
                <a:cxn ang="0">
                  <a:pos x="29" y="30"/>
                </a:cxn>
                <a:cxn ang="0">
                  <a:pos x="29" y="28"/>
                </a:cxn>
                <a:cxn ang="0">
                  <a:pos x="33" y="42"/>
                </a:cxn>
                <a:cxn ang="0">
                  <a:pos x="33" y="41"/>
                </a:cxn>
                <a:cxn ang="0">
                  <a:pos x="32" y="39"/>
                </a:cxn>
                <a:cxn ang="0">
                  <a:pos x="30" y="34"/>
                </a:cxn>
                <a:cxn ang="0">
                  <a:pos x="32" y="38"/>
                </a:cxn>
                <a:cxn ang="0">
                  <a:pos x="32" y="41"/>
                </a:cxn>
                <a:cxn ang="0">
                  <a:pos x="33" y="42"/>
                </a:cxn>
              </a:cxnLst>
              <a:rect l="0" t="0" r="r" b="b"/>
              <a:pathLst>
                <a:path w="50" h="63">
                  <a:moveTo>
                    <a:pt x="42" y="61"/>
                  </a:moveTo>
                  <a:cubicBezTo>
                    <a:pt x="45" y="58"/>
                    <a:pt x="47" y="61"/>
                    <a:pt x="47" y="59"/>
                  </a:cubicBezTo>
                  <a:cubicBezTo>
                    <a:pt x="48" y="56"/>
                    <a:pt x="50" y="61"/>
                    <a:pt x="45" y="63"/>
                  </a:cubicBezTo>
                  <a:cubicBezTo>
                    <a:pt x="42" y="63"/>
                    <a:pt x="42" y="63"/>
                    <a:pt x="42" y="61"/>
                  </a:cubicBezTo>
                  <a:close/>
                  <a:moveTo>
                    <a:pt x="11" y="27"/>
                  </a:moveTo>
                  <a:cubicBezTo>
                    <a:pt x="12" y="25"/>
                    <a:pt x="12" y="23"/>
                    <a:pt x="11" y="22"/>
                  </a:cubicBezTo>
                  <a:cubicBezTo>
                    <a:pt x="9" y="20"/>
                    <a:pt x="9" y="19"/>
                    <a:pt x="9" y="19"/>
                  </a:cubicBezTo>
                  <a:cubicBezTo>
                    <a:pt x="7" y="19"/>
                    <a:pt x="7" y="20"/>
                    <a:pt x="7" y="23"/>
                  </a:cubicBezTo>
                  <a:cubicBezTo>
                    <a:pt x="6" y="25"/>
                    <a:pt x="6" y="25"/>
                    <a:pt x="9" y="27"/>
                  </a:cubicBezTo>
                  <a:cubicBezTo>
                    <a:pt x="11" y="28"/>
                    <a:pt x="11" y="27"/>
                    <a:pt x="11" y="27"/>
                  </a:cubicBezTo>
                  <a:close/>
                  <a:moveTo>
                    <a:pt x="12" y="33"/>
                  </a:moveTo>
                  <a:cubicBezTo>
                    <a:pt x="13" y="33"/>
                    <a:pt x="13" y="33"/>
                    <a:pt x="12" y="30"/>
                  </a:cubicBezTo>
                  <a:cubicBezTo>
                    <a:pt x="12" y="27"/>
                    <a:pt x="12" y="30"/>
                    <a:pt x="11" y="28"/>
                  </a:cubicBezTo>
                  <a:cubicBezTo>
                    <a:pt x="9" y="27"/>
                    <a:pt x="9" y="30"/>
                    <a:pt x="11" y="31"/>
                  </a:cubicBezTo>
                  <a:cubicBezTo>
                    <a:pt x="12" y="33"/>
                    <a:pt x="11" y="33"/>
                    <a:pt x="12" y="33"/>
                  </a:cubicBezTo>
                  <a:close/>
                  <a:moveTo>
                    <a:pt x="6" y="3"/>
                  </a:moveTo>
                  <a:cubicBezTo>
                    <a:pt x="9" y="3"/>
                    <a:pt x="9" y="5"/>
                    <a:pt x="9" y="3"/>
                  </a:cubicBezTo>
                  <a:cubicBezTo>
                    <a:pt x="11" y="2"/>
                    <a:pt x="7" y="3"/>
                    <a:pt x="4" y="2"/>
                  </a:cubicBezTo>
                  <a:cubicBezTo>
                    <a:pt x="1" y="2"/>
                    <a:pt x="6" y="5"/>
                    <a:pt x="3" y="3"/>
                  </a:cubicBezTo>
                  <a:cubicBezTo>
                    <a:pt x="1" y="3"/>
                    <a:pt x="0" y="3"/>
                    <a:pt x="3" y="5"/>
                  </a:cubicBezTo>
                  <a:cubicBezTo>
                    <a:pt x="3" y="5"/>
                    <a:pt x="3" y="5"/>
                    <a:pt x="6" y="3"/>
                  </a:cubicBezTo>
                  <a:close/>
                  <a:moveTo>
                    <a:pt x="17" y="8"/>
                  </a:moveTo>
                  <a:cubicBezTo>
                    <a:pt x="17" y="8"/>
                    <a:pt x="17" y="5"/>
                    <a:pt x="15" y="5"/>
                  </a:cubicBezTo>
                  <a:cubicBezTo>
                    <a:pt x="13" y="3"/>
                    <a:pt x="13" y="0"/>
                    <a:pt x="11" y="0"/>
                  </a:cubicBezTo>
                  <a:cubicBezTo>
                    <a:pt x="7" y="0"/>
                    <a:pt x="11" y="0"/>
                    <a:pt x="12" y="2"/>
                  </a:cubicBezTo>
                  <a:cubicBezTo>
                    <a:pt x="13" y="2"/>
                    <a:pt x="13" y="3"/>
                    <a:pt x="15" y="5"/>
                  </a:cubicBezTo>
                  <a:cubicBezTo>
                    <a:pt x="17" y="6"/>
                    <a:pt x="15" y="5"/>
                    <a:pt x="15" y="8"/>
                  </a:cubicBezTo>
                  <a:cubicBezTo>
                    <a:pt x="15" y="11"/>
                    <a:pt x="12" y="8"/>
                    <a:pt x="15" y="11"/>
                  </a:cubicBezTo>
                  <a:cubicBezTo>
                    <a:pt x="15" y="13"/>
                    <a:pt x="15" y="8"/>
                    <a:pt x="17" y="8"/>
                  </a:cubicBezTo>
                  <a:close/>
                  <a:moveTo>
                    <a:pt x="48" y="49"/>
                  </a:moveTo>
                  <a:cubicBezTo>
                    <a:pt x="50" y="49"/>
                    <a:pt x="50" y="49"/>
                    <a:pt x="50" y="49"/>
                  </a:cubicBezTo>
                  <a:cubicBezTo>
                    <a:pt x="50" y="47"/>
                    <a:pt x="47" y="47"/>
                    <a:pt x="47" y="47"/>
                  </a:cubicBezTo>
                  <a:cubicBezTo>
                    <a:pt x="47" y="47"/>
                    <a:pt x="47" y="49"/>
                    <a:pt x="48" y="49"/>
                  </a:cubicBezTo>
                  <a:close/>
                  <a:moveTo>
                    <a:pt x="23" y="19"/>
                  </a:moveTo>
                  <a:cubicBezTo>
                    <a:pt x="24" y="22"/>
                    <a:pt x="21" y="22"/>
                    <a:pt x="21" y="23"/>
                  </a:cubicBezTo>
                  <a:cubicBezTo>
                    <a:pt x="23" y="23"/>
                    <a:pt x="23" y="27"/>
                    <a:pt x="23" y="25"/>
                  </a:cubicBezTo>
                  <a:cubicBezTo>
                    <a:pt x="24" y="25"/>
                    <a:pt x="23" y="25"/>
                    <a:pt x="23" y="23"/>
                  </a:cubicBezTo>
                  <a:cubicBezTo>
                    <a:pt x="23" y="20"/>
                    <a:pt x="24" y="20"/>
                    <a:pt x="23" y="17"/>
                  </a:cubicBezTo>
                  <a:cubicBezTo>
                    <a:pt x="21" y="16"/>
                    <a:pt x="18" y="14"/>
                    <a:pt x="18" y="16"/>
                  </a:cubicBezTo>
                  <a:cubicBezTo>
                    <a:pt x="18" y="16"/>
                    <a:pt x="21" y="17"/>
                    <a:pt x="23" y="19"/>
                  </a:cubicBezTo>
                  <a:close/>
                  <a:moveTo>
                    <a:pt x="39" y="47"/>
                  </a:moveTo>
                  <a:cubicBezTo>
                    <a:pt x="38" y="49"/>
                    <a:pt x="38" y="50"/>
                    <a:pt x="39" y="49"/>
                  </a:cubicBezTo>
                  <a:cubicBezTo>
                    <a:pt x="42" y="47"/>
                    <a:pt x="42" y="45"/>
                    <a:pt x="41" y="44"/>
                  </a:cubicBezTo>
                  <a:cubicBezTo>
                    <a:pt x="41" y="42"/>
                    <a:pt x="41" y="44"/>
                    <a:pt x="38" y="42"/>
                  </a:cubicBezTo>
                  <a:cubicBezTo>
                    <a:pt x="36" y="42"/>
                    <a:pt x="38" y="45"/>
                    <a:pt x="39" y="45"/>
                  </a:cubicBezTo>
                  <a:cubicBezTo>
                    <a:pt x="41" y="44"/>
                    <a:pt x="41" y="45"/>
                    <a:pt x="39" y="47"/>
                  </a:cubicBezTo>
                  <a:close/>
                  <a:moveTo>
                    <a:pt x="26" y="36"/>
                  </a:moveTo>
                  <a:cubicBezTo>
                    <a:pt x="27" y="38"/>
                    <a:pt x="27" y="36"/>
                    <a:pt x="26" y="36"/>
                  </a:cubicBezTo>
                  <a:cubicBezTo>
                    <a:pt x="26" y="34"/>
                    <a:pt x="24" y="33"/>
                    <a:pt x="24" y="34"/>
                  </a:cubicBezTo>
                  <a:cubicBezTo>
                    <a:pt x="24" y="36"/>
                    <a:pt x="24" y="34"/>
                    <a:pt x="26" y="36"/>
                  </a:cubicBezTo>
                  <a:close/>
                  <a:moveTo>
                    <a:pt x="29" y="28"/>
                  </a:moveTo>
                  <a:cubicBezTo>
                    <a:pt x="29" y="27"/>
                    <a:pt x="29" y="25"/>
                    <a:pt x="27" y="23"/>
                  </a:cubicBezTo>
                  <a:cubicBezTo>
                    <a:pt x="26" y="23"/>
                    <a:pt x="26" y="23"/>
                    <a:pt x="27" y="25"/>
                  </a:cubicBezTo>
                  <a:cubicBezTo>
                    <a:pt x="27" y="25"/>
                    <a:pt x="27" y="27"/>
                    <a:pt x="29" y="28"/>
                  </a:cubicBezTo>
                  <a:cubicBezTo>
                    <a:pt x="30" y="30"/>
                    <a:pt x="27" y="31"/>
                    <a:pt x="29" y="30"/>
                  </a:cubicBezTo>
                  <a:cubicBezTo>
                    <a:pt x="30" y="30"/>
                    <a:pt x="30" y="28"/>
                    <a:pt x="29" y="28"/>
                  </a:cubicBezTo>
                  <a:close/>
                  <a:moveTo>
                    <a:pt x="33" y="42"/>
                  </a:moveTo>
                  <a:cubicBezTo>
                    <a:pt x="33" y="42"/>
                    <a:pt x="35" y="42"/>
                    <a:pt x="33" y="41"/>
                  </a:cubicBezTo>
                  <a:cubicBezTo>
                    <a:pt x="33" y="39"/>
                    <a:pt x="32" y="39"/>
                    <a:pt x="32" y="39"/>
                  </a:cubicBezTo>
                  <a:cubicBezTo>
                    <a:pt x="32" y="38"/>
                    <a:pt x="30" y="34"/>
                    <a:pt x="30" y="34"/>
                  </a:cubicBezTo>
                  <a:cubicBezTo>
                    <a:pt x="29" y="33"/>
                    <a:pt x="30" y="36"/>
                    <a:pt x="32" y="38"/>
                  </a:cubicBezTo>
                  <a:cubicBezTo>
                    <a:pt x="32" y="41"/>
                    <a:pt x="30" y="38"/>
                    <a:pt x="32" y="41"/>
                  </a:cubicBezTo>
                  <a:cubicBezTo>
                    <a:pt x="32" y="41"/>
                    <a:pt x="33" y="41"/>
                    <a:pt x="33" y="42"/>
                  </a:cubicBezTo>
                  <a:close/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76" name="Freeform 240">
              <a:extLst>
                <a:ext uri="{FF2B5EF4-FFF2-40B4-BE49-F238E27FC236}">
                  <a16:creationId xmlns:a16="http://schemas.microsoft.com/office/drawing/2014/main" id="{C288BC79-928F-F89F-8AAA-C2983DA286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340090" y="4025326"/>
              <a:ext cx="266541" cy="116564"/>
            </a:xfrm>
            <a:custGeom>
              <a:avLst/>
              <a:gdLst/>
              <a:ahLst/>
              <a:cxnLst>
                <a:cxn ang="0">
                  <a:pos x="8" y="13"/>
                </a:cxn>
                <a:cxn ang="0">
                  <a:pos x="3" y="15"/>
                </a:cxn>
                <a:cxn ang="0">
                  <a:pos x="0" y="13"/>
                </a:cxn>
                <a:cxn ang="0">
                  <a:pos x="4" y="10"/>
                </a:cxn>
                <a:cxn ang="0">
                  <a:pos x="17" y="3"/>
                </a:cxn>
                <a:cxn ang="0">
                  <a:pos x="24" y="1"/>
                </a:cxn>
                <a:cxn ang="0">
                  <a:pos x="30" y="1"/>
                </a:cxn>
                <a:cxn ang="0">
                  <a:pos x="35" y="3"/>
                </a:cxn>
                <a:cxn ang="0">
                  <a:pos x="42" y="6"/>
                </a:cxn>
                <a:cxn ang="0">
                  <a:pos x="50" y="10"/>
                </a:cxn>
                <a:cxn ang="0">
                  <a:pos x="58" y="13"/>
                </a:cxn>
                <a:cxn ang="0">
                  <a:pos x="59" y="15"/>
                </a:cxn>
                <a:cxn ang="0">
                  <a:pos x="62" y="18"/>
                </a:cxn>
                <a:cxn ang="0">
                  <a:pos x="65" y="20"/>
                </a:cxn>
                <a:cxn ang="0">
                  <a:pos x="70" y="21"/>
                </a:cxn>
                <a:cxn ang="0">
                  <a:pos x="74" y="23"/>
                </a:cxn>
                <a:cxn ang="0">
                  <a:pos x="76" y="26"/>
                </a:cxn>
                <a:cxn ang="0">
                  <a:pos x="82" y="29"/>
                </a:cxn>
                <a:cxn ang="0">
                  <a:pos x="85" y="32"/>
                </a:cxn>
                <a:cxn ang="0">
                  <a:pos x="79" y="34"/>
                </a:cxn>
                <a:cxn ang="0">
                  <a:pos x="64" y="34"/>
                </a:cxn>
                <a:cxn ang="0">
                  <a:pos x="61" y="30"/>
                </a:cxn>
                <a:cxn ang="0">
                  <a:pos x="56" y="26"/>
                </a:cxn>
                <a:cxn ang="0">
                  <a:pos x="50" y="20"/>
                </a:cxn>
                <a:cxn ang="0">
                  <a:pos x="42" y="17"/>
                </a:cxn>
                <a:cxn ang="0">
                  <a:pos x="32" y="12"/>
                </a:cxn>
                <a:cxn ang="0">
                  <a:pos x="23" y="10"/>
                </a:cxn>
                <a:cxn ang="0">
                  <a:pos x="26" y="7"/>
                </a:cxn>
                <a:cxn ang="0">
                  <a:pos x="15" y="9"/>
                </a:cxn>
                <a:cxn ang="0">
                  <a:pos x="8" y="13"/>
                </a:cxn>
                <a:cxn ang="0">
                  <a:pos x="18" y="18"/>
                </a:cxn>
                <a:cxn ang="0">
                  <a:pos x="15" y="13"/>
                </a:cxn>
                <a:cxn ang="0">
                  <a:pos x="18" y="18"/>
                </a:cxn>
                <a:cxn ang="0">
                  <a:pos x="50" y="9"/>
                </a:cxn>
                <a:cxn ang="0">
                  <a:pos x="51" y="7"/>
                </a:cxn>
                <a:cxn ang="0">
                  <a:pos x="50" y="9"/>
                </a:cxn>
                <a:cxn ang="0">
                  <a:pos x="53" y="9"/>
                </a:cxn>
                <a:cxn ang="0">
                  <a:pos x="55" y="10"/>
                </a:cxn>
                <a:cxn ang="0">
                  <a:pos x="53" y="9"/>
                </a:cxn>
              </a:cxnLst>
              <a:rect l="0" t="0" r="r" b="b"/>
              <a:pathLst>
                <a:path w="86" h="37">
                  <a:moveTo>
                    <a:pt x="8" y="13"/>
                  </a:moveTo>
                  <a:cubicBezTo>
                    <a:pt x="4" y="13"/>
                    <a:pt x="3" y="17"/>
                    <a:pt x="3" y="15"/>
                  </a:cubicBezTo>
                  <a:cubicBezTo>
                    <a:pt x="3" y="13"/>
                    <a:pt x="0" y="15"/>
                    <a:pt x="0" y="13"/>
                  </a:cubicBezTo>
                  <a:cubicBezTo>
                    <a:pt x="0" y="12"/>
                    <a:pt x="4" y="13"/>
                    <a:pt x="4" y="10"/>
                  </a:cubicBezTo>
                  <a:cubicBezTo>
                    <a:pt x="3" y="9"/>
                    <a:pt x="8" y="4"/>
                    <a:pt x="17" y="3"/>
                  </a:cubicBezTo>
                  <a:cubicBezTo>
                    <a:pt x="21" y="3"/>
                    <a:pt x="20" y="0"/>
                    <a:pt x="24" y="1"/>
                  </a:cubicBezTo>
                  <a:cubicBezTo>
                    <a:pt x="30" y="3"/>
                    <a:pt x="29" y="0"/>
                    <a:pt x="30" y="1"/>
                  </a:cubicBezTo>
                  <a:cubicBezTo>
                    <a:pt x="32" y="3"/>
                    <a:pt x="33" y="0"/>
                    <a:pt x="35" y="3"/>
                  </a:cubicBezTo>
                  <a:cubicBezTo>
                    <a:pt x="36" y="4"/>
                    <a:pt x="39" y="1"/>
                    <a:pt x="42" y="6"/>
                  </a:cubicBezTo>
                  <a:cubicBezTo>
                    <a:pt x="45" y="10"/>
                    <a:pt x="45" y="6"/>
                    <a:pt x="50" y="10"/>
                  </a:cubicBezTo>
                  <a:cubicBezTo>
                    <a:pt x="56" y="13"/>
                    <a:pt x="58" y="12"/>
                    <a:pt x="58" y="13"/>
                  </a:cubicBezTo>
                  <a:cubicBezTo>
                    <a:pt x="56" y="15"/>
                    <a:pt x="59" y="17"/>
                    <a:pt x="59" y="15"/>
                  </a:cubicBezTo>
                  <a:cubicBezTo>
                    <a:pt x="58" y="13"/>
                    <a:pt x="61" y="15"/>
                    <a:pt x="62" y="18"/>
                  </a:cubicBezTo>
                  <a:cubicBezTo>
                    <a:pt x="65" y="20"/>
                    <a:pt x="65" y="18"/>
                    <a:pt x="65" y="20"/>
                  </a:cubicBezTo>
                  <a:cubicBezTo>
                    <a:pt x="67" y="23"/>
                    <a:pt x="68" y="20"/>
                    <a:pt x="70" y="21"/>
                  </a:cubicBezTo>
                  <a:cubicBezTo>
                    <a:pt x="71" y="23"/>
                    <a:pt x="73" y="20"/>
                    <a:pt x="74" y="23"/>
                  </a:cubicBezTo>
                  <a:cubicBezTo>
                    <a:pt x="74" y="26"/>
                    <a:pt x="70" y="24"/>
                    <a:pt x="76" y="26"/>
                  </a:cubicBezTo>
                  <a:cubicBezTo>
                    <a:pt x="80" y="26"/>
                    <a:pt x="80" y="27"/>
                    <a:pt x="82" y="29"/>
                  </a:cubicBezTo>
                  <a:cubicBezTo>
                    <a:pt x="83" y="30"/>
                    <a:pt x="86" y="29"/>
                    <a:pt x="85" y="32"/>
                  </a:cubicBezTo>
                  <a:cubicBezTo>
                    <a:pt x="83" y="34"/>
                    <a:pt x="83" y="30"/>
                    <a:pt x="79" y="34"/>
                  </a:cubicBezTo>
                  <a:cubicBezTo>
                    <a:pt x="73" y="37"/>
                    <a:pt x="76" y="32"/>
                    <a:pt x="64" y="34"/>
                  </a:cubicBezTo>
                  <a:cubicBezTo>
                    <a:pt x="51" y="35"/>
                    <a:pt x="58" y="34"/>
                    <a:pt x="61" y="30"/>
                  </a:cubicBezTo>
                  <a:cubicBezTo>
                    <a:pt x="64" y="27"/>
                    <a:pt x="61" y="26"/>
                    <a:pt x="56" y="26"/>
                  </a:cubicBezTo>
                  <a:cubicBezTo>
                    <a:pt x="51" y="26"/>
                    <a:pt x="51" y="23"/>
                    <a:pt x="50" y="20"/>
                  </a:cubicBezTo>
                  <a:cubicBezTo>
                    <a:pt x="48" y="15"/>
                    <a:pt x="47" y="18"/>
                    <a:pt x="42" y="17"/>
                  </a:cubicBezTo>
                  <a:cubicBezTo>
                    <a:pt x="36" y="15"/>
                    <a:pt x="38" y="12"/>
                    <a:pt x="32" y="12"/>
                  </a:cubicBezTo>
                  <a:cubicBezTo>
                    <a:pt x="26" y="12"/>
                    <a:pt x="26" y="12"/>
                    <a:pt x="23" y="10"/>
                  </a:cubicBezTo>
                  <a:cubicBezTo>
                    <a:pt x="21" y="9"/>
                    <a:pt x="27" y="7"/>
                    <a:pt x="26" y="7"/>
                  </a:cubicBezTo>
                  <a:cubicBezTo>
                    <a:pt x="24" y="6"/>
                    <a:pt x="18" y="4"/>
                    <a:pt x="15" y="9"/>
                  </a:cubicBezTo>
                  <a:cubicBezTo>
                    <a:pt x="11" y="12"/>
                    <a:pt x="8" y="10"/>
                    <a:pt x="8" y="13"/>
                  </a:cubicBezTo>
                  <a:close/>
                  <a:moveTo>
                    <a:pt x="18" y="18"/>
                  </a:moveTo>
                  <a:cubicBezTo>
                    <a:pt x="14" y="20"/>
                    <a:pt x="14" y="13"/>
                    <a:pt x="15" y="13"/>
                  </a:cubicBezTo>
                  <a:cubicBezTo>
                    <a:pt x="18" y="13"/>
                    <a:pt x="20" y="18"/>
                    <a:pt x="18" y="18"/>
                  </a:cubicBezTo>
                  <a:close/>
                  <a:moveTo>
                    <a:pt x="50" y="9"/>
                  </a:moveTo>
                  <a:cubicBezTo>
                    <a:pt x="48" y="7"/>
                    <a:pt x="50" y="7"/>
                    <a:pt x="51" y="7"/>
                  </a:cubicBezTo>
                  <a:cubicBezTo>
                    <a:pt x="51" y="9"/>
                    <a:pt x="51" y="9"/>
                    <a:pt x="50" y="9"/>
                  </a:cubicBezTo>
                  <a:close/>
                  <a:moveTo>
                    <a:pt x="53" y="9"/>
                  </a:moveTo>
                  <a:cubicBezTo>
                    <a:pt x="53" y="9"/>
                    <a:pt x="56" y="10"/>
                    <a:pt x="55" y="10"/>
                  </a:cubicBezTo>
                  <a:cubicBezTo>
                    <a:pt x="53" y="10"/>
                    <a:pt x="51" y="10"/>
                    <a:pt x="53" y="9"/>
                  </a:cubicBezTo>
                  <a:close/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77" name="Freeform 241">
              <a:extLst>
                <a:ext uri="{FF2B5EF4-FFF2-40B4-BE49-F238E27FC236}">
                  <a16:creationId xmlns:a16="http://schemas.microsoft.com/office/drawing/2014/main" id="{EF47ABF6-5FE9-C6D5-DF07-1783CDF4F2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22591" y="4161317"/>
              <a:ext cx="14364" cy="971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5" y="3"/>
                </a:cxn>
                <a:cxn ang="0">
                  <a:pos x="0" y="2"/>
                </a:cxn>
              </a:cxnLst>
              <a:rect l="0" t="0" r="r" b="b"/>
              <a:pathLst>
                <a:path w="5" h="3">
                  <a:moveTo>
                    <a:pt x="0" y="2"/>
                  </a:moveTo>
                  <a:cubicBezTo>
                    <a:pt x="0" y="0"/>
                    <a:pt x="5" y="2"/>
                    <a:pt x="5" y="3"/>
                  </a:cubicBezTo>
                  <a:cubicBezTo>
                    <a:pt x="0" y="2"/>
                    <a:pt x="0" y="2"/>
                    <a:pt x="0" y="2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78" name="Freeform 242">
              <a:extLst>
                <a:ext uri="{FF2B5EF4-FFF2-40B4-BE49-F238E27FC236}">
                  <a16:creationId xmlns:a16="http://schemas.microsoft.com/office/drawing/2014/main" id="{626ECD47-4F5D-4180-51AC-2C6D3897E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21546" y="4365305"/>
              <a:ext cx="17557" cy="17808"/>
            </a:xfrm>
            <a:custGeom>
              <a:avLst/>
              <a:gdLst/>
              <a:ahLst/>
              <a:cxnLst>
                <a:cxn ang="0">
                  <a:pos x="3" y="3"/>
                </a:cxn>
                <a:cxn ang="0">
                  <a:pos x="2" y="2"/>
                </a:cxn>
                <a:cxn ang="0">
                  <a:pos x="3" y="3"/>
                </a:cxn>
                <a:cxn ang="0">
                  <a:pos x="3" y="3"/>
                </a:cxn>
              </a:cxnLst>
              <a:rect l="0" t="0" r="r" b="b"/>
              <a:pathLst>
                <a:path w="6" h="6">
                  <a:moveTo>
                    <a:pt x="3" y="3"/>
                  </a:moveTo>
                  <a:cubicBezTo>
                    <a:pt x="2" y="2"/>
                    <a:pt x="0" y="0"/>
                    <a:pt x="2" y="2"/>
                  </a:cubicBezTo>
                  <a:cubicBezTo>
                    <a:pt x="3" y="2"/>
                    <a:pt x="2" y="3"/>
                    <a:pt x="3" y="3"/>
                  </a:cubicBezTo>
                  <a:cubicBezTo>
                    <a:pt x="5" y="3"/>
                    <a:pt x="6" y="6"/>
                    <a:pt x="3" y="3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79" name="Freeform 243">
              <a:extLst>
                <a:ext uri="{FF2B5EF4-FFF2-40B4-BE49-F238E27FC236}">
                  <a16:creationId xmlns:a16="http://schemas.microsoft.com/office/drawing/2014/main" id="{89ED1920-9208-C994-E8ED-12697A39D4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39102" y="4371780"/>
              <a:ext cx="9577" cy="11332"/>
            </a:xfrm>
            <a:custGeom>
              <a:avLst/>
              <a:gdLst/>
              <a:ahLst/>
              <a:cxnLst>
                <a:cxn ang="0">
                  <a:pos x="2" y="1"/>
                </a:cxn>
                <a:cxn ang="0">
                  <a:pos x="2" y="0"/>
                </a:cxn>
                <a:cxn ang="0">
                  <a:pos x="2" y="3"/>
                </a:cxn>
                <a:cxn ang="0">
                  <a:pos x="2" y="1"/>
                </a:cxn>
              </a:cxnLst>
              <a:rect l="0" t="0" r="r" b="b"/>
              <a:pathLst>
                <a:path w="3" h="4">
                  <a:moveTo>
                    <a:pt x="2" y="1"/>
                  </a:moveTo>
                  <a:cubicBezTo>
                    <a:pt x="0" y="1"/>
                    <a:pt x="2" y="0"/>
                    <a:pt x="2" y="0"/>
                  </a:cubicBezTo>
                  <a:cubicBezTo>
                    <a:pt x="3" y="1"/>
                    <a:pt x="3" y="4"/>
                    <a:pt x="2" y="3"/>
                  </a:cubicBezTo>
                  <a:cubicBezTo>
                    <a:pt x="2" y="1"/>
                    <a:pt x="2" y="1"/>
                    <a:pt x="2" y="1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80" name="Freeform 244">
              <a:extLst>
                <a:ext uri="{FF2B5EF4-FFF2-40B4-BE49-F238E27FC236}">
                  <a16:creationId xmlns:a16="http://schemas.microsoft.com/office/drawing/2014/main" id="{B8EA42F8-0FB8-EE8E-AE86-ADB854D8C8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44442" y="4405777"/>
              <a:ext cx="19152" cy="971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3" y="2"/>
                </a:cxn>
                <a:cxn ang="0">
                  <a:pos x="5" y="3"/>
                </a:cxn>
                <a:cxn ang="0">
                  <a:pos x="2" y="3"/>
                </a:cxn>
                <a:cxn ang="0">
                  <a:pos x="0" y="2"/>
                </a:cxn>
              </a:cxnLst>
              <a:rect l="0" t="0" r="r" b="b"/>
              <a:pathLst>
                <a:path w="6" h="3">
                  <a:moveTo>
                    <a:pt x="0" y="2"/>
                  </a:moveTo>
                  <a:cubicBezTo>
                    <a:pt x="0" y="0"/>
                    <a:pt x="2" y="3"/>
                    <a:pt x="3" y="2"/>
                  </a:cubicBezTo>
                  <a:cubicBezTo>
                    <a:pt x="5" y="0"/>
                    <a:pt x="6" y="2"/>
                    <a:pt x="5" y="3"/>
                  </a:cubicBezTo>
                  <a:cubicBezTo>
                    <a:pt x="3" y="3"/>
                    <a:pt x="2" y="3"/>
                    <a:pt x="2" y="3"/>
                  </a:cubicBezTo>
                  <a:cubicBezTo>
                    <a:pt x="2" y="3"/>
                    <a:pt x="0" y="3"/>
                    <a:pt x="0" y="2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81" name="Freeform 245">
              <a:extLst>
                <a:ext uri="{FF2B5EF4-FFF2-40B4-BE49-F238E27FC236}">
                  <a16:creationId xmlns:a16="http://schemas.microsoft.com/office/drawing/2014/main" id="{3A380316-BCDA-DA57-645B-39D70C660B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25841" y="4475392"/>
              <a:ext cx="3192" cy="3238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1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82" name="Freeform 246">
              <a:extLst>
                <a:ext uri="{FF2B5EF4-FFF2-40B4-BE49-F238E27FC236}">
                  <a16:creationId xmlns:a16="http://schemas.microsoft.com/office/drawing/2014/main" id="{E2BDCC83-601D-D887-C9EE-609315E657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19456" y="4478630"/>
              <a:ext cx="9577" cy="4857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3" y="0"/>
                </a:cxn>
                <a:cxn ang="0">
                  <a:pos x="2" y="2"/>
                </a:cxn>
                <a:cxn ang="0">
                  <a:pos x="2" y="2"/>
                </a:cxn>
              </a:cxnLst>
              <a:rect l="0" t="0" r="r" b="b"/>
              <a:pathLst>
                <a:path w="3" h="2">
                  <a:moveTo>
                    <a:pt x="2" y="2"/>
                  </a:moveTo>
                  <a:cubicBezTo>
                    <a:pt x="2" y="0"/>
                    <a:pt x="2" y="0"/>
                    <a:pt x="3" y="0"/>
                  </a:cubicBezTo>
                  <a:cubicBezTo>
                    <a:pt x="3" y="0"/>
                    <a:pt x="3" y="2"/>
                    <a:pt x="2" y="2"/>
                  </a:cubicBezTo>
                  <a:cubicBezTo>
                    <a:pt x="2" y="2"/>
                    <a:pt x="0" y="2"/>
                    <a:pt x="2" y="2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83" name="Freeform 247">
              <a:extLst>
                <a:ext uri="{FF2B5EF4-FFF2-40B4-BE49-F238E27FC236}">
                  <a16:creationId xmlns:a16="http://schemas.microsoft.com/office/drawing/2014/main" id="{6C7859FD-59CA-A92A-A868-4D6FECD3B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29033" y="4483487"/>
              <a:ext cx="4788" cy="3238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0" y="0"/>
                </a:cxn>
                <a:cxn ang="0">
                  <a:pos x="0" y="1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0" y="0"/>
                    <a:pt x="0" y="1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84" name="Freeform 248">
              <a:extLst>
                <a:ext uri="{FF2B5EF4-FFF2-40B4-BE49-F238E27FC236}">
                  <a16:creationId xmlns:a16="http://schemas.microsoft.com/office/drawing/2014/main" id="{FD739ECC-6F31-5785-5552-4E2D82BD66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25841" y="4475392"/>
              <a:ext cx="3192" cy="3238"/>
            </a:xfrm>
            <a:custGeom>
              <a:avLst/>
              <a:gdLst/>
              <a:ahLst/>
              <a:cxnLst>
                <a:cxn ang="0">
                  <a:pos x="1" y="1"/>
                </a:cxn>
                <a:cxn ang="0">
                  <a:pos x="1" y="0"/>
                </a:cxn>
                <a:cxn ang="0">
                  <a:pos x="1" y="1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0" y="1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85" name="Freeform 249">
              <a:extLst>
                <a:ext uri="{FF2B5EF4-FFF2-40B4-BE49-F238E27FC236}">
                  <a16:creationId xmlns:a16="http://schemas.microsoft.com/office/drawing/2014/main" id="{335871A5-8896-58DB-D157-049E105A4D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29033" y="4396064"/>
              <a:ext cx="7980" cy="1619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3" y="2"/>
                </a:cxn>
                <a:cxn ang="0">
                  <a:pos x="0" y="3"/>
                </a:cxn>
              </a:cxnLst>
              <a:rect l="0" t="0" r="r" b="b"/>
              <a:pathLst>
                <a:path w="3" h="5">
                  <a:moveTo>
                    <a:pt x="0" y="3"/>
                  </a:moveTo>
                  <a:cubicBezTo>
                    <a:pt x="0" y="2"/>
                    <a:pt x="3" y="0"/>
                    <a:pt x="3" y="2"/>
                  </a:cubicBezTo>
                  <a:cubicBezTo>
                    <a:pt x="3" y="3"/>
                    <a:pt x="0" y="5"/>
                    <a:pt x="0" y="3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86" name="Freeform 250">
              <a:extLst>
                <a:ext uri="{FF2B5EF4-FFF2-40B4-BE49-F238E27FC236}">
                  <a16:creationId xmlns:a16="http://schemas.microsoft.com/office/drawing/2014/main" id="{0EB9F871-2985-79C0-7AD9-A297836E4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00304" y="4415492"/>
              <a:ext cx="33517" cy="24284"/>
            </a:xfrm>
            <a:custGeom>
              <a:avLst/>
              <a:gdLst/>
              <a:ahLst/>
              <a:cxnLst>
                <a:cxn ang="0">
                  <a:pos x="6" y="8"/>
                </a:cxn>
                <a:cxn ang="0">
                  <a:pos x="1" y="8"/>
                </a:cxn>
                <a:cxn ang="0">
                  <a:pos x="4" y="5"/>
                </a:cxn>
                <a:cxn ang="0">
                  <a:pos x="4" y="2"/>
                </a:cxn>
                <a:cxn ang="0">
                  <a:pos x="9" y="2"/>
                </a:cxn>
                <a:cxn ang="0">
                  <a:pos x="6" y="8"/>
                </a:cxn>
              </a:cxnLst>
              <a:rect l="0" t="0" r="r" b="b"/>
              <a:pathLst>
                <a:path w="11" h="8">
                  <a:moveTo>
                    <a:pt x="6" y="8"/>
                  </a:moveTo>
                  <a:cubicBezTo>
                    <a:pt x="1" y="8"/>
                    <a:pt x="0" y="8"/>
                    <a:pt x="1" y="8"/>
                  </a:cubicBezTo>
                  <a:cubicBezTo>
                    <a:pt x="4" y="6"/>
                    <a:pt x="4" y="6"/>
                    <a:pt x="4" y="5"/>
                  </a:cubicBezTo>
                  <a:cubicBezTo>
                    <a:pt x="4" y="2"/>
                    <a:pt x="1" y="2"/>
                    <a:pt x="4" y="2"/>
                  </a:cubicBezTo>
                  <a:cubicBezTo>
                    <a:pt x="9" y="0"/>
                    <a:pt x="11" y="0"/>
                    <a:pt x="9" y="2"/>
                  </a:cubicBezTo>
                  <a:cubicBezTo>
                    <a:pt x="8" y="3"/>
                    <a:pt x="11" y="8"/>
                    <a:pt x="6" y="8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87" name="Freeform 251">
              <a:extLst>
                <a:ext uri="{FF2B5EF4-FFF2-40B4-BE49-F238E27FC236}">
                  <a16:creationId xmlns:a16="http://schemas.microsoft.com/office/drawing/2014/main" id="{75EEC1C2-653E-B142-6A5B-F183136ACE2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03496" y="4371780"/>
              <a:ext cx="12769" cy="8095"/>
            </a:xfrm>
            <a:custGeom>
              <a:avLst/>
              <a:gdLst/>
              <a:ahLst/>
              <a:cxnLst>
                <a:cxn ang="0">
                  <a:pos x="2" y="3"/>
                </a:cxn>
                <a:cxn ang="0">
                  <a:pos x="2" y="0"/>
                </a:cxn>
                <a:cxn ang="0">
                  <a:pos x="2" y="3"/>
                </a:cxn>
              </a:cxnLst>
              <a:rect l="0" t="0" r="r" b="b"/>
              <a:pathLst>
                <a:path w="4" h="3">
                  <a:moveTo>
                    <a:pt x="2" y="3"/>
                  </a:moveTo>
                  <a:cubicBezTo>
                    <a:pt x="0" y="3"/>
                    <a:pt x="2" y="0"/>
                    <a:pt x="2" y="0"/>
                  </a:cubicBezTo>
                  <a:cubicBezTo>
                    <a:pt x="4" y="0"/>
                    <a:pt x="4" y="3"/>
                    <a:pt x="2" y="3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88" name="Freeform 252">
              <a:extLst>
                <a:ext uri="{FF2B5EF4-FFF2-40B4-BE49-F238E27FC236}">
                  <a16:creationId xmlns:a16="http://schemas.microsoft.com/office/drawing/2014/main" id="{8C66D6DC-B3BB-5792-6CD6-2D363BC009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19456" y="4336163"/>
              <a:ext cx="6384" cy="9713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2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cubicBezTo>
                    <a:pt x="0" y="2"/>
                    <a:pt x="0" y="0"/>
                    <a:pt x="2" y="0"/>
                  </a:cubicBezTo>
                  <a:cubicBezTo>
                    <a:pt x="2" y="0"/>
                    <a:pt x="2" y="3"/>
                    <a:pt x="0" y="3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89" name="Freeform 253">
              <a:extLst>
                <a:ext uri="{FF2B5EF4-FFF2-40B4-BE49-F238E27FC236}">
                  <a16:creationId xmlns:a16="http://schemas.microsoft.com/office/drawing/2014/main" id="{C42AB917-D698-368F-B11A-0C6D687842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25841" y="4315117"/>
              <a:ext cx="7980" cy="12952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1" y="1"/>
                </a:cxn>
                <a:cxn ang="0">
                  <a:pos x="1" y="3"/>
                </a:cxn>
                <a:cxn ang="0">
                  <a:pos x="0" y="4"/>
                </a:cxn>
              </a:cxnLst>
              <a:rect l="0" t="0" r="r" b="b"/>
              <a:pathLst>
                <a:path w="3" h="4">
                  <a:moveTo>
                    <a:pt x="0" y="4"/>
                  </a:moveTo>
                  <a:cubicBezTo>
                    <a:pt x="0" y="3"/>
                    <a:pt x="0" y="1"/>
                    <a:pt x="1" y="1"/>
                  </a:cubicBezTo>
                  <a:cubicBezTo>
                    <a:pt x="1" y="0"/>
                    <a:pt x="3" y="1"/>
                    <a:pt x="1" y="3"/>
                  </a:cubicBezTo>
                  <a:cubicBezTo>
                    <a:pt x="1" y="4"/>
                    <a:pt x="1" y="4"/>
                    <a:pt x="0" y="4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90" name="Freeform 254">
              <a:extLst>
                <a:ext uri="{FF2B5EF4-FFF2-40B4-BE49-F238E27FC236}">
                  <a16:creationId xmlns:a16="http://schemas.microsoft.com/office/drawing/2014/main" id="{96F9E7B9-7E8B-D6D4-079F-6590D878A8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16264" y="4268168"/>
              <a:ext cx="3192" cy="14570"/>
            </a:xfrm>
            <a:custGeom>
              <a:avLst/>
              <a:gdLst/>
              <a:ahLst/>
              <a:cxnLst>
                <a:cxn ang="0">
                  <a:pos x="1" y="3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1" y="3"/>
                </a:cxn>
              </a:cxnLst>
              <a:rect l="0" t="0" r="r" b="b"/>
              <a:pathLst>
                <a:path w="1" h="5">
                  <a:moveTo>
                    <a:pt x="1" y="3"/>
                  </a:moveTo>
                  <a:cubicBezTo>
                    <a:pt x="0" y="5"/>
                    <a:pt x="1" y="3"/>
                    <a:pt x="0" y="2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3"/>
                    <a:pt x="1" y="3"/>
                    <a:pt x="1" y="3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91" name="Freeform 255">
              <a:extLst>
                <a:ext uri="{FF2B5EF4-FFF2-40B4-BE49-F238E27FC236}">
                  <a16:creationId xmlns:a16="http://schemas.microsoft.com/office/drawing/2014/main" id="{89728CD9-125F-9061-CAFE-0BACDE44EF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56165" y="4336163"/>
              <a:ext cx="9577" cy="16190"/>
            </a:xfrm>
            <a:custGeom>
              <a:avLst/>
              <a:gdLst/>
              <a:ahLst/>
              <a:cxnLst>
                <a:cxn ang="0">
                  <a:pos x="3" y="3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3" y="3"/>
                </a:cxn>
              </a:cxnLst>
              <a:rect l="0" t="0" r="r" b="b"/>
              <a:pathLst>
                <a:path w="3" h="5">
                  <a:moveTo>
                    <a:pt x="3" y="3"/>
                  </a:moveTo>
                  <a:cubicBezTo>
                    <a:pt x="2" y="5"/>
                    <a:pt x="0" y="3"/>
                    <a:pt x="2" y="2"/>
                  </a:cubicBezTo>
                  <a:cubicBezTo>
                    <a:pt x="2" y="0"/>
                    <a:pt x="2" y="0"/>
                    <a:pt x="2" y="2"/>
                  </a:cubicBezTo>
                  <a:cubicBezTo>
                    <a:pt x="3" y="2"/>
                    <a:pt x="3" y="2"/>
                    <a:pt x="3" y="3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92" name="Freeform 256">
              <a:extLst>
                <a:ext uri="{FF2B5EF4-FFF2-40B4-BE49-F238E27FC236}">
                  <a16:creationId xmlns:a16="http://schemas.microsoft.com/office/drawing/2014/main" id="{DEA756DD-7501-E3A8-BA04-63F5264D6F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17309" y="4185602"/>
              <a:ext cx="3192" cy="647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" y="2"/>
                </a:cxn>
                <a:cxn ang="0">
                  <a:pos x="0" y="2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0" y="2"/>
                    <a:pt x="1" y="0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93" name="Freeform 257">
              <a:extLst>
                <a:ext uri="{FF2B5EF4-FFF2-40B4-BE49-F238E27FC236}">
                  <a16:creationId xmlns:a16="http://schemas.microsoft.com/office/drawing/2014/main" id="{68D03A31-9003-30CD-2B83-9F40C29293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28482" y="4201791"/>
              <a:ext cx="12769" cy="323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0"/>
                </a:cxn>
                <a:cxn ang="0">
                  <a:pos x="0" y="0"/>
                </a:cxn>
              </a:cxnLst>
              <a:rect l="0" t="0" r="r" b="b"/>
              <a:pathLst>
                <a:path w="4" h="1">
                  <a:moveTo>
                    <a:pt x="0" y="0"/>
                  </a:moveTo>
                  <a:cubicBezTo>
                    <a:pt x="0" y="0"/>
                    <a:pt x="2" y="0"/>
                    <a:pt x="4" y="0"/>
                  </a:cubicBezTo>
                  <a:cubicBezTo>
                    <a:pt x="4" y="0"/>
                    <a:pt x="0" y="1"/>
                    <a:pt x="0" y="0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94" name="Freeform 258">
              <a:extLst>
                <a:ext uri="{FF2B5EF4-FFF2-40B4-BE49-F238E27FC236}">
                  <a16:creationId xmlns:a16="http://schemas.microsoft.com/office/drawing/2014/main" id="{31980F84-691A-BC74-DBF4-22A732C540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19456" y="4285976"/>
              <a:ext cx="14364" cy="22665"/>
            </a:xfrm>
            <a:custGeom>
              <a:avLst/>
              <a:gdLst/>
              <a:ahLst/>
              <a:cxnLst>
                <a:cxn ang="0">
                  <a:pos x="3" y="5"/>
                </a:cxn>
                <a:cxn ang="0">
                  <a:pos x="2" y="2"/>
                </a:cxn>
                <a:cxn ang="0">
                  <a:pos x="3" y="2"/>
                </a:cxn>
                <a:cxn ang="0">
                  <a:pos x="5" y="7"/>
                </a:cxn>
                <a:cxn ang="0">
                  <a:pos x="3" y="5"/>
                </a:cxn>
              </a:cxnLst>
              <a:rect l="0" t="0" r="r" b="b"/>
              <a:pathLst>
                <a:path w="5" h="7">
                  <a:moveTo>
                    <a:pt x="3" y="5"/>
                  </a:moveTo>
                  <a:cubicBezTo>
                    <a:pt x="0" y="5"/>
                    <a:pt x="2" y="3"/>
                    <a:pt x="2" y="2"/>
                  </a:cubicBezTo>
                  <a:cubicBezTo>
                    <a:pt x="0" y="2"/>
                    <a:pt x="2" y="0"/>
                    <a:pt x="3" y="2"/>
                  </a:cubicBezTo>
                  <a:cubicBezTo>
                    <a:pt x="5" y="3"/>
                    <a:pt x="5" y="7"/>
                    <a:pt x="5" y="7"/>
                  </a:cubicBezTo>
                  <a:cubicBezTo>
                    <a:pt x="3" y="7"/>
                    <a:pt x="5" y="5"/>
                    <a:pt x="3" y="5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95" name="Freeform 259">
              <a:extLst>
                <a:ext uri="{FF2B5EF4-FFF2-40B4-BE49-F238E27FC236}">
                  <a16:creationId xmlns:a16="http://schemas.microsoft.com/office/drawing/2014/main" id="{3CC38FF8-97A9-62A0-5693-485A8645CE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03496" y="4239027"/>
              <a:ext cx="12769" cy="19427"/>
            </a:xfrm>
            <a:custGeom>
              <a:avLst/>
              <a:gdLst/>
              <a:ahLst/>
              <a:cxnLst>
                <a:cxn ang="0">
                  <a:pos x="2" y="5"/>
                </a:cxn>
                <a:cxn ang="0">
                  <a:pos x="0" y="2"/>
                </a:cxn>
                <a:cxn ang="0">
                  <a:pos x="2" y="3"/>
                </a:cxn>
                <a:cxn ang="0">
                  <a:pos x="2" y="5"/>
                </a:cxn>
              </a:cxnLst>
              <a:rect l="0" t="0" r="r" b="b"/>
              <a:pathLst>
                <a:path w="4" h="6">
                  <a:moveTo>
                    <a:pt x="2" y="5"/>
                  </a:moveTo>
                  <a:cubicBezTo>
                    <a:pt x="2" y="6"/>
                    <a:pt x="0" y="5"/>
                    <a:pt x="0" y="2"/>
                  </a:cubicBezTo>
                  <a:cubicBezTo>
                    <a:pt x="2" y="0"/>
                    <a:pt x="4" y="3"/>
                    <a:pt x="2" y="3"/>
                  </a:cubicBezTo>
                  <a:cubicBezTo>
                    <a:pt x="2" y="5"/>
                    <a:pt x="4" y="5"/>
                    <a:pt x="2" y="5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96" name="Freeform 260">
              <a:extLst>
                <a:ext uri="{FF2B5EF4-FFF2-40B4-BE49-F238E27FC236}">
                  <a16:creationId xmlns:a16="http://schemas.microsoft.com/office/drawing/2014/main" id="{1699D971-48CB-9B05-F08B-FBFB5E723F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09880" y="4239027"/>
              <a:ext cx="15960" cy="9713"/>
            </a:xfrm>
            <a:custGeom>
              <a:avLst/>
              <a:gdLst/>
              <a:ahLst/>
              <a:cxnLst>
                <a:cxn ang="0">
                  <a:pos x="1" y="3"/>
                </a:cxn>
                <a:cxn ang="0">
                  <a:pos x="1" y="2"/>
                </a:cxn>
                <a:cxn ang="0">
                  <a:pos x="3" y="2"/>
                </a:cxn>
                <a:cxn ang="0">
                  <a:pos x="5" y="3"/>
                </a:cxn>
                <a:cxn ang="0">
                  <a:pos x="3" y="3"/>
                </a:cxn>
                <a:cxn ang="0">
                  <a:pos x="1" y="3"/>
                </a:cxn>
              </a:cxnLst>
              <a:rect l="0" t="0" r="r" b="b"/>
              <a:pathLst>
                <a:path w="5" h="3">
                  <a:moveTo>
                    <a:pt x="1" y="3"/>
                  </a:moveTo>
                  <a:cubicBezTo>
                    <a:pt x="0" y="2"/>
                    <a:pt x="1" y="2"/>
                    <a:pt x="1" y="2"/>
                  </a:cubicBezTo>
                  <a:cubicBezTo>
                    <a:pt x="1" y="0"/>
                    <a:pt x="1" y="0"/>
                    <a:pt x="3" y="2"/>
                  </a:cubicBezTo>
                  <a:cubicBezTo>
                    <a:pt x="3" y="2"/>
                    <a:pt x="3" y="2"/>
                    <a:pt x="5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1" y="3"/>
                    <a:pt x="1" y="3"/>
                    <a:pt x="1" y="3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97" name="Freeform 261">
              <a:extLst>
                <a:ext uri="{FF2B5EF4-FFF2-40B4-BE49-F238E27FC236}">
                  <a16:creationId xmlns:a16="http://schemas.microsoft.com/office/drawing/2014/main" id="{93D475EC-25D4-A0CD-8646-0B2F73BFBE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19456" y="4255216"/>
              <a:ext cx="6384" cy="3238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0" y="0"/>
                </a:cxn>
                <a:cxn ang="0">
                  <a:pos x="0" y="1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0" y="1"/>
                    <a:pt x="0" y="1"/>
                    <a:pt x="0" y="0"/>
                  </a:cubicBezTo>
                  <a:cubicBezTo>
                    <a:pt x="0" y="0"/>
                    <a:pt x="2" y="1"/>
                    <a:pt x="0" y="1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98" name="Freeform 262">
              <a:extLst>
                <a:ext uri="{FF2B5EF4-FFF2-40B4-BE49-F238E27FC236}">
                  <a16:creationId xmlns:a16="http://schemas.microsoft.com/office/drawing/2014/main" id="{B4EBF92F-BF59-DF58-4D2E-A0EB9F5703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73171" y="4192077"/>
              <a:ext cx="6384" cy="3238"/>
            </a:xfrm>
            <a:custGeom>
              <a:avLst/>
              <a:gdLst/>
              <a:ahLst/>
              <a:cxnLst>
                <a:cxn ang="0">
                  <a:pos x="2" y="1"/>
                </a:cxn>
                <a:cxn ang="0">
                  <a:pos x="2" y="0"/>
                </a:cxn>
                <a:cxn ang="0">
                  <a:pos x="2" y="1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cubicBezTo>
                    <a:pt x="0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699" name="Freeform 263">
              <a:extLst>
                <a:ext uri="{FF2B5EF4-FFF2-40B4-BE49-F238E27FC236}">
                  <a16:creationId xmlns:a16="http://schemas.microsoft.com/office/drawing/2014/main" id="{E55C7765-1407-CD6E-AD8B-B71306D05B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73171" y="4179126"/>
              <a:ext cx="6384" cy="12952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" y="2"/>
                </a:cxn>
                <a:cxn ang="0">
                  <a:pos x="0" y="2"/>
                </a:cxn>
              </a:cxnLst>
              <a:rect l="0" t="0" r="r" b="b"/>
              <a:pathLst>
                <a:path w="2" h="4">
                  <a:moveTo>
                    <a:pt x="0" y="2"/>
                  </a:moveTo>
                  <a:cubicBezTo>
                    <a:pt x="0" y="2"/>
                    <a:pt x="2" y="0"/>
                    <a:pt x="2" y="2"/>
                  </a:cubicBezTo>
                  <a:cubicBezTo>
                    <a:pt x="2" y="2"/>
                    <a:pt x="0" y="4"/>
                    <a:pt x="0" y="2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00" name="Freeform 264">
              <a:extLst>
                <a:ext uri="{FF2B5EF4-FFF2-40B4-BE49-F238E27FC236}">
                  <a16:creationId xmlns:a16="http://schemas.microsoft.com/office/drawing/2014/main" id="{49A97365-75DC-DFEE-E2ED-520A919866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93919" y="4229314"/>
              <a:ext cx="6384" cy="647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0"/>
                </a:cxn>
                <a:cxn ang="0">
                  <a:pos x="0" y="2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2"/>
                    <a:pt x="0" y="2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01" name="Freeform 265">
              <a:extLst>
                <a:ext uri="{FF2B5EF4-FFF2-40B4-BE49-F238E27FC236}">
                  <a16:creationId xmlns:a16="http://schemas.microsoft.com/office/drawing/2014/main" id="{CFC05BE3-1841-5DA0-B1BE-F0F07315F4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87535" y="4214742"/>
              <a:ext cx="3192" cy="6475"/>
            </a:xfrm>
            <a:custGeom>
              <a:avLst/>
              <a:gdLst/>
              <a:ahLst/>
              <a:cxnLst>
                <a:cxn ang="0">
                  <a:pos x="1" y="2"/>
                </a:cxn>
                <a:cxn ang="0">
                  <a:pos x="0" y="2"/>
                </a:cxn>
                <a:cxn ang="0">
                  <a:pos x="1" y="2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0"/>
                    <a:pt x="1" y="2"/>
                    <a:pt x="1" y="2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02" name="Freeform 266">
              <a:extLst>
                <a:ext uri="{FF2B5EF4-FFF2-40B4-BE49-F238E27FC236}">
                  <a16:creationId xmlns:a16="http://schemas.microsoft.com/office/drawing/2014/main" id="{043AECD8-5964-6FEF-B4C1-A4C337CDF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81151" y="4211504"/>
              <a:ext cx="6384" cy="97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1"/>
                </a:cxn>
                <a:cxn ang="0">
                  <a:pos x="0" y="0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2" y="3"/>
                    <a:pt x="0" y="1"/>
                    <a:pt x="0" y="0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03" name="Freeform 267">
              <a:extLst>
                <a:ext uri="{FF2B5EF4-FFF2-40B4-BE49-F238E27FC236}">
                  <a16:creationId xmlns:a16="http://schemas.microsoft.com/office/drawing/2014/main" id="{4E111E98-81FD-3E27-B9E4-482B3FA062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03496" y="4221219"/>
              <a:ext cx="6384" cy="3238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2" y="0"/>
                </a:cxn>
                <a:cxn ang="0">
                  <a:pos x="0" y="1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0" y="1"/>
                    <a:pt x="0" y="0"/>
                    <a:pt x="2" y="0"/>
                  </a:cubicBezTo>
                  <a:cubicBezTo>
                    <a:pt x="2" y="0"/>
                    <a:pt x="2" y="1"/>
                    <a:pt x="0" y="1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04" name="Freeform 268">
              <a:extLst>
                <a:ext uri="{FF2B5EF4-FFF2-40B4-BE49-F238E27FC236}">
                  <a16:creationId xmlns:a16="http://schemas.microsoft.com/office/drawing/2014/main" id="{DACEE0BE-E58F-8858-03E5-D6AC06C727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03496" y="4201791"/>
              <a:ext cx="6384" cy="9713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2" y="0"/>
                </a:cxn>
                <a:cxn ang="0">
                  <a:pos x="0" y="1"/>
                </a:cxn>
              </a:cxnLst>
              <a:rect l="0" t="0" r="r" b="b"/>
              <a:pathLst>
                <a:path w="2" h="3">
                  <a:moveTo>
                    <a:pt x="0" y="1"/>
                  </a:moveTo>
                  <a:cubicBezTo>
                    <a:pt x="0" y="1"/>
                    <a:pt x="0" y="0"/>
                    <a:pt x="2" y="0"/>
                  </a:cubicBezTo>
                  <a:cubicBezTo>
                    <a:pt x="2" y="1"/>
                    <a:pt x="2" y="3"/>
                    <a:pt x="0" y="1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05" name="Freeform 269">
              <a:extLst>
                <a:ext uri="{FF2B5EF4-FFF2-40B4-BE49-F238E27FC236}">
                  <a16:creationId xmlns:a16="http://schemas.microsoft.com/office/drawing/2014/main" id="{9B1A7951-396B-A69B-0D96-B7A4D1C157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62699" y="1626057"/>
              <a:ext cx="2173820" cy="1777597"/>
            </a:xfrm>
            <a:custGeom>
              <a:avLst/>
              <a:gdLst/>
              <a:ahLst/>
              <a:cxnLst>
                <a:cxn ang="0">
                  <a:pos x="116" y="479"/>
                </a:cxn>
                <a:cxn ang="0">
                  <a:pos x="70" y="434"/>
                </a:cxn>
                <a:cxn ang="0">
                  <a:pos x="70" y="438"/>
                </a:cxn>
                <a:cxn ang="0">
                  <a:pos x="66" y="435"/>
                </a:cxn>
                <a:cxn ang="0">
                  <a:pos x="86" y="426"/>
                </a:cxn>
                <a:cxn ang="0">
                  <a:pos x="93" y="432"/>
                </a:cxn>
                <a:cxn ang="0">
                  <a:pos x="177" y="170"/>
                </a:cxn>
                <a:cxn ang="0">
                  <a:pos x="121" y="179"/>
                </a:cxn>
                <a:cxn ang="0">
                  <a:pos x="306" y="213"/>
                </a:cxn>
                <a:cxn ang="0">
                  <a:pos x="264" y="187"/>
                </a:cxn>
                <a:cxn ang="0">
                  <a:pos x="182" y="177"/>
                </a:cxn>
                <a:cxn ang="0">
                  <a:pos x="215" y="221"/>
                </a:cxn>
                <a:cxn ang="0">
                  <a:pos x="284" y="168"/>
                </a:cxn>
                <a:cxn ang="0">
                  <a:pos x="501" y="281"/>
                </a:cxn>
                <a:cxn ang="0">
                  <a:pos x="606" y="303"/>
                </a:cxn>
                <a:cxn ang="0">
                  <a:pos x="612" y="249"/>
                </a:cxn>
                <a:cxn ang="0">
                  <a:pos x="510" y="171"/>
                </a:cxn>
                <a:cxn ang="0">
                  <a:pos x="404" y="184"/>
                </a:cxn>
                <a:cxn ang="0">
                  <a:pos x="463" y="297"/>
                </a:cxn>
                <a:cxn ang="0">
                  <a:pos x="500" y="168"/>
                </a:cxn>
                <a:cxn ang="0">
                  <a:pos x="483" y="140"/>
                </a:cxn>
                <a:cxn ang="0">
                  <a:pos x="352" y="109"/>
                </a:cxn>
                <a:cxn ang="0">
                  <a:pos x="370" y="180"/>
                </a:cxn>
                <a:cxn ang="0">
                  <a:pos x="316" y="160"/>
                </a:cxn>
                <a:cxn ang="0">
                  <a:pos x="287" y="73"/>
                </a:cxn>
                <a:cxn ang="0">
                  <a:pos x="498" y="96"/>
                </a:cxn>
                <a:cxn ang="0">
                  <a:pos x="602" y="5"/>
                </a:cxn>
                <a:cxn ang="0">
                  <a:pos x="405" y="22"/>
                </a:cxn>
                <a:cxn ang="0">
                  <a:pos x="431" y="53"/>
                </a:cxn>
                <a:cxn ang="0">
                  <a:pos x="418" y="114"/>
                </a:cxn>
                <a:cxn ang="0">
                  <a:pos x="431" y="72"/>
                </a:cxn>
                <a:cxn ang="0">
                  <a:pos x="338" y="76"/>
                </a:cxn>
                <a:cxn ang="0">
                  <a:pos x="244" y="112"/>
                </a:cxn>
                <a:cxn ang="0">
                  <a:pos x="215" y="143"/>
                </a:cxn>
                <a:cxn ang="0">
                  <a:pos x="157" y="120"/>
                </a:cxn>
                <a:cxn ang="0">
                  <a:pos x="249" y="87"/>
                </a:cxn>
                <a:cxn ang="0">
                  <a:pos x="303" y="126"/>
                </a:cxn>
                <a:cxn ang="0">
                  <a:pos x="640" y="522"/>
                </a:cxn>
                <a:cxn ang="0">
                  <a:pos x="687" y="501"/>
                </a:cxn>
                <a:cxn ang="0">
                  <a:pos x="678" y="456"/>
                </a:cxn>
                <a:cxn ang="0">
                  <a:pos x="401" y="494"/>
                </a:cxn>
                <a:cxn ang="0">
                  <a:pos x="448" y="508"/>
                </a:cxn>
                <a:cxn ang="0">
                  <a:pos x="472" y="529"/>
                </a:cxn>
                <a:cxn ang="0">
                  <a:pos x="492" y="554"/>
                </a:cxn>
                <a:cxn ang="0">
                  <a:pos x="561" y="521"/>
                </a:cxn>
                <a:cxn ang="0">
                  <a:pos x="602" y="530"/>
                </a:cxn>
                <a:cxn ang="0">
                  <a:pos x="649" y="463"/>
                </a:cxn>
                <a:cxn ang="0">
                  <a:pos x="609" y="350"/>
                </a:cxn>
                <a:cxn ang="0">
                  <a:pos x="501" y="356"/>
                </a:cxn>
                <a:cxn ang="0">
                  <a:pos x="379" y="367"/>
                </a:cxn>
                <a:cxn ang="0">
                  <a:pos x="462" y="258"/>
                </a:cxn>
                <a:cxn ang="0">
                  <a:pos x="408" y="222"/>
                </a:cxn>
                <a:cxn ang="0">
                  <a:pos x="361" y="240"/>
                </a:cxn>
                <a:cxn ang="0">
                  <a:pos x="204" y="238"/>
                </a:cxn>
                <a:cxn ang="0">
                  <a:pos x="52" y="227"/>
                </a:cxn>
                <a:cxn ang="0">
                  <a:pos x="48" y="356"/>
                </a:cxn>
                <a:cxn ang="0">
                  <a:pos x="96" y="432"/>
                </a:cxn>
                <a:cxn ang="0">
                  <a:pos x="119" y="466"/>
                </a:cxn>
                <a:cxn ang="0">
                  <a:pos x="484" y="317"/>
                </a:cxn>
                <a:cxn ang="0">
                  <a:pos x="183" y="120"/>
                </a:cxn>
                <a:cxn ang="0">
                  <a:pos x="305" y="115"/>
                </a:cxn>
                <a:cxn ang="0">
                  <a:pos x="471" y="437"/>
                </a:cxn>
                <a:cxn ang="0">
                  <a:pos x="494" y="398"/>
                </a:cxn>
              </a:cxnLst>
              <a:rect l="0" t="0" r="r" b="b"/>
              <a:pathLst>
                <a:path w="702" h="566">
                  <a:moveTo>
                    <a:pt x="99" y="463"/>
                  </a:moveTo>
                  <a:cubicBezTo>
                    <a:pt x="102" y="462"/>
                    <a:pt x="107" y="463"/>
                    <a:pt x="108" y="465"/>
                  </a:cubicBezTo>
                  <a:cubicBezTo>
                    <a:pt x="110" y="466"/>
                    <a:pt x="122" y="468"/>
                    <a:pt x="124" y="470"/>
                  </a:cubicBezTo>
                  <a:cubicBezTo>
                    <a:pt x="125" y="474"/>
                    <a:pt x="128" y="476"/>
                    <a:pt x="128" y="476"/>
                  </a:cubicBezTo>
                  <a:cubicBezTo>
                    <a:pt x="127" y="477"/>
                    <a:pt x="130" y="480"/>
                    <a:pt x="133" y="480"/>
                  </a:cubicBezTo>
                  <a:cubicBezTo>
                    <a:pt x="136" y="482"/>
                    <a:pt x="136" y="485"/>
                    <a:pt x="137" y="485"/>
                  </a:cubicBezTo>
                  <a:cubicBezTo>
                    <a:pt x="139" y="487"/>
                    <a:pt x="137" y="488"/>
                    <a:pt x="139" y="488"/>
                  </a:cubicBezTo>
                  <a:cubicBezTo>
                    <a:pt x="140" y="490"/>
                    <a:pt x="140" y="493"/>
                    <a:pt x="139" y="491"/>
                  </a:cubicBezTo>
                  <a:cubicBezTo>
                    <a:pt x="139" y="491"/>
                    <a:pt x="139" y="493"/>
                    <a:pt x="136" y="493"/>
                  </a:cubicBezTo>
                  <a:cubicBezTo>
                    <a:pt x="133" y="491"/>
                    <a:pt x="133" y="490"/>
                    <a:pt x="130" y="490"/>
                  </a:cubicBezTo>
                  <a:cubicBezTo>
                    <a:pt x="127" y="490"/>
                    <a:pt x="125" y="487"/>
                    <a:pt x="125" y="485"/>
                  </a:cubicBezTo>
                  <a:cubicBezTo>
                    <a:pt x="127" y="485"/>
                    <a:pt x="125" y="485"/>
                    <a:pt x="124" y="485"/>
                  </a:cubicBezTo>
                  <a:cubicBezTo>
                    <a:pt x="122" y="485"/>
                    <a:pt x="119" y="484"/>
                    <a:pt x="121" y="482"/>
                  </a:cubicBezTo>
                  <a:cubicBezTo>
                    <a:pt x="121" y="480"/>
                    <a:pt x="119" y="482"/>
                    <a:pt x="119" y="480"/>
                  </a:cubicBezTo>
                  <a:cubicBezTo>
                    <a:pt x="118" y="479"/>
                    <a:pt x="118" y="479"/>
                    <a:pt x="116" y="479"/>
                  </a:cubicBezTo>
                  <a:cubicBezTo>
                    <a:pt x="113" y="480"/>
                    <a:pt x="113" y="477"/>
                    <a:pt x="115" y="477"/>
                  </a:cubicBezTo>
                  <a:cubicBezTo>
                    <a:pt x="118" y="476"/>
                    <a:pt x="115" y="477"/>
                    <a:pt x="113" y="474"/>
                  </a:cubicBezTo>
                  <a:cubicBezTo>
                    <a:pt x="113" y="471"/>
                    <a:pt x="110" y="476"/>
                    <a:pt x="110" y="474"/>
                  </a:cubicBezTo>
                  <a:cubicBezTo>
                    <a:pt x="108" y="473"/>
                    <a:pt x="110" y="471"/>
                    <a:pt x="110" y="471"/>
                  </a:cubicBezTo>
                  <a:cubicBezTo>
                    <a:pt x="108" y="470"/>
                    <a:pt x="107" y="474"/>
                    <a:pt x="107" y="471"/>
                  </a:cubicBezTo>
                  <a:cubicBezTo>
                    <a:pt x="107" y="470"/>
                    <a:pt x="104" y="473"/>
                    <a:pt x="104" y="471"/>
                  </a:cubicBezTo>
                  <a:cubicBezTo>
                    <a:pt x="102" y="471"/>
                    <a:pt x="105" y="470"/>
                    <a:pt x="104" y="470"/>
                  </a:cubicBezTo>
                  <a:cubicBezTo>
                    <a:pt x="102" y="468"/>
                    <a:pt x="104" y="466"/>
                    <a:pt x="107" y="466"/>
                  </a:cubicBezTo>
                  <a:cubicBezTo>
                    <a:pt x="108" y="466"/>
                    <a:pt x="105" y="465"/>
                    <a:pt x="104" y="466"/>
                  </a:cubicBezTo>
                  <a:cubicBezTo>
                    <a:pt x="101" y="466"/>
                    <a:pt x="98" y="463"/>
                    <a:pt x="99" y="463"/>
                  </a:cubicBezTo>
                  <a:close/>
                  <a:moveTo>
                    <a:pt x="64" y="431"/>
                  </a:moveTo>
                  <a:cubicBezTo>
                    <a:pt x="66" y="431"/>
                    <a:pt x="67" y="432"/>
                    <a:pt x="66" y="432"/>
                  </a:cubicBezTo>
                  <a:cubicBezTo>
                    <a:pt x="64" y="431"/>
                    <a:pt x="64" y="432"/>
                    <a:pt x="66" y="432"/>
                  </a:cubicBezTo>
                  <a:cubicBezTo>
                    <a:pt x="67" y="434"/>
                    <a:pt x="64" y="434"/>
                    <a:pt x="67" y="434"/>
                  </a:cubicBezTo>
                  <a:cubicBezTo>
                    <a:pt x="70" y="434"/>
                    <a:pt x="67" y="434"/>
                    <a:pt x="70" y="434"/>
                  </a:cubicBezTo>
                  <a:cubicBezTo>
                    <a:pt x="72" y="432"/>
                    <a:pt x="70" y="428"/>
                    <a:pt x="72" y="426"/>
                  </a:cubicBezTo>
                  <a:cubicBezTo>
                    <a:pt x="73" y="425"/>
                    <a:pt x="73" y="421"/>
                    <a:pt x="72" y="423"/>
                  </a:cubicBezTo>
                  <a:cubicBezTo>
                    <a:pt x="70" y="425"/>
                    <a:pt x="69" y="423"/>
                    <a:pt x="69" y="425"/>
                  </a:cubicBezTo>
                  <a:cubicBezTo>
                    <a:pt x="70" y="426"/>
                    <a:pt x="70" y="428"/>
                    <a:pt x="67" y="428"/>
                  </a:cubicBezTo>
                  <a:cubicBezTo>
                    <a:pt x="66" y="429"/>
                    <a:pt x="64" y="428"/>
                    <a:pt x="66" y="428"/>
                  </a:cubicBezTo>
                  <a:cubicBezTo>
                    <a:pt x="69" y="426"/>
                    <a:pt x="70" y="426"/>
                    <a:pt x="69" y="423"/>
                  </a:cubicBezTo>
                  <a:cubicBezTo>
                    <a:pt x="67" y="421"/>
                    <a:pt x="67" y="423"/>
                    <a:pt x="66" y="423"/>
                  </a:cubicBezTo>
                  <a:cubicBezTo>
                    <a:pt x="64" y="421"/>
                    <a:pt x="64" y="423"/>
                    <a:pt x="64" y="421"/>
                  </a:cubicBezTo>
                  <a:cubicBezTo>
                    <a:pt x="63" y="421"/>
                    <a:pt x="61" y="421"/>
                    <a:pt x="61" y="423"/>
                  </a:cubicBezTo>
                  <a:cubicBezTo>
                    <a:pt x="63" y="425"/>
                    <a:pt x="61" y="425"/>
                    <a:pt x="63" y="428"/>
                  </a:cubicBezTo>
                  <a:cubicBezTo>
                    <a:pt x="64" y="429"/>
                    <a:pt x="61" y="428"/>
                    <a:pt x="63" y="431"/>
                  </a:cubicBezTo>
                  <a:cubicBezTo>
                    <a:pt x="64" y="431"/>
                    <a:pt x="63" y="431"/>
                    <a:pt x="64" y="431"/>
                  </a:cubicBezTo>
                  <a:close/>
                  <a:moveTo>
                    <a:pt x="69" y="435"/>
                  </a:moveTo>
                  <a:cubicBezTo>
                    <a:pt x="69" y="435"/>
                    <a:pt x="70" y="437"/>
                    <a:pt x="69" y="437"/>
                  </a:cubicBezTo>
                  <a:cubicBezTo>
                    <a:pt x="67" y="437"/>
                    <a:pt x="69" y="438"/>
                    <a:pt x="70" y="438"/>
                  </a:cubicBezTo>
                  <a:cubicBezTo>
                    <a:pt x="72" y="438"/>
                    <a:pt x="70" y="440"/>
                    <a:pt x="70" y="440"/>
                  </a:cubicBezTo>
                  <a:cubicBezTo>
                    <a:pt x="70" y="440"/>
                    <a:pt x="70" y="442"/>
                    <a:pt x="73" y="443"/>
                  </a:cubicBezTo>
                  <a:cubicBezTo>
                    <a:pt x="75" y="445"/>
                    <a:pt x="73" y="445"/>
                    <a:pt x="75" y="445"/>
                  </a:cubicBezTo>
                  <a:cubicBezTo>
                    <a:pt x="75" y="446"/>
                    <a:pt x="75" y="446"/>
                    <a:pt x="77" y="446"/>
                  </a:cubicBezTo>
                  <a:cubicBezTo>
                    <a:pt x="78" y="448"/>
                    <a:pt x="78" y="446"/>
                    <a:pt x="78" y="445"/>
                  </a:cubicBezTo>
                  <a:cubicBezTo>
                    <a:pt x="77" y="445"/>
                    <a:pt x="77" y="445"/>
                    <a:pt x="77" y="445"/>
                  </a:cubicBezTo>
                  <a:cubicBezTo>
                    <a:pt x="77" y="443"/>
                    <a:pt x="77" y="443"/>
                    <a:pt x="77" y="443"/>
                  </a:cubicBezTo>
                  <a:cubicBezTo>
                    <a:pt x="75" y="445"/>
                    <a:pt x="75" y="443"/>
                    <a:pt x="75" y="443"/>
                  </a:cubicBezTo>
                  <a:cubicBezTo>
                    <a:pt x="73" y="443"/>
                    <a:pt x="72" y="440"/>
                    <a:pt x="72" y="440"/>
                  </a:cubicBezTo>
                  <a:cubicBezTo>
                    <a:pt x="73" y="438"/>
                    <a:pt x="72" y="440"/>
                    <a:pt x="72" y="438"/>
                  </a:cubicBezTo>
                  <a:cubicBezTo>
                    <a:pt x="70" y="437"/>
                    <a:pt x="73" y="438"/>
                    <a:pt x="73" y="437"/>
                  </a:cubicBezTo>
                  <a:cubicBezTo>
                    <a:pt x="73" y="437"/>
                    <a:pt x="73" y="437"/>
                    <a:pt x="73" y="435"/>
                  </a:cubicBezTo>
                  <a:cubicBezTo>
                    <a:pt x="73" y="435"/>
                    <a:pt x="72" y="435"/>
                    <a:pt x="72" y="434"/>
                  </a:cubicBezTo>
                  <a:cubicBezTo>
                    <a:pt x="72" y="434"/>
                    <a:pt x="72" y="432"/>
                    <a:pt x="70" y="434"/>
                  </a:cubicBezTo>
                  <a:cubicBezTo>
                    <a:pt x="69" y="435"/>
                    <a:pt x="66" y="435"/>
                    <a:pt x="66" y="435"/>
                  </a:cubicBezTo>
                  <a:cubicBezTo>
                    <a:pt x="67" y="437"/>
                    <a:pt x="67" y="435"/>
                    <a:pt x="69" y="435"/>
                  </a:cubicBezTo>
                  <a:close/>
                  <a:moveTo>
                    <a:pt x="78" y="418"/>
                  </a:moveTo>
                  <a:cubicBezTo>
                    <a:pt x="78" y="417"/>
                    <a:pt x="80" y="415"/>
                    <a:pt x="81" y="417"/>
                  </a:cubicBezTo>
                  <a:cubicBezTo>
                    <a:pt x="81" y="417"/>
                    <a:pt x="80" y="420"/>
                    <a:pt x="78" y="418"/>
                  </a:cubicBezTo>
                  <a:close/>
                  <a:moveTo>
                    <a:pt x="112" y="474"/>
                  </a:moveTo>
                  <a:cubicBezTo>
                    <a:pt x="113" y="474"/>
                    <a:pt x="115" y="476"/>
                    <a:pt x="113" y="477"/>
                  </a:cubicBezTo>
                  <a:cubicBezTo>
                    <a:pt x="113" y="477"/>
                    <a:pt x="110" y="476"/>
                    <a:pt x="112" y="474"/>
                  </a:cubicBezTo>
                  <a:close/>
                  <a:moveTo>
                    <a:pt x="86" y="434"/>
                  </a:moveTo>
                  <a:cubicBezTo>
                    <a:pt x="87" y="435"/>
                    <a:pt x="89" y="434"/>
                    <a:pt x="87" y="432"/>
                  </a:cubicBezTo>
                  <a:cubicBezTo>
                    <a:pt x="87" y="431"/>
                    <a:pt x="86" y="431"/>
                    <a:pt x="84" y="429"/>
                  </a:cubicBezTo>
                  <a:cubicBezTo>
                    <a:pt x="81" y="428"/>
                    <a:pt x="83" y="429"/>
                    <a:pt x="83" y="431"/>
                  </a:cubicBezTo>
                  <a:cubicBezTo>
                    <a:pt x="84" y="432"/>
                    <a:pt x="86" y="432"/>
                    <a:pt x="86" y="434"/>
                  </a:cubicBezTo>
                  <a:close/>
                  <a:moveTo>
                    <a:pt x="90" y="434"/>
                  </a:moveTo>
                  <a:cubicBezTo>
                    <a:pt x="90" y="432"/>
                    <a:pt x="90" y="432"/>
                    <a:pt x="90" y="431"/>
                  </a:cubicBezTo>
                  <a:cubicBezTo>
                    <a:pt x="89" y="429"/>
                    <a:pt x="87" y="428"/>
                    <a:pt x="86" y="426"/>
                  </a:cubicBezTo>
                  <a:cubicBezTo>
                    <a:pt x="84" y="425"/>
                    <a:pt x="84" y="426"/>
                    <a:pt x="84" y="428"/>
                  </a:cubicBezTo>
                  <a:cubicBezTo>
                    <a:pt x="86" y="428"/>
                    <a:pt x="86" y="429"/>
                    <a:pt x="87" y="429"/>
                  </a:cubicBezTo>
                  <a:cubicBezTo>
                    <a:pt x="87" y="429"/>
                    <a:pt x="87" y="431"/>
                    <a:pt x="89" y="434"/>
                  </a:cubicBezTo>
                  <a:cubicBezTo>
                    <a:pt x="90" y="434"/>
                    <a:pt x="90" y="434"/>
                    <a:pt x="90" y="434"/>
                  </a:cubicBezTo>
                  <a:close/>
                  <a:moveTo>
                    <a:pt x="83" y="425"/>
                  </a:moveTo>
                  <a:cubicBezTo>
                    <a:pt x="83" y="426"/>
                    <a:pt x="83" y="426"/>
                    <a:pt x="84" y="426"/>
                  </a:cubicBezTo>
                  <a:cubicBezTo>
                    <a:pt x="86" y="425"/>
                    <a:pt x="84" y="423"/>
                    <a:pt x="83" y="423"/>
                  </a:cubicBezTo>
                  <a:cubicBezTo>
                    <a:pt x="81" y="423"/>
                    <a:pt x="81" y="425"/>
                    <a:pt x="81" y="426"/>
                  </a:cubicBezTo>
                  <a:cubicBezTo>
                    <a:pt x="81" y="428"/>
                    <a:pt x="81" y="425"/>
                    <a:pt x="83" y="425"/>
                  </a:cubicBezTo>
                  <a:close/>
                  <a:moveTo>
                    <a:pt x="95" y="437"/>
                  </a:moveTo>
                  <a:cubicBezTo>
                    <a:pt x="96" y="437"/>
                    <a:pt x="93" y="438"/>
                    <a:pt x="93" y="438"/>
                  </a:cubicBezTo>
                  <a:cubicBezTo>
                    <a:pt x="93" y="440"/>
                    <a:pt x="95" y="442"/>
                    <a:pt x="96" y="440"/>
                  </a:cubicBezTo>
                  <a:cubicBezTo>
                    <a:pt x="96" y="437"/>
                    <a:pt x="96" y="442"/>
                    <a:pt x="96" y="442"/>
                  </a:cubicBezTo>
                  <a:cubicBezTo>
                    <a:pt x="98" y="442"/>
                    <a:pt x="98" y="440"/>
                    <a:pt x="98" y="437"/>
                  </a:cubicBezTo>
                  <a:cubicBezTo>
                    <a:pt x="98" y="435"/>
                    <a:pt x="95" y="432"/>
                    <a:pt x="93" y="432"/>
                  </a:cubicBezTo>
                  <a:cubicBezTo>
                    <a:pt x="93" y="432"/>
                    <a:pt x="95" y="435"/>
                    <a:pt x="93" y="435"/>
                  </a:cubicBezTo>
                  <a:cubicBezTo>
                    <a:pt x="93" y="435"/>
                    <a:pt x="92" y="438"/>
                    <a:pt x="93" y="437"/>
                  </a:cubicBezTo>
                  <a:cubicBezTo>
                    <a:pt x="95" y="437"/>
                    <a:pt x="95" y="435"/>
                    <a:pt x="95" y="437"/>
                  </a:cubicBezTo>
                  <a:close/>
                  <a:moveTo>
                    <a:pt x="95" y="440"/>
                  </a:moveTo>
                  <a:cubicBezTo>
                    <a:pt x="93" y="440"/>
                    <a:pt x="92" y="438"/>
                    <a:pt x="92" y="440"/>
                  </a:cubicBezTo>
                  <a:cubicBezTo>
                    <a:pt x="92" y="440"/>
                    <a:pt x="93" y="442"/>
                    <a:pt x="95" y="443"/>
                  </a:cubicBezTo>
                  <a:cubicBezTo>
                    <a:pt x="95" y="445"/>
                    <a:pt x="95" y="442"/>
                    <a:pt x="95" y="440"/>
                  </a:cubicBezTo>
                  <a:close/>
                  <a:moveTo>
                    <a:pt x="98" y="445"/>
                  </a:moveTo>
                  <a:cubicBezTo>
                    <a:pt x="96" y="445"/>
                    <a:pt x="96" y="443"/>
                    <a:pt x="96" y="443"/>
                  </a:cubicBezTo>
                  <a:cubicBezTo>
                    <a:pt x="98" y="443"/>
                    <a:pt x="98" y="445"/>
                    <a:pt x="98" y="445"/>
                  </a:cubicBezTo>
                  <a:close/>
                  <a:moveTo>
                    <a:pt x="142" y="194"/>
                  </a:moveTo>
                  <a:cubicBezTo>
                    <a:pt x="143" y="196"/>
                    <a:pt x="148" y="193"/>
                    <a:pt x="151" y="190"/>
                  </a:cubicBezTo>
                  <a:cubicBezTo>
                    <a:pt x="156" y="188"/>
                    <a:pt x="154" y="191"/>
                    <a:pt x="160" y="190"/>
                  </a:cubicBezTo>
                  <a:cubicBezTo>
                    <a:pt x="166" y="187"/>
                    <a:pt x="160" y="179"/>
                    <a:pt x="168" y="177"/>
                  </a:cubicBezTo>
                  <a:cubicBezTo>
                    <a:pt x="174" y="177"/>
                    <a:pt x="169" y="173"/>
                    <a:pt x="177" y="170"/>
                  </a:cubicBezTo>
                  <a:cubicBezTo>
                    <a:pt x="186" y="166"/>
                    <a:pt x="191" y="162"/>
                    <a:pt x="197" y="162"/>
                  </a:cubicBezTo>
                  <a:cubicBezTo>
                    <a:pt x="207" y="159"/>
                    <a:pt x="203" y="156"/>
                    <a:pt x="200" y="156"/>
                  </a:cubicBezTo>
                  <a:cubicBezTo>
                    <a:pt x="195" y="154"/>
                    <a:pt x="192" y="146"/>
                    <a:pt x="182" y="146"/>
                  </a:cubicBezTo>
                  <a:cubicBezTo>
                    <a:pt x="172" y="146"/>
                    <a:pt x="177" y="149"/>
                    <a:pt x="174" y="151"/>
                  </a:cubicBezTo>
                  <a:cubicBezTo>
                    <a:pt x="172" y="151"/>
                    <a:pt x="174" y="149"/>
                    <a:pt x="172" y="148"/>
                  </a:cubicBezTo>
                  <a:cubicBezTo>
                    <a:pt x="171" y="146"/>
                    <a:pt x="171" y="148"/>
                    <a:pt x="166" y="146"/>
                  </a:cubicBezTo>
                  <a:cubicBezTo>
                    <a:pt x="157" y="145"/>
                    <a:pt x="159" y="140"/>
                    <a:pt x="150" y="143"/>
                  </a:cubicBezTo>
                  <a:cubicBezTo>
                    <a:pt x="142" y="145"/>
                    <a:pt x="127" y="145"/>
                    <a:pt x="130" y="146"/>
                  </a:cubicBezTo>
                  <a:cubicBezTo>
                    <a:pt x="131" y="148"/>
                    <a:pt x="130" y="151"/>
                    <a:pt x="134" y="152"/>
                  </a:cubicBezTo>
                  <a:cubicBezTo>
                    <a:pt x="139" y="154"/>
                    <a:pt x="134" y="156"/>
                    <a:pt x="134" y="157"/>
                  </a:cubicBezTo>
                  <a:cubicBezTo>
                    <a:pt x="134" y="160"/>
                    <a:pt x="131" y="157"/>
                    <a:pt x="131" y="160"/>
                  </a:cubicBezTo>
                  <a:cubicBezTo>
                    <a:pt x="131" y="163"/>
                    <a:pt x="127" y="165"/>
                    <a:pt x="128" y="165"/>
                  </a:cubicBezTo>
                  <a:cubicBezTo>
                    <a:pt x="131" y="166"/>
                    <a:pt x="133" y="168"/>
                    <a:pt x="128" y="168"/>
                  </a:cubicBezTo>
                  <a:cubicBezTo>
                    <a:pt x="125" y="168"/>
                    <a:pt x="125" y="168"/>
                    <a:pt x="127" y="171"/>
                  </a:cubicBezTo>
                  <a:cubicBezTo>
                    <a:pt x="127" y="173"/>
                    <a:pt x="121" y="176"/>
                    <a:pt x="121" y="179"/>
                  </a:cubicBezTo>
                  <a:cubicBezTo>
                    <a:pt x="121" y="180"/>
                    <a:pt x="119" y="180"/>
                    <a:pt x="121" y="182"/>
                  </a:cubicBezTo>
                  <a:cubicBezTo>
                    <a:pt x="122" y="182"/>
                    <a:pt x="124" y="182"/>
                    <a:pt x="133" y="185"/>
                  </a:cubicBezTo>
                  <a:cubicBezTo>
                    <a:pt x="139" y="188"/>
                    <a:pt x="139" y="193"/>
                    <a:pt x="142" y="194"/>
                  </a:cubicBezTo>
                  <a:close/>
                  <a:moveTo>
                    <a:pt x="274" y="221"/>
                  </a:moveTo>
                  <a:cubicBezTo>
                    <a:pt x="274" y="226"/>
                    <a:pt x="274" y="221"/>
                    <a:pt x="282" y="224"/>
                  </a:cubicBezTo>
                  <a:cubicBezTo>
                    <a:pt x="290" y="226"/>
                    <a:pt x="280" y="224"/>
                    <a:pt x="285" y="227"/>
                  </a:cubicBezTo>
                  <a:cubicBezTo>
                    <a:pt x="290" y="229"/>
                    <a:pt x="288" y="226"/>
                    <a:pt x="294" y="227"/>
                  </a:cubicBezTo>
                  <a:cubicBezTo>
                    <a:pt x="300" y="229"/>
                    <a:pt x="297" y="227"/>
                    <a:pt x="300" y="227"/>
                  </a:cubicBezTo>
                  <a:cubicBezTo>
                    <a:pt x="303" y="229"/>
                    <a:pt x="305" y="226"/>
                    <a:pt x="308" y="226"/>
                  </a:cubicBezTo>
                  <a:cubicBezTo>
                    <a:pt x="309" y="226"/>
                    <a:pt x="312" y="222"/>
                    <a:pt x="309" y="221"/>
                  </a:cubicBezTo>
                  <a:cubicBezTo>
                    <a:pt x="308" y="219"/>
                    <a:pt x="311" y="219"/>
                    <a:pt x="308" y="218"/>
                  </a:cubicBezTo>
                  <a:cubicBezTo>
                    <a:pt x="305" y="218"/>
                    <a:pt x="299" y="222"/>
                    <a:pt x="300" y="219"/>
                  </a:cubicBezTo>
                  <a:cubicBezTo>
                    <a:pt x="303" y="216"/>
                    <a:pt x="296" y="216"/>
                    <a:pt x="297" y="215"/>
                  </a:cubicBezTo>
                  <a:cubicBezTo>
                    <a:pt x="299" y="215"/>
                    <a:pt x="303" y="218"/>
                    <a:pt x="305" y="216"/>
                  </a:cubicBezTo>
                  <a:cubicBezTo>
                    <a:pt x="308" y="215"/>
                    <a:pt x="302" y="216"/>
                    <a:pt x="306" y="213"/>
                  </a:cubicBezTo>
                  <a:cubicBezTo>
                    <a:pt x="309" y="212"/>
                    <a:pt x="309" y="216"/>
                    <a:pt x="312" y="215"/>
                  </a:cubicBezTo>
                  <a:cubicBezTo>
                    <a:pt x="314" y="213"/>
                    <a:pt x="312" y="216"/>
                    <a:pt x="316" y="216"/>
                  </a:cubicBezTo>
                  <a:cubicBezTo>
                    <a:pt x="319" y="216"/>
                    <a:pt x="319" y="212"/>
                    <a:pt x="317" y="210"/>
                  </a:cubicBezTo>
                  <a:cubicBezTo>
                    <a:pt x="317" y="207"/>
                    <a:pt x="312" y="210"/>
                    <a:pt x="312" y="207"/>
                  </a:cubicBezTo>
                  <a:cubicBezTo>
                    <a:pt x="312" y="205"/>
                    <a:pt x="311" y="208"/>
                    <a:pt x="303" y="202"/>
                  </a:cubicBezTo>
                  <a:cubicBezTo>
                    <a:pt x="300" y="201"/>
                    <a:pt x="299" y="201"/>
                    <a:pt x="300" y="202"/>
                  </a:cubicBezTo>
                  <a:cubicBezTo>
                    <a:pt x="300" y="204"/>
                    <a:pt x="294" y="202"/>
                    <a:pt x="293" y="199"/>
                  </a:cubicBezTo>
                  <a:cubicBezTo>
                    <a:pt x="291" y="194"/>
                    <a:pt x="287" y="196"/>
                    <a:pt x="290" y="193"/>
                  </a:cubicBezTo>
                  <a:cubicBezTo>
                    <a:pt x="291" y="190"/>
                    <a:pt x="291" y="187"/>
                    <a:pt x="288" y="184"/>
                  </a:cubicBezTo>
                  <a:cubicBezTo>
                    <a:pt x="285" y="182"/>
                    <a:pt x="285" y="173"/>
                    <a:pt x="280" y="168"/>
                  </a:cubicBezTo>
                  <a:cubicBezTo>
                    <a:pt x="277" y="163"/>
                    <a:pt x="279" y="166"/>
                    <a:pt x="273" y="162"/>
                  </a:cubicBezTo>
                  <a:cubicBezTo>
                    <a:pt x="267" y="159"/>
                    <a:pt x="271" y="165"/>
                    <a:pt x="264" y="162"/>
                  </a:cubicBezTo>
                  <a:cubicBezTo>
                    <a:pt x="261" y="160"/>
                    <a:pt x="258" y="162"/>
                    <a:pt x="259" y="166"/>
                  </a:cubicBezTo>
                  <a:cubicBezTo>
                    <a:pt x="262" y="171"/>
                    <a:pt x="261" y="177"/>
                    <a:pt x="267" y="182"/>
                  </a:cubicBezTo>
                  <a:cubicBezTo>
                    <a:pt x="270" y="184"/>
                    <a:pt x="265" y="185"/>
                    <a:pt x="264" y="187"/>
                  </a:cubicBezTo>
                  <a:cubicBezTo>
                    <a:pt x="264" y="187"/>
                    <a:pt x="262" y="187"/>
                    <a:pt x="259" y="180"/>
                  </a:cubicBezTo>
                  <a:cubicBezTo>
                    <a:pt x="256" y="176"/>
                    <a:pt x="258" y="171"/>
                    <a:pt x="252" y="170"/>
                  </a:cubicBezTo>
                  <a:cubicBezTo>
                    <a:pt x="245" y="168"/>
                    <a:pt x="252" y="168"/>
                    <a:pt x="247" y="166"/>
                  </a:cubicBezTo>
                  <a:cubicBezTo>
                    <a:pt x="241" y="165"/>
                    <a:pt x="236" y="165"/>
                    <a:pt x="241" y="168"/>
                  </a:cubicBezTo>
                  <a:cubicBezTo>
                    <a:pt x="245" y="170"/>
                    <a:pt x="241" y="171"/>
                    <a:pt x="244" y="171"/>
                  </a:cubicBezTo>
                  <a:cubicBezTo>
                    <a:pt x="247" y="171"/>
                    <a:pt x="250" y="174"/>
                    <a:pt x="242" y="173"/>
                  </a:cubicBezTo>
                  <a:cubicBezTo>
                    <a:pt x="236" y="171"/>
                    <a:pt x="239" y="179"/>
                    <a:pt x="236" y="176"/>
                  </a:cubicBezTo>
                  <a:cubicBezTo>
                    <a:pt x="232" y="173"/>
                    <a:pt x="241" y="171"/>
                    <a:pt x="232" y="168"/>
                  </a:cubicBezTo>
                  <a:cubicBezTo>
                    <a:pt x="223" y="166"/>
                    <a:pt x="221" y="166"/>
                    <a:pt x="218" y="168"/>
                  </a:cubicBezTo>
                  <a:cubicBezTo>
                    <a:pt x="215" y="170"/>
                    <a:pt x="223" y="170"/>
                    <a:pt x="212" y="173"/>
                  </a:cubicBezTo>
                  <a:cubicBezTo>
                    <a:pt x="206" y="174"/>
                    <a:pt x="215" y="170"/>
                    <a:pt x="213" y="168"/>
                  </a:cubicBezTo>
                  <a:cubicBezTo>
                    <a:pt x="213" y="165"/>
                    <a:pt x="217" y="163"/>
                    <a:pt x="212" y="160"/>
                  </a:cubicBezTo>
                  <a:cubicBezTo>
                    <a:pt x="207" y="159"/>
                    <a:pt x="198" y="165"/>
                    <a:pt x="192" y="166"/>
                  </a:cubicBezTo>
                  <a:cubicBezTo>
                    <a:pt x="188" y="166"/>
                    <a:pt x="185" y="170"/>
                    <a:pt x="180" y="173"/>
                  </a:cubicBezTo>
                  <a:cubicBezTo>
                    <a:pt x="174" y="176"/>
                    <a:pt x="182" y="176"/>
                    <a:pt x="182" y="177"/>
                  </a:cubicBezTo>
                  <a:cubicBezTo>
                    <a:pt x="182" y="179"/>
                    <a:pt x="178" y="177"/>
                    <a:pt x="175" y="180"/>
                  </a:cubicBezTo>
                  <a:cubicBezTo>
                    <a:pt x="172" y="185"/>
                    <a:pt x="172" y="188"/>
                    <a:pt x="175" y="187"/>
                  </a:cubicBezTo>
                  <a:cubicBezTo>
                    <a:pt x="178" y="185"/>
                    <a:pt x="178" y="188"/>
                    <a:pt x="180" y="190"/>
                  </a:cubicBezTo>
                  <a:cubicBezTo>
                    <a:pt x="182" y="191"/>
                    <a:pt x="191" y="190"/>
                    <a:pt x="194" y="188"/>
                  </a:cubicBezTo>
                  <a:cubicBezTo>
                    <a:pt x="195" y="188"/>
                    <a:pt x="203" y="190"/>
                    <a:pt x="188" y="193"/>
                  </a:cubicBezTo>
                  <a:cubicBezTo>
                    <a:pt x="178" y="194"/>
                    <a:pt x="177" y="196"/>
                    <a:pt x="182" y="199"/>
                  </a:cubicBezTo>
                  <a:cubicBezTo>
                    <a:pt x="186" y="202"/>
                    <a:pt x="186" y="202"/>
                    <a:pt x="192" y="201"/>
                  </a:cubicBezTo>
                  <a:cubicBezTo>
                    <a:pt x="198" y="201"/>
                    <a:pt x="195" y="202"/>
                    <a:pt x="203" y="202"/>
                  </a:cubicBezTo>
                  <a:cubicBezTo>
                    <a:pt x="210" y="202"/>
                    <a:pt x="212" y="199"/>
                    <a:pt x="218" y="202"/>
                  </a:cubicBezTo>
                  <a:cubicBezTo>
                    <a:pt x="226" y="204"/>
                    <a:pt x="224" y="201"/>
                    <a:pt x="227" y="204"/>
                  </a:cubicBezTo>
                  <a:cubicBezTo>
                    <a:pt x="230" y="205"/>
                    <a:pt x="236" y="207"/>
                    <a:pt x="232" y="207"/>
                  </a:cubicBezTo>
                  <a:cubicBezTo>
                    <a:pt x="226" y="207"/>
                    <a:pt x="230" y="208"/>
                    <a:pt x="221" y="207"/>
                  </a:cubicBezTo>
                  <a:cubicBezTo>
                    <a:pt x="213" y="205"/>
                    <a:pt x="200" y="207"/>
                    <a:pt x="191" y="208"/>
                  </a:cubicBezTo>
                  <a:cubicBezTo>
                    <a:pt x="183" y="210"/>
                    <a:pt x="189" y="215"/>
                    <a:pt x="194" y="218"/>
                  </a:cubicBezTo>
                  <a:cubicBezTo>
                    <a:pt x="197" y="222"/>
                    <a:pt x="212" y="221"/>
                    <a:pt x="215" y="221"/>
                  </a:cubicBezTo>
                  <a:cubicBezTo>
                    <a:pt x="220" y="221"/>
                    <a:pt x="215" y="227"/>
                    <a:pt x="218" y="229"/>
                  </a:cubicBezTo>
                  <a:cubicBezTo>
                    <a:pt x="220" y="232"/>
                    <a:pt x="220" y="233"/>
                    <a:pt x="224" y="232"/>
                  </a:cubicBezTo>
                  <a:cubicBezTo>
                    <a:pt x="232" y="232"/>
                    <a:pt x="235" y="233"/>
                    <a:pt x="236" y="232"/>
                  </a:cubicBezTo>
                  <a:cubicBezTo>
                    <a:pt x="239" y="230"/>
                    <a:pt x="252" y="230"/>
                    <a:pt x="256" y="227"/>
                  </a:cubicBezTo>
                  <a:cubicBezTo>
                    <a:pt x="261" y="224"/>
                    <a:pt x="262" y="227"/>
                    <a:pt x="267" y="224"/>
                  </a:cubicBezTo>
                  <a:cubicBezTo>
                    <a:pt x="271" y="221"/>
                    <a:pt x="267" y="221"/>
                    <a:pt x="271" y="219"/>
                  </a:cubicBezTo>
                  <a:cubicBezTo>
                    <a:pt x="273" y="218"/>
                    <a:pt x="274" y="218"/>
                    <a:pt x="274" y="221"/>
                  </a:cubicBezTo>
                  <a:close/>
                  <a:moveTo>
                    <a:pt x="284" y="168"/>
                  </a:moveTo>
                  <a:cubicBezTo>
                    <a:pt x="284" y="166"/>
                    <a:pt x="285" y="166"/>
                    <a:pt x="287" y="163"/>
                  </a:cubicBezTo>
                  <a:cubicBezTo>
                    <a:pt x="288" y="160"/>
                    <a:pt x="291" y="157"/>
                    <a:pt x="288" y="157"/>
                  </a:cubicBezTo>
                  <a:cubicBezTo>
                    <a:pt x="285" y="156"/>
                    <a:pt x="287" y="154"/>
                    <a:pt x="279" y="154"/>
                  </a:cubicBezTo>
                  <a:cubicBezTo>
                    <a:pt x="270" y="156"/>
                    <a:pt x="267" y="159"/>
                    <a:pt x="271" y="159"/>
                  </a:cubicBezTo>
                  <a:cubicBezTo>
                    <a:pt x="276" y="160"/>
                    <a:pt x="276" y="162"/>
                    <a:pt x="276" y="162"/>
                  </a:cubicBezTo>
                  <a:cubicBezTo>
                    <a:pt x="276" y="163"/>
                    <a:pt x="279" y="165"/>
                    <a:pt x="282" y="168"/>
                  </a:cubicBezTo>
                  <a:cubicBezTo>
                    <a:pt x="284" y="168"/>
                    <a:pt x="284" y="168"/>
                    <a:pt x="284" y="168"/>
                  </a:cubicBezTo>
                  <a:close/>
                  <a:moveTo>
                    <a:pt x="474" y="213"/>
                  </a:moveTo>
                  <a:cubicBezTo>
                    <a:pt x="480" y="218"/>
                    <a:pt x="480" y="216"/>
                    <a:pt x="475" y="212"/>
                  </a:cubicBezTo>
                  <a:cubicBezTo>
                    <a:pt x="471" y="207"/>
                    <a:pt x="483" y="212"/>
                    <a:pt x="491" y="212"/>
                  </a:cubicBezTo>
                  <a:cubicBezTo>
                    <a:pt x="498" y="213"/>
                    <a:pt x="491" y="202"/>
                    <a:pt x="495" y="205"/>
                  </a:cubicBezTo>
                  <a:cubicBezTo>
                    <a:pt x="498" y="210"/>
                    <a:pt x="501" y="204"/>
                    <a:pt x="503" y="210"/>
                  </a:cubicBezTo>
                  <a:cubicBezTo>
                    <a:pt x="503" y="216"/>
                    <a:pt x="504" y="215"/>
                    <a:pt x="513" y="218"/>
                  </a:cubicBezTo>
                  <a:cubicBezTo>
                    <a:pt x="521" y="221"/>
                    <a:pt x="518" y="224"/>
                    <a:pt x="513" y="224"/>
                  </a:cubicBezTo>
                  <a:cubicBezTo>
                    <a:pt x="509" y="224"/>
                    <a:pt x="507" y="230"/>
                    <a:pt x="513" y="229"/>
                  </a:cubicBezTo>
                  <a:cubicBezTo>
                    <a:pt x="521" y="227"/>
                    <a:pt x="530" y="230"/>
                    <a:pt x="532" y="233"/>
                  </a:cubicBezTo>
                  <a:cubicBezTo>
                    <a:pt x="533" y="236"/>
                    <a:pt x="539" y="235"/>
                    <a:pt x="541" y="241"/>
                  </a:cubicBezTo>
                  <a:cubicBezTo>
                    <a:pt x="541" y="247"/>
                    <a:pt x="547" y="250"/>
                    <a:pt x="542" y="252"/>
                  </a:cubicBezTo>
                  <a:cubicBezTo>
                    <a:pt x="539" y="255"/>
                    <a:pt x="538" y="258"/>
                    <a:pt x="530" y="263"/>
                  </a:cubicBezTo>
                  <a:cubicBezTo>
                    <a:pt x="524" y="268"/>
                    <a:pt x="539" y="277"/>
                    <a:pt x="533" y="274"/>
                  </a:cubicBezTo>
                  <a:cubicBezTo>
                    <a:pt x="526" y="272"/>
                    <a:pt x="527" y="280"/>
                    <a:pt x="512" y="277"/>
                  </a:cubicBezTo>
                  <a:cubicBezTo>
                    <a:pt x="497" y="272"/>
                    <a:pt x="509" y="277"/>
                    <a:pt x="501" y="281"/>
                  </a:cubicBezTo>
                  <a:cubicBezTo>
                    <a:pt x="494" y="285"/>
                    <a:pt x="503" y="295"/>
                    <a:pt x="513" y="289"/>
                  </a:cubicBezTo>
                  <a:cubicBezTo>
                    <a:pt x="524" y="285"/>
                    <a:pt x="523" y="294"/>
                    <a:pt x="527" y="289"/>
                  </a:cubicBezTo>
                  <a:cubicBezTo>
                    <a:pt x="532" y="285"/>
                    <a:pt x="530" y="294"/>
                    <a:pt x="532" y="291"/>
                  </a:cubicBezTo>
                  <a:cubicBezTo>
                    <a:pt x="533" y="288"/>
                    <a:pt x="532" y="285"/>
                    <a:pt x="541" y="294"/>
                  </a:cubicBezTo>
                  <a:cubicBezTo>
                    <a:pt x="548" y="305"/>
                    <a:pt x="545" y="295"/>
                    <a:pt x="551" y="300"/>
                  </a:cubicBezTo>
                  <a:cubicBezTo>
                    <a:pt x="556" y="305"/>
                    <a:pt x="541" y="299"/>
                    <a:pt x="550" y="306"/>
                  </a:cubicBezTo>
                  <a:cubicBezTo>
                    <a:pt x="555" y="313"/>
                    <a:pt x="564" y="309"/>
                    <a:pt x="567" y="314"/>
                  </a:cubicBezTo>
                  <a:cubicBezTo>
                    <a:pt x="571" y="319"/>
                    <a:pt x="582" y="320"/>
                    <a:pt x="590" y="323"/>
                  </a:cubicBezTo>
                  <a:cubicBezTo>
                    <a:pt x="597" y="327"/>
                    <a:pt x="596" y="319"/>
                    <a:pt x="590" y="314"/>
                  </a:cubicBezTo>
                  <a:cubicBezTo>
                    <a:pt x="583" y="308"/>
                    <a:pt x="570" y="302"/>
                    <a:pt x="571" y="299"/>
                  </a:cubicBezTo>
                  <a:cubicBezTo>
                    <a:pt x="573" y="295"/>
                    <a:pt x="580" y="306"/>
                    <a:pt x="580" y="302"/>
                  </a:cubicBezTo>
                  <a:cubicBezTo>
                    <a:pt x="582" y="299"/>
                    <a:pt x="586" y="308"/>
                    <a:pt x="594" y="309"/>
                  </a:cubicBezTo>
                  <a:cubicBezTo>
                    <a:pt x="600" y="309"/>
                    <a:pt x="603" y="322"/>
                    <a:pt x="603" y="314"/>
                  </a:cubicBezTo>
                  <a:cubicBezTo>
                    <a:pt x="602" y="306"/>
                    <a:pt x="605" y="316"/>
                    <a:pt x="603" y="306"/>
                  </a:cubicBezTo>
                  <a:cubicBezTo>
                    <a:pt x="603" y="299"/>
                    <a:pt x="605" y="311"/>
                    <a:pt x="606" y="303"/>
                  </a:cubicBezTo>
                  <a:cubicBezTo>
                    <a:pt x="608" y="295"/>
                    <a:pt x="600" y="300"/>
                    <a:pt x="603" y="295"/>
                  </a:cubicBezTo>
                  <a:cubicBezTo>
                    <a:pt x="606" y="292"/>
                    <a:pt x="597" y="295"/>
                    <a:pt x="600" y="291"/>
                  </a:cubicBezTo>
                  <a:cubicBezTo>
                    <a:pt x="603" y="288"/>
                    <a:pt x="602" y="286"/>
                    <a:pt x="593" y="283"/>
                  </a:cubicBezTo>
                  <a:cubicBezTo>
                    <a:pt x="585" y="280"/>
                    <a:pt x="588" y="271"/>
                    <a:pt x="583" y="272"/>
                  </a:cubicBezTo>
                  <a:cubicBezTo>
                    <a:pt x="577" y="274"/>
                    <a:pt x="576" y="269"/>
                    <a:pt x="582" y="269"/>
                  </a:cubicBezTo>
                  <a:cubicBezTo>
                    <a:pt x="588" y="268"/>
                    <a:pt x="577" y="261"/>
                    <a:pt x="582" y="263"/>
                  </a:cubicBezTo>
                  <a:cubicBezTo>
                    <a:pt x="588" y="264"/>
                    <a:pt x="585" y="257"/>
                    <a:pt x="590" y="263"/>
                  </a:cubicBezTo>
                  <a:cubicBezTo>
                    <a:pt x="593" y="268"/>
                    <a:pt x="594" y="263"/>
                    <a:pt x="596" y="268"/>
                  </a:cubicBezTo>
                  <a:cubicBezTo>
                    <a:pt x="596" y="271"/>
                    <a:pt x="599" y="268"/>
                    <a:pt x="599" y="272"/>
                  </a:cubicBezTo>
                  <a:cubicBezTo>
                    <a:pt x="599" y="275"/>
                    <a:pt x="618" y="289"/>
                    <a:pt x="615" y="278"/>
                  </a:cubicBezTo>
                  <a:cubicBezTo>
                    <a:pt x="614" y="268"/>
                    <a:pt x="626" y="275"/>
                    <a:pt x="625" y="271"/>
                  </a:cubicBezTo>
                  <a:cubicBezTo>
                    <a:pt x="622" y="266"/>
                    <a:pt x="628" y="269"/>
                    <a:pt x="625" y="266"/>
                  </a:cubicBezTo>
                  <a:cubicBezTo>
                    <a:pt x="623" y="263"/>
                    <a:pt x="634" y="264"/>
                    <a:pt x="629" y="257"/>
                  </a:cubicBezTo>
                  <a:cubicBezTo>
                    <a:pt x="625" y="247"/>
                    <a:pt x="615" y="260"/>
                    <a:pt x="618" y="252"/>
                  </a:cubicBezTo>
                  <a:cubicBezTo>
                    <a:pt x="620" y="244"/>
                    <a:pt x="609" y="254"/>
                    <a:pt x="612" y="249"/>
                  </a:cubicBezTo>
                  <a:cubicBezTo>
                    <a:pt x="614" y="244"/>
                    <a:pt x="611" y="246"/>
                    <a:pt x="605" y="241"/>
                  </a:cubicBezTo>
                  <a:cubicBezTo>
                    <a:pt x="599" y="236"/>
                    <a:pt x="590" y="241"/>
                    <a:pt x="588" y="235"/>
                  </a:cubicBezTo>
                  <a:cubicBezTo>
                    <a:pt x="588" y="229"/>
                    <a:pt x="571" y="235"/>
                    <a:pt x="579" y="230"/>
                  </a:cubicBezTo>
                  <a:cubicBezTo>
                    <a:pt x="586" y="226"/>
                    <a:pt x="573" y="221"/>
                    <a:pt x="580" y="222"/>
                  </a:cubicBezTo>
                  <a:cubicBezTo>
                    <a:pt x="588" y="224"/>
                    <a:pt x="594" y="219"/>
                    <a:pt x="582" y="218"/>
                  </a:cubicBezTo>
                  <a:cubicBezTo>
                    <a:pt x="568" y="216"/>
                    <a:pt x="580" y="216"/>
                    <a:pt x="585" y="213"/>
                  </a:cubicBezTo>
                  <a:cubicBezTo>
                    <a:pt x="590" y="210"/>
                    <a:pt x="579" y="205"/>
                    <a:pt x="576" y="207"/>
                  </a:cubicBezTo>
                  <a:cubicBezTo>
                    <a:pt x="574" y="208"/>
                    <a:pt x="564" y="208"/>
                    <a:pt x="571" y="205"/>
                  </a:cubicBezTo>
                  <a:cubicBezTo>
                    <a:pt x="579" y="204"/>
                    <a:pt x="579" y="204"/>
                    <a:pt x="570" y="199"/>
                  </a:cubicBezTo>
                  <a:cubicBezTo>
                    <a:pt x="559" y="194"/>
                    <a:pt x="558" y="204"/>
                    <a:pt x="558" y="198"/>
                  </a:cubicBezTo>
                  <a:cubicBezTo>
                    <a:pt x="559" y="190"/>
                    <a:pt x="553" y="196"/>
                    <a:pt x="553" y="193"/>
                  </a:cubicBezTo>
                  <a:cubicBezTo>
                    <a:pt x="553" y="188"/>
                    <a:pt x="545" y="184"/>
                    <a:pt x="541" y="190"/>
                  </a:cubicBezTo>
                  <a:cubicBezTo>
                    <a:pt x="535" y="194"/>
                    <a:pt x="535" y="188"/>
                    <a:pt x="532" y="182"/>
                  </a:cubicBezTo>
                  <a:cubicBezTo>
                    <a:pt x="529" y="176"/>
                    <a:pt x="527" y="184"/>
                    <a:pt x="524" y="177"/>
                  </a:cubicBezTo>
                  <a:cubicBezTo>
                    <a:pt x="519" y="171"/>
                    <a:pt x="513" y="174"/>
                    <a:pt x="510" y="171"/>
                  </a:cubicBezTo>
                  <a:cubicBezTo>
                    <a:pt x="507" y="170"/>
                    <a:pt x="498" y="166"/>
                    <a:pt x="495" y="174"/>
                  </a:cubicBezTo>
                  <a:cubicBezTo>
                    <a:pt x="492" y="182"/>
                    <a:pt x="488" y="170"/>
                    <a:pt x="483" y="174"/>
                  </a:cubicBezTo>
                  <a:cubicBezTo>
                    <a:pt x="478" y="180"/>
                    <a:pt x="474" y="180"/>
                    <a:pt x="477" y="177"/>
                  </a:cubicBezTo>
                  <a:cubicBezTo>
                    <a:pt x="481" y="173"/>
                    <a:pt x="480" y="165"/>
                    <a:pt x="475" y="163"/>
                  </a:cubicBezTo>
                  <a:cubicBezTo>
                    <a:pt x="471" y="162"/>
                    <a:pt x="475" y="156"/>
                    <a:pt x="471" y="156"/>
                  </a:cubicBezTo>
                  <a:cubicBezTo>
                    <a:pt x="465" y="154"/>
                    <a:pt x="443" y="157"/>
                    <a:pt x="442" y="163"/>
                  </a:cubicBezTo>
                  <a:cubicBezTo>
                    <a:pt x="442" y="171"/>
                    <a:pt x="433" y="162"/>
                    <a:pt x="439" y="173"/>
                  </a:cubicBezTo>
                  <a:cubicBezTo>
                    <a:pt x="445" y="184"/>
                    <a:pt x="433" y="176"/>
                    <a:pt x="437" y="182"/>
                  </a:cubicBezTo>
                  <a:cubicBezTo>
                    <a:pt x="443" y="190"/>
                    <a:pt x="446" y="182"/>
                    <a:pt x="446" y="188"/>
                  </a:cubicBezTo>
                  <a:cubicBezTo>
                    <a:pt x="448" y="193"/>
                    <a:pt x="428" y="185"/>
                    <a:pt x="433" y="177"/>
                  </a:cubicBezTo>
                  <a:cubicBezTo>
                    <a:pt x="437" y="170"/>
                    <a:pt x="427" y="174"/>
                    <a:pt x="434" y="165"/>
                  </a:cubicBezTo>
                  <a:cubicBezTo>
                    <a:pt x="442" y="156"/>
                    <a:pt x="445" y="157"/>
                    <a:pt x="445" y="154"/>
                  </a:cubicBezTo>
                  <a:cubicBezTo>
                    <a:pt x="445" y="152"/>
                    <a:pt x="428" y="151"/>
                    <a:pt x="418" y="159"/>
                  </a:cubicBezTo>
                  <a:cubicBezTo>
                    <a:pt x="405" y="165"/>
                    <a:pt x="411" y="166"/>
                    <a:pt x="408" y="170"/>
                  </a:cubicBezTo>
                  <a:cubicBezTo>
                    <a:pt x="404" y="173"/>
                    <a:pt x="405" y="176"/>
                    <a:pt x="404" y="184"/>
                  </a:cubicBezTo>
                  <a:cubicBezTo>
                    <a:pt x="402" y="191"/>
                    <a:pt x="404" y="191"/>
                    <a:pt x="414" y="193"/>
                  </a:cubicBezTo>
                  <a:cubicBezTo>
                    <a:pt x="425" y="193"/>
                    <a:pt x="428" y="198"/>
                    <a:pt x="419" y="196"/>
                  </a:cubicBezTo>
                  <a:cubicBezTo>
                    <a:pt x="410" y="196"/>
                    <a:pt x="405" y="196"/>
                    <a:pt x="414" y="204"/>
                  </a:cubicBezTo>
                  <a:cubicBezTo>
                    <a:pt x="422" y="212"/>
                    <a:pt x="428" y="204"/>
                    <a:pt x="433" y="208"/>
                  </a:cubicBezTo>
                  <a:cubicBezTo>
                    <a:pt x="439" y="213"/>
                    <a:pt x="445" y="210"/>
                    <a:pt x="446" y="210"/>
                  </a:cubicBezTo>
                  <a:cubicBezTo>
                    <a:pt x="456" y="213"/>
                    <a:pt x="454" y="208"/>
                    <a:pt x="463" y="213"/>
                  </a:cubicBezTo>
                  <a:cubicBezTo>
                    <a:pt x="471" y="215"/>
                    <a:pt x="468" y="207"/>
                    <a:pt x="474" y="213"/>
                  </a:cubicBezTo>
                  <a:close/>
                  <a:moveTo>
                    <a:pt x="515" y="250"/>
                  </a:moveTo>
                  <a:cubicBezTo>
                    <a:pt x="527" y="249"/>
                    <a:pt x="521" y="244"/>
                    <a:pt x="523" y="238"/>
                  </a:cubicBezTo>
                  <a:cubicBezTo>
                    <a:pt x="524" y="233"/>
                    <a:pt x="510" y="232"/>
                    <a:pt x="507" y="240"/>
                  </a:cubicBezTo>
                  <a:cubicBezTo>
                    <a:pt x="504" y="246"/>
                    <a:pt x="503" y="250"/>
                    <a:pt x="515" y="250"/>
                  </a:cubicBezTo>
                  <a:close/>
                  <a:moveTo>
                    <a:pt x="439" y="302"/>
                  </a:moveTo>
                  <a:cubicBezTo>
                    <a:pt x="439" y="308"/>
                    <a:pt x="445" y="309"/>
                    <a:pt x="448" y="303"/>
                  </a:cubicBezTo>
                  <a:cubicBezTo>
                    <a:pt x="449" y="299"/>
                    <a:pt x="453" y="303"/>
                    <a:pt x="454" y="297"/>
                  </a:cubicBezTo>
                  <a:cubicBezTo>
                    <a:pt x="456" y="292"/>
                    <a:pt x="463" y="294"/>
                    <a:pt x="463" y="297"/>
                  </a:cubicBezTo>
                  <a:cubicBezTo>
                    <a:pt x="465" y="302"/>
                    <a:pt x="466" y="299"/>
                    <a:pt x="472" y="300"/>
                  </a:cubicBezTo>
                  <a:cubicBezTo>
                    <a:pt x="477" y="303"/>
                    <a:pt x="483" y="300"/>
                    <a:pt x="480" y="295"/>
                  </a:cubicBezTo>
                  <a:cubicBezTo>
                    <a:pt x="475" y="291"/>
                    <a:pt x="477" y="295"/>
                    <a:pt x="472" y="294"/>
                  </a:cubicBezTo>
                  <a:cubicBezTo>
                    <a:pt x="468" y="292"/>
                    <a:pt x="471" y="286"/>
                    <a:pt x="463" y="285"/>
                  </a:cubicBezTo>
                  <a:cubicBezTo>
                    <a:pt x="456" y="281"/>
                    <a:pt x="451" y="272"/>
                    <a:pt x="446" y="277"/>
                  </a:cubicBezTo>
                  <a:cubicBezTo>
                    <a:pt x="443" y="280"/>
                    <a:pt x="442" y="268"/>
                    <a:pt x="437" y="269"/>
                  </a:cubicBezTo>
                  <a:cubicBezTo>
                    <a:pt x="434" y="271"/>
                    <a:pt x="431" y="283"/>
                    <a:pt x="433" y="291"/>
                  </a:cubicBezTo>
                  <a:cubicBezTo>
                    <a:pt x="434" y="297"/>
                    <a:pt x="424" y="295"/>
                    <a:pt x="427" y="300"/>
                  </a:cubicBezTo>
                  <a:cubicBezTo>
                    <a:pt x="428" y="303"/>
                    <a:pt x="440" y="297"/>
                    <a:pt x="439" y="302"/>
                  </a:cubicBezTo>
                  <a:close/>
                  <a:moveTo>
                    <a:pt x="453" y="319"/>
                  </a:moveTo>
                  <a:cubicBezTo>
                    <a:pt x="448" y="314"/>
                    <a:pt x="463" y="306"/>
                    <a:pt x="468" y="309"/>
                  </a:cubicBezTo>
                  <a:cubicBezTo>
                    <a:pt x="472" y="311"/>
                    <a:pt x="457" y="323"/>
                    <a:pt x="453" y="319"/>
                  </a:cubicBezTo>
                  <a:close/>
                  <a:moveTo>
                    <a:pt x="480" y="162"/>
                  </a:moveTo>
                  <a:cubicBezTo>
                    <a:pt x="483" y="163"/>
                    <a:pt x="478" y="166"/>
                    <a:pt x="486" y="170"/>
                  </a:cubicBezTo>
                  <a:cubicBezTo>
                    <a:pt x="492" y="171"/>
                    <a:pt x="492" y="166"/>
                    <a:pt x="500" y="168"/>
                  </a:cubicBezTo>
                  <a:cubicBezTo>
                    <a:pt x="507" y="170"/>
                    <a:pt x="516" y="170"/>
                    <a:pt x="513" y="166"/>
                  </a:cubicBezTo>
                  <a:cubicBezTo>
                    <a:pt x="509" y="162"/>
                    <a:pt x="506" y="156"/>
                    <a:pt x="495" y="156"/>
                  </a:cubicBezTo>
                  <a:cubicBezTo>
                    <a:pt x="484" y="157"/>
                    <a:pt x="477" y="151"/>
                    <a:pt x="477" y="157"/>
                  </a:cubicBezTo>
                  <a:cubicBezTo>
                    <a:pt x="477" y="160"/>
                    <a:pt x="475" y="160"/>
                    <a:pt x="480" y="162"/>
                  </a:cubicBezTo>
                  <a:close/>
                  <a:moveTo>
                    <a:pt x="352" y="109"/>
                  </a:moveTo>
                  <a:cubicBezTo>
                    <a:pt x="357" y="114"/>
                    <a:pt x="360" y="112"/>
                    <a:pt x="361" y="115"/>
                  </a:cubicBezTo>
                  <a:cubicBezTo>
                    <a:pt x="361" y="118"/>
                    <a:pt x="369" y="117"/>
                    <a:pt x="375" y="115"/>
                  </a:cubicBezTo>
                  <a:cubicBezTo>
                    <a:pt x="383" y="114"/>
                    <a:pt x="381" y="118"/>
                    <a:pt x="387" y="121"/>
                  </a:cubicBezTo>
                  <a:cubicBezTo>
                    <a:pt x="392" y="125"/>
                    <a:pt x="381" y="129"/>
                    <a:pt x="386" y="132"/>
                  </a:cubicBezTo>
                  <a:cubicBezTo>
                    <a:pt x="390" y="134"/>
                    <a:pt x="386" y="137"/>
                    <a:pt x="390" y="140"/>
                  </a:cubicBezTo>
                  <a:cubicBezTo>
                    <a:pt x="396" y="143"/>
                    <a:pt x="393" y="138"/>
                    <a:pt x="402" y="142"/>
                  </a:cubicBezTo>
                  <a:cubicBezTo>
                    <a:pt x="411" y="146"/>
                    <a:pt x="416" y="135"/>
                    <a:pt x="416" y="140"/>
                  </a:cubicBezTo>
                  <a:cubicBezTo>
                    <a:pt x="414" y="146"/>
                    <a:pt x="421" y="143"/>
                    <a:pt x="440" y="143"/>
                  </a:cubicBezTo>
                  <a:cubicBezTo>
                    <a:pt x="462" y="145"/>
                    <a:pt x="457" y="135"/>
                    <a:pt x="459" y="140"/>
                  </a:cubicBezTo>
                  <a:cubicBezTo>
                    <a:pt x="460" y="145"/>
                    <a:pt x="483" y="145"/>
                    <a:pt x="483" y="140"/>
                  </a:cubicBezTo>
                  <a:cubicBezTo>
                    <a:pt x="483" y="135"/>
                    <a:pt x="492" y="138"/>
                    <a:pt x="486" y="135"/>
                  </a:cubicBezTo>
                  <a:cubicBezTo>
                    <a:pt x="481" y="132"/>
                    <a:pt x="489" y="132"/>
                    <a:pt x="486" y="128"/>
                  </a:cubicBezTo>
                  <a:cubicBezTo>
                    <a:pt x="483" y="123"/>
                    <a:pt x="477" y="126"/>
                    <a:pt x="475" y="123"/>
                  </a:cubicBezTo>
                  <a:cubicBezTo>
                    <a:pt x="472" y="120"/>
                    <a:pt x="463" y="123"/>
                    <a:pt x="448" y="125"/>
                  </a:cubicBezTo>
                  <a:cubicBezTo>
                    <a:pt x="431" y="126"/>
                    <a:pt x="439" y="131"/>
                    <a:pt x="430" y="128"/>
                  </a:cubicBezTo>
                  <a:cubicBezTo>
                    <a:pt x="422" y="125"/>
                    <a:pt x="422" y="131"/>
                    <a:pt x="416" y="126"/>
                  </a:cubicBezTo>
                  <a:cubicBezTo>
                    <a:pt x="411" y="121"/>
                    <a:pt x="414" y="129"/>
                    <a:pt x="411" y="128"/>
                  </a:cubicBezTo>
                  <a:cubicBezTo>
                    <a:pt x="407" y="126"/>
                    <a:pt x="411" y="125"/>
                    <a:pt x="407" y="121"/>
                  </a:cubicBezTo>
                  <a:cubicBezTo>
                    <a:pt x="404" y="117"/>
                    <a:pt x="401" y="121"/>
                    <a:pt x="401" y="118"/>
                  </a:cubicBezTo>
                  <a:cubicBezTo>
                    <a:pt x="399" y="115"/>
                    <a:pt x="411" y="120"/>
                    <a:pt x="410" y="117"/>
                  </a:cubicBezTo>
                  <a:cubicBezTo>
                    <a:pt x="410" y="114"/>
                    <a:pt x="404" y="115"/>
                    <a:pt x="399" y="112"/>
                  </a:cubicBezTo>
                  <a:cubicBezTo>
                    <a:pt x="393" y="109"/>
                    <a:pt x="392" y="109"/>
                    <a:pt x="384" y="111"/>
                  </a:cubicBezTo>
                  <a:cubicBezTo>
                    <a:pt x="378" y="112"/>
                    <a:pt x="376" y="104"/>
                    <a:pt x="372" y="104"/>
                  </a:cubicBezTo>
                  <a:cubicBezTo>
                    <a:pt x="369" y="106"/>
                    <a:pt x="360" y="103"/>
                    <a:pt x="351" y="103"/>
                  </a:cubicBezTo>
                  <a:cubicBezTo>
                    <a:pt x="347" y="103"/>
                    <a:pt x="347" y="106"/>
                    <a:pt x="352" y="109"/>
                  </a:cubicBezTo>
                  <a:close/>
                  <a:moveTo>
                    <a:pt x="357" y="137"/>
                  </a:moveTo>
                  <a:cubicBezTo>
                    <a:pt x="364" y="138"/>
                    <a:pt x="361" y="142"/>
                    <a:pt x="372" y="142"/>
                  </a:cubicBezTo>
                  <a:cubicBezTo>
                    <a:pt x="381" y="142"/>
                    <a:pt x="378" y="134"/>
                    <a:pt x="373" y="129"/>
                  </a:cubicBezTo>
                  <a:cubicBezTo>
                    <a:pt x="367" y="123"/>
                    <a:pt x="360" y="125"/>
                    <a:pt x="355" y="131"/>
                  </a:cubicBezTo>
                  <a:cubicBezTo>
                    <a:pt x="354" y="134"/>
                    <a:pt x="351" y="137"/>
                    <a:pt x="357" y="137"/>
                  </a:cubicBezTo>
                  <a:close/>
                  <a:moveTo>
                    <a:pt x="373" y="177"/>
                  </a:moveTo>
                  <a:cubicBezTo>
                    <a:pt x="373" y="174"/>
                    <a:pt x="378" y="176"/>
                    <a:pt x="375" y="171"/>
                  </a:cubicBezTo>
                  <a:cubicBezTo>
                    <a:pt x="372" y="165"/>
                    <a:pt x="387" y="174"/>
                    <a:pt x="390" y="166"/>
                  </a:cubicBezTo>
                  <a:cubicBezTo>
                    <a:pt x="395" y="159"/>
                    <a:pt x="407" y="154"/>
                    <a:pt x="398" y="151"/>
                  </a:cubicBezTo>
                  <a:cubicBezTo>
                    <a:pt x="390" y="148"/>
                    <a:pt x="390" y="152"/>
                    <a:pt x="386" y="151"/>
                  </a:cubicBezTo>
                  <a:cubicBezTo>
                    <a:pt x="381" y="148"/>
                    <a:pt x="379" y="146"/>
                    <a:pt x="367" y="149"/>
                  </a:cubicBezTo>
                  <a:cubicBezTo>
                    <a:pt x="357" y="151"/>
                    <a:pt x="364" y="154"/>
                    <a:pt x="361" y="154"/>
                  </a:cubicBezTo>
                  <a:cubicBezTo>
                    <a:pt x="358" y="154"/>
                    <a:pt x="358" y="154"/>
                    <a:pt x="358" y="163"/>
                  </a:cubicBezTo>
                  <a:cubicBezTo>
                    <a:pt x="358" y="171"/>
                    <a:pt x="363" y="171"/>
                    <a:pt x="363" y="176"/>
                  </a:cubicBezTo>
                  <a:cubicBezTo>
                    <a:pt x="361" y="182"/>
                    <a:pt x="366" y="177"/>
                    <a:pt x="370" y="180"/>
                  </a:cubicBezTo>
                  <a:cubicBezTo>
                    <a:pt x="372" y="180"/>
                    <a:pt x="372" y="180"/>
                    <a:pt x="373" y="177"/>
                  </a:cubicBezTo>
                  <a:close/>
                  <a:moveTo>
                    <a:pt x="317" y="162"/>
                  </a:moveTo>
                  <a:cubicBezTo>
                    <a:pt x="323" y="163"/>
                    <a:pt x="323" y="168"/>
                    <a:pt x="319" y="170"/>
                  </a:cubicBezTo>
                  <a:cubicBezTo>
                    <a:pt x="312" y="173"/>
                    <a:pt x="308" y="160"/>
                    <a:pt x="303" y="166"/>
                  </a:cubicBezTo>
                  <a:cubicBezTo>
                    <a:pt x="300" y="170"/>
                    <a:pt x="308" y="176"/>
                    <a:pt x="317" y="179"/>
                  </a:cubicBezTo>
                  <a:cubicBezTo>
                    <a:pt x="328" y="182"/>
                    <a:pt x="329" y="191"/>
                    <a:pt x="335" y="191"/>
                  </a:cubicBezTo>
                  <a:cubicBezTo>
                    <a:pt x="341" y="193"/>
                    <a:pt x="337" y="185"/>
                    <a:pt x="341" y="187"/>
                  </a:cubicBezTo>
                  <a:cubicBezTo>
                    <a:pt x="344" y="188"/>
                    <a:pt x="352" y="185"/>
                    <a:pt x="352" y="179"/>
                  </a:cubicBezTo>
                  <a:cubicBezTo>
                    <a:pt x="352" y="174"/>
                    <a:pt x="355" y="177"/>
                    <a:pt x="354" y="171"/>
                  </a:cubicBezTo>
                  <a:cubicBezTo>
                    <a:pt x="352" y="166"/>
                    <a:pt x="351" y="174"/>
                    <a:pt x="347" y="168"/>
                  </a:cubicBezTo>
                  <a:cubicBezTo>
                    <a:pt x="343" y="163"/>
                    <a:pt x="335" y="163"/>
                    <a:pt x="344" y="162"/>
                  </a:cubicBezTo>
                  <a:cubicBezTo>
                    <a:pt x="352" y="160"/>
                    <a:pt x="341" y="159"/>
                    <a:pt x="347" y="157"/>
                  </a:cubicBezTo>
                  <a:cubicBezTo>
                    <a:pt x="352" y="154"/>
                    <a:pt x="346" y="151"/>
                    <a:pt x="338" y="154"/>
                  </a:cubicBezTo>
                  <a:cubicBezTo>
                    <a:pt x="331" y="157"/>
                    <a:pt x="326" y="149"/>
                    <a:pt x="320" y="152"/>
                  </a:cubicBezTo>
                  <a:cubicBezTo>
                    <a:pt x="314" y="156"/>
                    <a:pt x="308" y="157"/>
                    <a:pt x="316" y="160"/>
                  </a:cubicBezTo>
                  <a:cubicBezTo>
                    <a:pt x="317" y="162"/>
                    <a:pt x="317" y="162"/>
                    <a:pt x="317" y="162"/>
                  </a:cubicBezTo>
                  <a:close/>
                  <a:moveTo>
                    <a:pt x="341" y="230"/>
                  </a:moveTo>
                  <a:cubicBezTo>
                    <a:pt x="347" y="230"/>
                    <a:pt x="351" y="235"/>
                    <a:pt x="355" y="232"/>
                  </a:cubicBezTo>
                  <a:cubicBezTo>
                    <a:pt x="360" y="227"/>
                    <a:pt x="360" y="232"/>
                    <a:pt x="363" y="229"/>
                  </a:cubicBezTo>
                  <a:cubicBezTo>
                    <a:pt x="364" y="224"/>
                    <a:pt x="360" y="229"/>
                    <a:pt x="357" y="224"/>
                  </a:cubicBezTo>
                  <a:cubicBezTo>
                    <a:pt x="354" y="218"/>
                    <a:pt x="354" y="222"/>
                    <a:pt x="347" y="216"/>
                  </a:cubicBezTo>
                  <a:cubicBezTo>
                    <a:pt x="341" y="210"/>
                    <a:pt x="340" y="212"/>
                    <a:pt x="335" y="219"/>
                  </a:cubicBezTo>
                  <a:cubicBezTo>
                    <a:pt x="331" y="226"/>
                    <a:pt x="325" y="221"/>
                    <a:pt x="329" y="226"/>
                  </a:cubicBezTo>
                  <a:cubicBezTo>
                    <a:pt x="331" y="229"/>
                    <a:pt x="335" y="229"/>
                    <a:pt x="341" y="230"/>
                  </a:cubicBezTo>
                  <a:close/>
                  <a:moveTo>
                    <a:pt x="326" y="81"/>
                  </a:moveTo>
                  <a:cubicBezTo>
                    <a:pt x="331" y="79"/>
                    <a:pt x="331" y="75"/>
                    <a:pt x="322" y="75"/>
                  </a:cubicBezTo>
                  <a:cubicBezTo>
                    <a:pt x="312" y="73"/>
                    <a:pt x="320" y="73"/>
                    <a:pt x="312" y="70"/>
                  </a:cubicBezTo>
                  <a:cubicBezTo>
                    <a:pt x="305" y="67"/>
                    <a:pt x="306" y="75"/>
                    <a:pt x="303" y="70"/>
                  </a:cubicBezTo>
                  <a:cubicBezTo>
                    <a:pt x="302" y="65"/>
                    <a:pt x="282" y="61"/>
                    <a:pt x="280" y="68"/>
                  </a:cubicBezTo>
                  <a:cubicBezTo>
                    <a:pt x="279" y="75"/>
                    <a:pt x="287" y="67"/>
                    <a:pt x="287" y="73"/>
                  </a:cubicBezTo>
                  <a:cubicBezTo>
                    <a:pt x="285" y="78"/>
                    <a:pt x="290" y="70"/>
                    <a:pt x="293" y="75"/>
                  </a:cubicBezTo>
                  <a:cubicBezTo>
                    <a:pt x="297" y="81"/>
                    <a:pt x="290" y="78"/>
                    <a:pt x="285" y="79"/>
                  </a:cubicBezTo>
                  <a:cubicBezTo>
                    <a:pt x="284" y="79"/>
                    <a:pt x="285" y="86"/>
                    <a:pt x="296" y="82"/>
                  </a:cubicBezTo>
                  <a:cubicBezTo>
                    <a:pt x="308" y="79"/>
                    <a:pt x="297" y="84"/>
                    <a:pt x="309" y="82"/>
                  </a:cubicBezTo>
                  <a:cubicBezTo>
                    <a:pt x="320" y="81"/>
                    <a:pt x="312" y="93"/>
                    <a:pt x="328" y="90"/>
                  </a:cubicBezTo>
                  <a:cubicBezTo>
                    <a:pt x="340" y="89"/>
                    <a:pt x="323" y="81"/>
                    <a:pt x="326" y="81"/>
                  </a:cubicBezTo>
                  <a:close/>
                  <a:moveTo>
                    <a:pt x="418" y="114"/>
                  </a:moveTo>
                  <a:cubicBezTo>
                    <a:pt x="421" y="117"/>
                    <a:pt x="427" y="114"/>
                    <a:pt x="430" y="112"/>
                  </a:cubicBezTo>
                  <a:cubicBezTo>
                    <a:pt x="433" y="111"/>
                    <a:pt x="434" y="115"/>
                    <a:pt x="443" y="115"/>
                  </a:cubicBezTo>
                  <a:cubicBezTo>
                    <a:pt x="453" y="115"/>
                    <a:pt x="446" y="111"/>
                    <a:pt x="456" y="114"/>
                  </a:cubicBezTo>
                  <a:cubicBezTo>
                    <a:pt x="466" y="117"/>
                    <a:pt x="478" y="107"/>
                    <a:pt x="477" y="114"/>
                  </a:cubicBezTo>
                  <a:cubicBezTo>
                    <a:pt x="474" y="120"/>
                    <a:pt x="484" y="117"/>
                    <a:pt x="491" y="114"/>
                  </a:cubicBezTo>
                  <a:cubicBezTo>
                    <a:pt x="495" y="111"/>
                    <a:pt x="500" y="115"/>
                    <a:pt x="501" y="107"/>
                  </a:cubicBezTo>
                  <a:cubicBezTo>
                    <a:pt x="501" y="101"/>
                    <a:pt x="491" y="107"/>
                    <a:pt x="491" y="103"/>
                  </a:cubicBezTo>
                  <a:cubicBezTo>
                    <a:pt x="491" y="98"/>
                    <a:pt x="494" y="100"/>
                    <a:pt x="498" y="96"/>
                  </a:cubicBezTo>
                  <a:cubicBezTo>
                    <a:pt x="504" y="93"/>
                    <a:pt x="491" y="86"/>
                    <a:pt x="504" y="89"/>
                  </a:cubicBezTo>
                  <a:cubicBezTo>
                    <a:pt x="515" y="90"/>
                    <a:pt x="524" y="84"/>
                    <a:pt x="521" y="81"/>
                  </a:cubicBezTo>
                  <a:cubicBezTo>
                    <a:pt x="518" y="78"/>
                    <a:pt x="532" y="78"/>
                    <a:pt x="519" y="73"/>
                  </a:cubicBezTo>
                  <a:cubicBezTo>
                    <a:pt x="509" y="67"/>
                    <a:pt x="529" y="75"/>
                    <a:pt x="527" y="70"/>
                  </a:cubicBezTo>
                  <a:cubicBezTo>
                    <a:pt x="524" y="65"/>
                    <a:pt x="521" y="67"/>
                    <a:pt x="516" y="67"/>
                  </a:cubicBezTo>
                  <a:cubicBezTo>
                    <a:pt x="510" y="67"/>
                    <a:pt x="501" y="68"/>
                    <a:pt x="504" y="65"/>
                  </a:cubicBezTo>
                  <a:cubicBezTo>
                    <a:pt x="507" y="64"/>
                    <a:pt x="526" y="64"/>
                    <a:pt x="533" y="62"/>
                  </a:cubicBezTo>
                  <a:cubicBezTo>
                    <a:pt x="542" y="62"/>
                    <a:pt x="535" y="56"/>
                    <a:pt x="539" y="59"/>
                  </a:cubicBezTo>
                  <a:cubicBezTo>
                    <a:pt x="544" y="61"/>
                    <a:pt x="551" y="61"/>
                    <a:pt x="556" y="56"/>
                  </a:cubicBezTo>
                  <a:cubicBezTo>
                    <a:pt x="561" y="50"/>
                    <a:pt x="571" y="45"/>
                    <a:pt x="591" y="37"/>
                  </a:cubicBezTo>
                  <a:cubicBezTo>
                    <a:pt x="611" y="30"/>
                    <a:pt x="611" y="28"/>
                    <a:pt x="594" y="30"/>
                  </a:cubicBezTo>
                  <a:cubicBezTo>
                    <a:pt x="579" y="31"/>
                    <a:pt x="591" y="28"/>
                    <a:pt x="600" y="25"/>
                  </a:cubicBezTo>
                  <a:cubicBezTo>
                    <a:pt x="611" y="23"/>
                    <a:pt x="634" y="19"/>
                    <a:pt x="634" y="16"/>
                  </a:cubicBezTo>
                  <a:cubicBezTo>
                    <a:pt x="634" y="11"/>
                    <a:pt x="617" y="14"/>
                    <a:pt x="617" y="9"/>
                  </a:cubicBezTo>
                  <a:cubicBezTo>
                    <a:pt x="618" y="6"/>
                    <a:pt x="605" y="5"/>
                    <a:pt x="602" y="5"/>
                  </a:cubicBezTo>
                  <a:cubicBezTo>
                    <a:pt x="597" y="6"/>
                    <a:pt x="597" y="5"/>
                    <a:pt x="591" y="8"/>
                  </a:cubicBezTo>
                  <a:cubicBezTo>
                    <a:pt x="583" y="11"/>
                    <a:pt x="571" y="9"/>
                    <a:pt x="579" y="8"/>
                  </a:cubicBezTo>
                  <a:cubicBezTo>
                    <a:pt x="585" y="8"/>
                    <a:pt x="594" y="5"/>
                    <a:pt x="583" y="5"/>
                  </a:cubicBezTo>
                  <a:cubicBezTo>
                    <a:pt x="571" y="5"/>
                    <a:pt x="568" y="0"/>
                    <a:pt x="559" y="2"/>
                  </a:cubicBezTo>
                  <a:cubicBezTo>
                    <a:pt x="550" y="3"/>
                    <a:pt x="548" y="0"/>
                    <a:pt x="539" y="3"/>
                  </a:cubicBezTo>
                  <a:cubicBezTo>
                    <a:pt x="532" y="6"/>
                    <a:pt x="523" y="0"/>
                    <a:pt x="503" y="5"/>
                  </a:cubicBezTo>
                  <a:cubicBezTo>
                    <a:pt x="494" y="8"/>
                    <a:pt x="488" y="2"/>
                    <a:pt x="481" y="5"/>
                  </a:cubicBezTo>
                  <a:cubicBezTo>
                    <a:pt x="475" y="8"/>
                    <a:pt x="468" y="3"/>
                    <a:pt x="474" y="8"/>
                  </a:cubicBezTo>
                  <a:cubicBezTo>
                    <a:pt x="480" y="14"/>
                    <a:pt x="466" y="6"/>
                    <a:pt x="465" y="11"/>
                  </a:cubicBezTo>
                  <a:cubicBezTo>
                    <a:pt x="463" y="16"/>
                    <a:pt x="460" y="16"/>
                    <a:pt x="451" y="14"/>
                  </a:cubicBezTo>
                  <a:cubicBezTo>
                    <a:pt x="442" y="14"/>
                    <a:pt x="453" y="13"/>
                    <a:pt x="442" y="11"/>
                  </a:cubicBezTo>
                  <a:cubicBezTo>
                    <a:pt x="431" y="11"/>
                    <a:pt x="446" y="16"/>
                    <a:pt x="434" y="16"/>
                  </a:cubicBezTo>
                  <a:cubicBezTo>
                    <a:pt x="422" y="17"/>
                    <a:pt x="445" y="19"/>
                    <a:pt x="439" y="20"/>
                  </a:cubicBezTo>
                  <a:cubicBezTo>
                    <a:pt x="433" y="22"/>
                    <a:pt x="430" y="17"/>
                    <a:pt x="419" y="19"/>
                  </a:cubicBezTo>
                  <a:cubicBezTo>
                    <a:pt x="408" y="20"/>
                    <a:pt x="413" y="23"/>
                    <a:pt x="405" y="22"/>
                  </a:cubicBezTo>
                  <a:cubicBezTo>
                    <a:pt x="398" y="20"/>
                    <a:pt x="389" y="25"/>
                    <a:pt x="390" y="28"/>
                  </a:cubicBezTo>
                  <a:cubicBezTo>
                    <a:pt x="393" y="33"/>
                    <a:pt x="395" y="28"/>
                    <a:pt x="399" y="31"/>
                  </a:cubicBezTo>
                  <a:cubicBezTo>
                    <a:pt x="402" y="33"/>
                    <a:pt x="408" y="30"/>
                    <a:pt x="405" y="33"/>
                  </a:cubicBezTo>
                  <a:cubicBezTo>
                    <a:pt x="401" y="36"/>
                    <a:pt x="401" y="39"/>
                    <a:pt x="408" y="41"/>
                  </a:cubicBezTo>
                  <a:cubicBezTo>
                    <a:pt x="416" y="42"/>
                    <a:pt x="421" y="47"/>
                    <a:pt x="428" y="42"/>
                  </a:cubicBezTo>
                  <a:cubicBezTo>
                    <a:pt x="436" y="37"/>
                    <a:pt x="445" y="37"/>
                    <a:pt x="439" y="39"/>
                  </a:cubicBezTo>
                  <a:cubicBezTo>
                    <a:pt x="433" y="41"/>
                    <a:pt x="421" y="45"/>
                    <a:pt x="440" y="47"/>
                  </a:cubicBezTo>
                  <a:cubicBezTo>
                    <a:pt x="459" y="48"/>
                    <a:pt x="453" y="41"/>
                    <a:pt x="459" y="44"/>
                  </a:cubicBezTo>
                  <a:cubicBezTo>
                    <a:pt x="463" y="47"/>
                    <a:pt x="480" y="44"/>
                    <a:pt x="492" y="36"/>
                  </a:cubicBezTo>
                  <a:cubicBezTo>
                    <a:pt x="506" y="30"/>
                    <a:pt x="488" y="39"/>
                    <a:pt x="500" y="41"/>
                  </a:cubicBezTo>
                  <a:cubicBezTo>
                    <a:pt x="512" y="41"/>
                    <a:pt x="501" y="42"/>
                    <a:pt x="478" y="47"/>
                  </a:cubicBezTo>
                  <a:cubicBezTo>
                    <a:pt x="457" y="51"/>
                    <a:pt x="457" y="48"/>
                    <a:pt x="466" y="54"/>
                  </a:cubicBezTo>
                  <a:cubicBezTo>
                    <a:pt x="474" y="61"/>
                    <a:pt x="484" y="61"/>
                    <a:pt x="475" y="62"/>
                  </a:cubicBezTo>
                  <a:cubicBezTo>
                    <a:pt x="468" y="64"/>
                    <a:pt x="468" y="58"/>
                    <a:pt x="460" y="53"/>
                  </a:cubicBezTo>
                  <a:cubicBezTo>
                    <a:pt x="453" y="50"/>
                    <a:pt x="431" y="47"/>
                    <a:pt x="431" y="53"/>
                  </a:cubicBezTo>
                  <a:cubicBezTo>
                    <a:pt x="431" y="58"/>
                    <a:pt x="431" y="58"/>
                    <a:pt x="439" y="59"/>
                  </a:cubicBezTo>
                  <a:cubicBezTo>
                    <a:pt x="446" y="62"/>
                    <a:pt x="453" y="68"/>
                    <a:pt x="448" y="68"/>
                  </a:cubicBezTo>
                  <a:cubicBezTo>
                    <a:pt x="445" y="70"/>
                    <a:pt x="445" y="72"/>
                    <a:pt x="453" y="73"/>
                  </a:cubicBezTo>
                  <a:cubicBezTo>
                    <a:pt x="462" y="73"/>
                    <a:pt x="465" y="76"/>
                    <a:pt x="457" y="75"/>
                  </a:cubicBezTo>
                  <a:cubicBezTo>
                    <a:pt x="448" y="73"/>
                    <a:pt x="430" y="75"/>
                    <a:pt x="427" y="78"/>
                  </a:cubicBezTo>
                  <a:cubicBezTo>
                    <a:pt x="422" y="81"/>
                    <a:pt x="421" y="87"/>
                    <a:pt x="428" y="86"/>
                  </a:cubicBezTo>
                  <a:cubicBezTo>
                    <a:pt x="436" y="84"/>
                    <a:pt x="431" y="87"/>
                    <a:pt x="439" y="86"/>
                  </a:cubicBezTo>
                  <a:cubicBezTo>
                    <a:pt x="445" y="84"/>
                    <a:pt x="437" y="87"/>
                    <a:pt x="442" y="93"/>
                  </a:cubicBezTo>
                  <a:cubicBezTo>
                    <a:pt x="446" y="100"/>
                    <a:pt x="457" y="93"/>
                    <a:pt x="462" y="87"/>
                  </a:cubicBezTo>
                  <a:cubicBezTo>
                    <a:pt x="466" y="82"/>
                    <a:pt x="457" y="100"/>
                    <a:pt x="446" y="100"/>
                  </a:cubicBezTo>
                  <a:cubicBezTo>
                    <a:pt x="437" y="98"/>
                    <a:pt x="437" y="89"/>
                    <a:pt x="427" y="89"/>
                  </a:cubicBezTo>
                  <a:cubicBezTo>
                    <a:pt x="418" y="89"/>
                    <a:pt x="416" y="90"/>
                    <a:pt x="419" y="95"/>
                  </a:cubicBezTo>
                  <a:cubicBezTo>
                    <a:pt x="424" y="98"/>
                    <a:pt x="431" y="103"/>
                    <a:pt x="422" y="103"/>
                  </a:cubicBezTo>
                  <a:cubicBezTo>
                    <a:pt x="411" y="103"/>
                    <a:pt x="404" y="107"/>
                    <a:pt x="408" y="112"/>
                  </a:cubicBezTo>
                  <a:cubicBezTo>
                    <a:pt x="411" y="114"/>
                    <a:pt x="413" y="111"/>
                    <a:pt x="418" y="114"/>
                  </a:cubicBezTo>
                  <a:close/>
                  <a:moveTo>
                    <a:pt x="369" y="37"/>
                  </a:moveTo>
                  <a:cubicBezTo>
                    <a:pt x="364" y="37"/>
                    <a:pt x="363" y="37"/>
                    <a:pt x="361" y="42"/>
                  </a:cubicBezTo>
                  <a:cubicBezTo>
                    <a:pt x="360" y="45"/>
                    <a:pt x="357" y="44"/>
                    <a:pt x="354" y="48"/>
                  </a:cubicBezTo>
                  <a:cubicBezTo>
                    <a:pt x="351" y="53"/>
                    <a:pt x="369" y="51"/>
                    <a:pt x="367" y="53"/>
                  </a:cubicBezTo>
                  <a:cubicBezTo>
                    <a:pt x="366" y="58"/>
                    <a:pt x="351" y="50"/>
                    <a:pt x="351" y="54"/>
                  </a:cubicBezTo>
                  <a:cubicBezTo>
                    <a:pt x="349" y="58"/>
                    <a:pt x="354" y="59"/>
                    <a:pt x="361" y="65"/>
                  </a:cubicBezTo>
                  <a:cubicBezTo>
                    <a:pt x="367" y="70"/>
                    <a:pt x="373" y="62"/>
                    <a:pt x="372" y="65"/>
                  </a:cubicBezTo>
                  <a:cubicBezTo>
                    <a:pt x="369" y="70"/>
                    <a:pt x="387" y="62"/>
                    <a:pt x="384" y="65"/>
                  </a:cubicBezTo>
                  <a:cubicBezTo>
                    <a:pt x="383" y="70"/>
                    <a:pt x="367" y="70"/>
                    <a:pt x="372" y="73"/>
                  </a:cubicBezTo>
                  <a:cubicBezTo>
                    <a:pt x="375" y="75"/>
                    <a:pt x="378" y="79"/>
                    <a:pt x="383" y="82"/>
                  </a:cubicBezTo>
                  <a:cubicBezTo>
                    <a:pt x="389" y="84"/>
                    <a:pt x="401" y="89"/>
                    <a:pt x="401" y="84"/>
                  </a:cubicBezTo>
                  <a:cubicBezTo>
                    <a:pt x="401" y="79"/>
                    <a:pt x="408" y="87"/>
                    <a:pt x="407" y="82"/>
                  </a:cubicBezTo>
                  <a:cubicBezTo>
                    <a:pt x="404" y="76"/>
                    <a:pt x="407" y="79"/>
                    <a:pt x="411" y="84"/>
                  </a:cubicBezTo>
                  <a:cubicBezTo>
                    <a:pt x="416" y="89"/>
                    <a:pt x="413" y="78"/>
                    <a:pt x="416" y="79"/>
                  </a:cubicBezTo>
                  <a:cubicBezTo>
                    <a:pt x="421" y="79"/>
                    <a:pt x="425" y="75"/>
                    <a:pt x="431" y="72"/>
                  </a:cubicBezTo>
                  <a:cubicBezTo>
                    <a:pt x="437" y="68"/>
                    <a:pt x="448" y="67"/>
                    <a:pt x="443" y="65"/>
                  </a:cubicBezTo>
                  <a:cubicBezTo>
                    <a:pt x="437" y="62"/>
                    <a:pt x="439" y="59"/>
                    <a:pt x="428" y="61"/>
                  </a:cubicBezTo>
                  <a:cubicBezTo>
                    <a:pt x="419" y="64"/>
                    <a:pt x="434" y="59"/>
                    <a:pt x="427" y="54"/>
                  </a:cubicBezTo>
                  <a:cubicBezTo>
                    <a:pt x="421" y="51"/>
                    <a:pt x="428" y="48"/>
                    <a:pt x="419" y="47"/>
                  </a:cubicBezTo>
                  <a:cubicBezTo>
                    <a:pt x="410" y="47"/>
                    <a:pt x="418" y="54"/>
                    <a:pt x="413" y="51"/>
                  </a:cubicBezTo>
                  <a:cubicBezTo>
                    <a:pt x="407" y="50"/>
                    <a:pt x="414" y="47"/>
                    <a:pt x="405" y="45"/>
                  </a:cubicBezTo>
                  <a:cubicBezTo>
                    <a:pt x="396" y="45"/>
                    <a:pt x="389" y="31"/>
                    <a:pt x="373" y="31"/>
                  </a:cubicBezTo>
                  <a:cubicBezTo>
                    <a:pt x="363" y="33"/>
                    <a:pt x="379" y="37"/>
                    <a:pt x="369" y="37"/>
                  </a:cubicBezTo>
                  <a:close/>
                  <a:moveTo>
                    <a:pt x="344" y="84"/>
                  </a:moveTo>
                  <a:cubicBezTo>
                    <a:pt x="351" y="86"/>
                    <a:pt x="338" y="87"/>
                    <a:pt x="344" y="87"/>
                  </a:cubicBezTo>
                  <a:cubicBezTo>
                    <a:pt x="351" y="89"/>
                    <a:pt x="344" y="93"/>
                    <a:pt x="351" y="90"/>
                  </a:cubicBezTo>
                  <a:cubicBezTo>
                    <a:pt x="357" y="89"/>
                    <a:pt x="366" y="89"/>
                    <a:pt x="364" y="86"/>
                  </a:cubicBezTo>
                  <a:cubicBezTo>
                    <a:pt x="361" y="82"/>
                    <a:pt x="370" y="82"/>
                    <a:pt x="364" y="81"/>
                  </a:cubicBezTo>
                  <a:cubicBezTo>
                    <a:pt x="357" y="78"/>
                    <a:pt x="358" y="81"/>
                    <a:pt x="352" y="76"/>
                  </a:cubicBezTo>
                  <a:cubicBezTo>
                    <a:pt x="346" y="73"/>
                    <a:pt x="335" y="73"/>
                    <a:pt x="338" y="76"/>
                  </a:cubicBezTo>
                  <a:cubicBezTo>
                    <a:pt x="340" y="81"/>
                    <a:pt x="332" y="79"/>
                    <a:pt x="338" y="82"/>
                  </a:cubicBezTo>
                  <a:cubicBezTo>
                    <a:pt x="341" y="82"/>
                    <a:pt x="338" y="82"/>
                    <a:pt x="344" y="84"/>
                  </a:cubicBezTo>
                  <a:close/>
                  <a:moveTo>
                    <a:pt x="329" y="58"/>
                  </a:moveTo>
                  <a:cubicBezTo>
                    <a:pt x="332" y="61"/>
                    <a:pt x="335" y="61"/>
                    <a:pt x="335" y="56"/>
                  </a:cubicBezTo>
                  <a:cubicBezTo>
                    <a:pt x="334" y="51"/>
                    <a:pt x="323" y="50"/>
                    <a:pt x="323" y="54"/>
                  </a:cubicBezTo>
                  <a:cubicBezTo>
                    <a:pt x="325" y="58"/>
                    <a:pt x="326" y="56"/>
                    <a:pt x="329" y="58"/>
                  </a:cubicBezTo>
                  <a:close/>
                  <a:moveTo>
                    <a:pt x="238" y="142"/>
                  </a:moveTo>
                  <a:cubicBezTo>
                    <a:pt x="245" y="138"/>
                    <a:pt x="250" y="134"/>
                    <a:pt x="256" y="135"/>
                  </a:cubicBezTo>
                  <a:cubicBezTo>
                    <a:pt x="262" y="138"/>
                    <a:pt x="259" y="134"/>
                    <a:pt x="265" y="135"/>
                  </a:cubicBezTo>
                  <a:cubicBezTo>
                    <a:pt x="271" y="137"/>
                    <a:pt x="276" y="135"/>
                    <a:pt x="282" y="128"/>
                  </a:cubicBezTo>
                  <a:cubicBezTo>
                    <a:pt x="288" y="120"/>
                    <a:pt x="274" y="118"/>
                    <a:pt x="270" y="120"/>
                  </a:cubicBezTo>
                  <a:cubicBezTo>
                    <a:pt x="267" y="121"/>
                    <a:pt x="262" y="125"/>
                    <a:pt x="264" y="121"/>
                  </a:cubicBezTo>
                  <a:cubicBezTo>
                    <a:pt x="265" y="117"/>
                    <a:pt x="258" y="120"/>
                    <a:pt x="261" y="117"/>
                  </a:cubicBezTo>
                  <a:cubicBezTo>
                    <a:pt x="264" y="114"/>
                    <a:pt x="258" y="117"/>
                    <a:pt x="258" y="109"/>
                  </a:cubicBezTo>
                  <a:cubicBezTo>
                    <a:pt x="258" y="103"/>
                    <a:pt x="252" y="107"/>
                    <a:pt x="244" y="112"/>
                  </a:cubicBezTo>
                  <a:cubicBezTo>
                    <a:pt x="236" y="117"/>
                    <a:pt x="255" y="117"/>
                    <a:pt x="249" y="120"/>
                  </a:cubicBezTo>
                  <a:cubicBezTo>
                    <a:pt x="242" y="125"/>
                    <a:pt x="256" y="123"/>
                    <a:pt x="255" y="126"/>
                  </a:cubicBezTo>
                  <a:cubicBezTo>
                    <a:pt x="253" y="131"/>
                    <a:pt x="249" y="125"/>
                    <a:pt x="241" y="126"/>
                  </a:cubicBezTo>
                  <a:cubicBezTo>
                    <a:pt x="232" y="128"/>
                    <a:pt x="239" y="126"/>
                    <a:pt x="229" y="118"/>
                  </a:cubicBezTo>
                  <a:cubicBezTo>
                    <a:pt x="217" y="111"/>
                    <a:pt x="217" y="121"/>
                    <a:pt x="213" y="115"/>
                  </a:cubicBezTo>
                  <a:cubicBezTo>
                    <a:pt x="210" y="109"/>
                    <a:pt x="206" y="112"/>
                    <a:pt x="197" y="117"/>
                  </a:cubicBezTo>
                  <a:cubicBezTo>
                    <a:pt x="188" y="120"/>
                    <a:pt x="198" y="117"/>
                    <a:pt x="191" y="123"/>
                  </a:cubicBezTo>
                  <a:cubicBezTo>
                    <a:pt x="185" y="128"/>
                    <a:pt x="194" y="125"/>
                    <a:pt x="188" y="128"/>
                  </a:cubicBezTo>
                  <a:cubicBezTo>
                    <a:pt x="182" y="132"/>
                    <a:pt x="188" y="132"/>
                    <a:pt x="195" y="135"/>
                  </a:cubicBezTo>
                  <a:cubicBezTo>
                    <a:pt x="203" y="137"/>
                    <a:pt x="203" y="132"/>
                    <a:pt x="204" y="134"/>
                  </a:cubicBezTo>
                  <a:cubicBezTo>
                    <a:pt x="206" y="137"/>
                    <a:pt x="209" y="138"/>
                    <a:pt x="212" y="134"/>
                  </a:cubicBezTo>
                  <a:cubicBezTo>
                    <a:pt x="215" y="129"/>
                    <a:pt x="217" y="129"/>
                    <a:pt x="215" y="132"/>
                  </a:cubicBezTo>
                  <a:cubicBezTo>
                    <a:pt x="213" y="135"/>
                    <a:pt x="218" y="135"/>
                    <a:pt x="230" y="132"/>
                  </a:cubicBezTo>
                  <a:cubicBezTo>
                    <a:pt x="242" y="131"/>
                    <a:pt x="236" y="135"/>
                    <a:pt x="227" y="135"/>
                  </a:cubicBezTo>
                  <a:cubicBezTo>
                    <a:pt x="218" y="137"/>
                    <a:pt x="204" y="140"/>
                    <a:pt x="215" y="143"/>
                  </a:cubicBezTo>
                  <a:cubicBezTo>
                    <a:pt x="221" y="146"/>
                    <a:pt x="229" y="143"/>
                    <a:pt x="238" y="142"/>
                  </a:cubicBezTo>
                  <a:close/>
                  <a:moveTo>
                    <a:pt x="288" y="96"/>
                  </a:moveTo>
                  <a:cubicBezTo>
                    <a:pt x="284" y="92"/>
                    <a:pt x="276" y="90"/>
                    <a:pt x="277" y="93"/>
                  </a:cubicBezTo>
                  <a:cubicBezTo>
                    <a:pt x="279" y="96"/>
                    <a:pt x="280" y="103"/>
                    <a:pt x="288" y="103"/>
                  </a:cubicBezTo>
                  <a:cubicBezTo>
                    <a:pt x="291" y="101"/>
                    <a:pt x="293" y="101"/>
                    <a:pt x="288" y="96"/>
                  </a:cubicBezTo>
                  <a:close/>
                  <a:moveTo>
                    <a:pt x="192" y="111"/>
                  </a:moveTo>
                  <a:cubicBezTo>
                    <a:pt x="198" y="111"/>
                    <a:pt x="204" y="107"/>
                    <a:pt x="197" y="104"/>
                  </a:cubicBezTo>
                  <a:cubicBezTo>
                    <a:pt x="191" y="100"/>
                    <a:pt x="207" y="100"/>
                    <a:pt x="198" y="96"/>
                  </a:cubicBezTo>
                  <a:cubicBezTo>
                    <a:pt x="192" y="93"/>
                    <a:pt x="191" y="95"/>
                    <a:pt x="189" y="98"/>
                  </a:cubicBezTo>
                  <a:cubicBezTo>
                    <a:pt x="188" y="101"/>
                    <a:pt x="180" y="92"/>
                    <a:pt x="168" y="103"/>
                  </a:cubicBezTo>
                  <a:cubicBezTo>
                    <a:pt x="157" y="111"/>
                    <a:pt x="162" y="106"/>
                    <a:pt x="156" y="111"/>
                  </a:cubicBezTo>
                  <a:cubicBezTo>
                    <a:pt x="150" y="117"/>
                    <a:pt x="150" y="109"/>
                    <a:pt x="145" y="115"/>
                  </a:cubicBezTo>
                  <a:cubicBezTo>
                    <a:pt x="139" y="120"/>
                    <a:pt x="147" y="117"/>
                    <a:pt x="145" y="120"/>
                  </a:cubicBezTo>
                  <a:cubicBezTo>
                    <a:pt x="143" y="121"/>
                    <a:pt x="147" y="121"/>
                    <a:pt x="150" y="120"/>
                  </a:cubicBezTo>
                  <a:cubicBezTo>
                    <a:pt x="153" y="117"/>
                    <a:pt x="153" y="121"/>
                    <a:pt x="157" y="120"/>
                  </a:cubicBezTo>
                  <a:cubicBezTo>
                    <a:pt x="160" y="120"/>
                    <a:pt x="159" y="115"/>
                    <a:pt x="162" y="120"/>
                  </a:cubicBezTo>
                  <a:cubicBezTo>
                    <a:pt x="163" y="125"/>
                    <a:pt x="169" y="125"/>
                    <a:pt x="169" y="118"/>
                  </a:cubicBezTo>
                  <a:cubicBezTo>
                    <a:pt x="169" y="112"/>
                    <a:pt x="171" y="125"/>
                    <a:pt x="177" y="114"/>
                  </a:cubicBezTo>
                  <a:cubicBezTo>
                    <a:pt x="180" y="107"/>
                    <a:pt x="175" y="111"/>
                    <a:pt x="182" y="107"/>
                  </a:cubicBezTo>
                  <a:cubicBezTo>
                    <a:pt x="188" y="104"/>
                    <a:pt x="178" y="114"/>
                    <a:pt x="186" y="115"/>
                  </a:cubicBezTo>
                  <a:cubicBezTo>
                    <a:pt x="195" y="117"/>
                    <a:pt x="188" y="111"/>
                    <a:pt x="192" y="111"/>
                  </a:cubicBezTo>
                  <a:close/>
                  <a:moveTo>
                    <a:pt x="232" y="82"/>
                  </a:moveTo>
                  <a:cubicBezTo>
                    <a:pt x="236" y="84"/>
                    <a:pt x="232" y="82"/>
                    <a:pt x="241" y="82"/>
                  </a:cubicBezTo>
                  <a:cubicBezTo>
                    <a:pt x="250" y="84"/>
                    <a:pt x="256" y="81"/>
                    <a:pt x="247" y="78"/>
                  </a:cubicBezTo>
                  <a:cubicBezTo>
                    <a:pt x="236" y="73"/>
                    <a:pt x="236" y="78"/>
                    <a:pt x="227" y="79"/>
                  </a:cubicBezTo>
                  <a:cubicBezTo>
                    <a:pt x="218" y="81"/>
                    <a:pt x="218" y="84"/>
                    <a:pt x="224" y="82"/>
                  </a:cubicBezTo>
                  <a:cubicBezTo>
                    <a:pt x="226" y="82"/>
                    <a:pt x="226" y="82"/>
                    <a:pt x="232" y="82"/>
                  </a:cubicBezTo>
                  <a:close/>
                  <a:moveTo>
                    <a:pt x="239" y="96"/>
                  </a:moveTo>
                  <a:cubicBezTo>
                    <a:pt x="247" y="95"/>
                    <a:pt x="249" y="92"/>
                    <a:pt x="241" y="90"/>
                  </a:cubicBezTo>
                  <a:cubicBezTo>
                    <a:pt x="235" y="90"/>
                    <a:pt x="247" y="90"/>
                    <a:pt x="249" y="87"/>
                  </a:cubicBezTo>
                  <a:cubicBezTo>
                    <a:pt x="250" y="84"/>
                    <a:pt x="239" y="86"/>
                    <a:pt x="229" y="87"/>
                  </a:cubicBezTo>
                  <a:cubicBezTo>
                    <a:pt x="218" y="89"/>
                    <a:pt x="218" y="90"/>
                    <a:pt x="220" y="95"/>
                  </a:cubicBezTo>
                  <a:cubicBezTo>
                    <a:pt x="223" y="100"/>
                    <a:pt x="232" y="98"/>
                    <a:pt x="239" y="96"/>
                  </a:cubicBezTo>
                  <a:close/>
                  <a:moveTo>
                    <a:pt x="335" y="135"/>
                  </a:moveTo>
                  <a:cubicBezTo>
                    <a:pt x="340" y="135"/>
                    <a:pt x="344" y="135"/>
                    <a:pt x="343" y="131"/>
                  </a:cubicBezTo>
                  <a:cubicBezTo>
                    <a:pt x="341" y="128"/>
                    <a:pt x="341" y="125"/>
                    <a:pt x="344" y="128"/>
                  </a:cubicBezTo>
                  <a:cubicBezTo>
                    <a:pt x="347" y="131"/>
                    <a:pt x="347" y="128"/>
                    <a:pt x="344" y="125"/>
                  </a:cubicBezTo>
                  <a:cubicBezTo>
                    <a:pt x="341" y="120"/>
                    <a:pt x="346" y="114"/>
                    <a:pt x="338" y="109"/>
                  </a:cubicBezTo>
                  <a:cubicBezTo>
                    <a:pt x="331" y="106"/>
                    <a:pt x="334" y="114"/>
                    <a:pt x="331" y="111"/>
                  </a:cubicBezTo>
                  <a:cubicBezTo>
                    <a:pt x="326" y="109"/>
                    <a:pt x="323" y="109"/>
                    <a:pt x="319" y="111"/>
                  </a:cubicBezTo>
                  <a:cubicBezTo>
                    <a:pt x="314" y="112"/>
                    <a:pt x="320" y="114"/>
                    <a:pt x="326" y="121"/>
                  </a:cubicBezTo>
                  <a:cubicBezTo>
                    <a:pt x="312" y="115"/>
                    <a:pt x="320" y="114"/>
                    <a:pt x="312" y="112"/>
                  </a:cubicBezTo>
                  <a:cubicBezTo>
                    <a:pt x="305" y="112"/>
                    <a:pt x="306" y="114"/>
                    <a:pt x="311" y="120"/>
                  </a:cubicBezTo>
                  <a:cubicBezTo>
                    <a:pt x="316" y="125"/>
                    <a:pt x="311" y="120"/>
                    <a:pt x="308" y="121"/>
                  </a:cubicBezTo>
                  <a:cubicBezTo>
                    <a:pt x="306" y="125"/>
                    <a:pt x="300" y="123"/>
                    <a:pt x="303" y="126"/>
                  </a:cubicBezTo>
                  <a:cubicBezTo>
                    <a:pt x="305" y="129"/>
                    <a:pt x="323" y="125"/>
                    <a:pt x="329" y="125"/>
                  </a:cubicBezTo>
                  <a:cubicBezTo>
                    <a:pt x="334" y="125"/>
                    <a:pt x="317" y="126"/>
                    <a:pt x="320" y="131"/>
                  </a:cubicBezTo>
                  <a:cubicBezTo>
                    <a:pt x="323" y="134"/>
                    <a:pt x="320" y="138"/>
                    <a:pt x="326" y="135"/>
                  </a:cubicBezTo>
                  <a:cubicBezTo>
                    <a:pt x="329" y="134"/>
                    <a:pt x="329" y="135"/>
                    <a:pt x="335" y="135"/>
                  </a:cubicBezTo>
                  <a:close/>
                  <a:moveTo>
                    <a:pt x="623" y="518"/>
                  </a:moveTo>
                  <a:cubicBezTo>
                    <a:pt x="623" y="515"/>
                    <a:pt x="626" y="515"/>
                    <a:pt x="625" y="515"/>
                  </a:cubicBezTo>
                  <a:cubicBezTo>
                    <a:pt x="625" y="513"/>
                    <a:pt x="618" y="515"/>
                    <a:pt x="612" y="513"/>
                  </a:cubicBezTo>
                  <a:cubicBezTo>
                    <a:pt x="608" y="512"/>
                    <a:pt x="611" y="505"/>
                    <a:pt x="608" y="510"/>
                  </a:cubicBezTo>
                  <a:cubicBezTo>
                    <a:pt x="605" y="515"/>
                    <a:pt x="609" y="512"/>
                    <a:pt x="608" y="515"/>
                  </a:cubicBezTo>
                  <a:cubicBezTo>
                    <a:pt x="608" y="516"/>
                    <a:pt x="611" y="515"/>
                    <a:pt x="612" y="516"/>
                  </a:cubicBezTo>
                  <a:cubicBezTo>
                    <a:pt x="614" y="518"/>
                    <a:pt x="614" y="516"/>
                    <a:pt x="622" y="519"/>
                  </a:cubicBezTo>
                  <a:cubicBezTo>
                    <a:pt x="623" y="521"/>
                    <a:pt x="623" y="521"/>
                    <a:pt x="623" y="518"/>
                  </a:cubicBezTo>
                  <a:close/>
                  <a:moveTo>
                    <a:pt x="635" y="521"/>
                  </a:moveTo>
                  <a:cubicBezTo>
                    <a:pt x="635" y="518"/>
                    <a:pt x="637" y="518"/>
                    <a:pt x="637" y="522"/>
                  </a:cubicBezTo>
                  <a:cubicBezTo>
                    <a:pt x="635" y="527"/>
                    <a:pt x="637" y="526"/>
                    <a:pt x="640" y="522"/>
                  </a:cubicBezTo>
                  <a:cubicBezTo>
                    <a:pt x="643" y="521"/>
                    <a:pt x="646" y="518"/>
                    <a:pt x="643" y="518"/>
                  </a:cubicBezTo>
                  <a:cubicBezTo>
                    <a:pt x="640" y="516"/>
                    <a:pt x="638" y="516"/>
                    <a:pt x="640" y="512"/>
                  </a:cubicBezTo>
                  <a:cubicBezTo>
                    <a:pt x="640" y="507"/>
                    <a:pt x="638" y="507"/>
                    <a:pt x="635" y="512"/>
                  </a:cubicBezTo>
                  <a:cubicBezTo>
                    <a:pt x="632" y="516"/>
                    <a:pt x="629" y="519"/>
                    <a:pt x="631" y="524"/>
                  </a:cubicBezTo>
                  <a:cubicBezTo>
                    <a:pt x="632" y="527"/>
                    <a:pt x="634" y="526"/>
                    <a:pt x="635" y="521"/>
                  </a:cubicBezTo>
                  <a:close/>
                  <a:moveTo>
                    <a:pt x="611" y="474"/>
                  </a:moveTo>
                  <a:cubicBezTo>
                    <a:pt x="600" y="473"/>
                    <a:pt x="609" y="476"/>
                    <a:pt x="612" y="479"/>
                  </a:cubicBezTo>
                  <a:cubicBezTo>
                    <a:pt x="615" y="482"/>
                    <a:pt x="626" y="487"/>
                    <a:pt x="629" y="484"/>
                  </a:cubicBezTo>
                  <a:cubicBezTo>
                    <a:pt x="629" y="480"/>
                    <a:pt x="620" y="476"/>
                    <a:pt x="611" y="474"/>
                  </a:cubicBezTo>
                  <a:close/>
                  <a:moveTo>
                    <a:pt x="655" y="501"/>
                  </a:moveTo>
                  <a:cubicBezTo>
                    <a:pt x="660" y="498"/>
                    <a:pt x="660" y="502"/>
                    <a:pt x="669" y="501"/>
                  </a:cubicBezTo>
                  <a:cubicBezTo>
                    <a:pt x="679" y="499"/>
                    <a:pt x="669" y="504"/>
                    <a:pt x="678" y="502"/>
                  </a:cubicBezTo>
                  <a:cubicBezTo>
                    <a:pt x="687" y="501"/>
                    <a:pt x="673" y="507"/>
                    <a:pt x="673" y="508"/>
                  </a:cubicBezTo>
                  <a:cubicBezTo>
                    <a:pt x="673" y="512"/>
                    <a:pt x="678" y="512"/>
                    <a:pt x="681" y="507"/>
                  </a:cubicBezTo>
                  <a:cubicBezTo>
                    <a:pt x="684" y="501"/>
                    <a:pt x="685" y="505"/>
                    <a:pt x="687" y="501"/>
                  </a:cubicBezTo>
                  <a:cubicBezTo>
                    <a:pt x="690" y="496"/>
                    <a:pt x="692" y="499"/>
                    <a:pt x="690" y="504"/>
                  </a:cubicBezTo>
                  <a:cubicBezTo>
                    <a:pt x="689" y="508"/>
                    <a:pt x="687" y="512"/>
                    <a:pt x="690" y="508"/>
                  </a:cubicBezTo>
                  <a:cubicBezTo>
                    <a:pt x="695" y="505"/>
                    <a:pt x="692" y="512"/>
                    <a:pt x="696" y="512"/>
                  </a:cubicBezTo>
                  <a:cubicBezTo>
                    <a:pt x="702" y="512"/>
                    <a:pt x="698" y="510"/>
                    <a:pt x="701" y="502"/>
                  </a:cubicBezTo>
                  <a:cubicBezTo>
                    <a:pt x="702" y="494"/>
                    <a:pt x="695" y="502"/>
                    <a:pt x="699" y="496"/>
                  </a:cubicBezTo>
                  <a:cubicBezTo>
                    <a:pt x="702" y="491"/>
                    <a:pt x="696" y="494"/>
                    <a:pt x="693" y="499"/>
                  </a:cubicBezTo>
                  <a:cubicBezTo>
                    <a:pt x="692" y="504"/>
                    <a:pt x="692" y="496"/>
                    <a:pt x="695" y="493"/>
                  </a:cubicBezTo>
                  <a:cubicBezTo>
                    <a:pt x="699" y="491"/>
                    <a:pt x="699" y="488"/>
                    <a:pt x="696" y="490"/>
                  </a:cubicBezTo>
                  <a:cubicBezTo>
                    <a:pt x="693" y="491"/>
                    <a:pt x="689" y="488"/>
                    <a:pt x="693" y="485"/>
                  </a:cubicBezTo>
                  <a:cubicBezTo>
                    <a:pt x="696" y="480"/>
                    <a:pt x="692" y="477"/>
                    <a:pt x="684" y="480"/>
                  </a:cubicBezTo>
                  <a:cubicBezTo>
                    <a:pt x="676" y="482"/>
                    <a:pt x="682" y="477"/>
                    <a:pt x="678" y="479"/>
                  </a:cubicBezTo>
                  <a:cubicBezTo>
                    <a:pt x="673" y="480"/>
                    <a:pt x="673" y="474"/>
                    <a:pt x="676" y="474"/>
                  </a:cubicBezTo>
                  <a:cubicBezTo>
                    <a:pt x="679" y="474"/>
                    <a:pt x="675" y="468"/>
                    <a:pt x="670" y="474"/>
                  </a:cubicBezTo>
                  <a:cubicBezTo>
                    <a:pt x="666" y="479"/>
                    <a:pt x="669" y="471"/>
                    <a:pt x="672" y="465"/>
                  </a:cubicBezTo>
                  <a:cubicBezTo>
                    <a:pt x="672" y="465"/>
                    <a:pt x="676" y="459"/>
                    <a:pt x="678" y="456"/>
                  </a:cubicBezTo>
                  <a:cubicBezTo>
                    <a:pt x="679" y="454"/>
                    <a:pt x="678" y="451"/>
                    <a:pt x="672" y="454"/>
                  </a:cubicBezTo>
                  <a:cubicBezTo>
                    <a:pt x="666" y="457"/>
                    <a:pt x="669" y="460"/>
                    <a:pt x="666" y="462"/>
                  </a:cubicBezTo>
                  <a:cubicBezTo>
                    <a:pt x="663" y="463"/>
                    <a:pt x="660" y="474"/>
                    <a:pt x="655" y="484"/>
                  </a:cubicBezTo>
                  <a:cubicBezTo>
                    <a:pt x="650" y="491"/>
                    <a:pt x="653" y="485"/>
                    <a:pt x="650" y="488"/>
                  </a:cubicBezTo>
                  <a:cubicBezTo>
                    <a:pt x="647" y="491"/>
                    <a:pt x="647" y="491"/>
                    <a:pt x="652" y="491"/>
                  </a:cubicBezTo>
                  <a:cubicBezTo>
                    <a:pt x="657" y="493"/>
                    <a:pt x="644" y="496"/>
                    <a:pt x="647" y="499"/>
                  </a:cubicBezTo>
                  <a:cubicBezTo>
                    <a:pt x="649" y="501"/>
                    <a:pt x="649" y="502"/>
                    <a:pt x="655" y="501"/>
                  </a:cubicBezTo>
                  <a:close/>
                  <a:moveTo>
                    <a:pt x="363" y="485"/>
                  </a:moveTo>
                  <a:cubicBezTo>
                    <a:pt x="364" y="485"/>
                    <a:pt x="363" y="479"/>
                    <a:pt x="364" y="480"/>
                  </a:cubicBezTo>
                  <a:cubicBezTo>
                    <a:pt x="366" y="480"/>
                    <a:pt x="366" y="482"/>
                    <a:pt x="367" y="485"/>
                  </a:cubicBezTo>
                  <a:cubicBezTo>
                    <a:pt x="367" y="490"/>
                    <a:pt x="372" y="487"/>
                    <a:pt x="373" y="490"/>
                  </a:cubicBezTo>
                  <a:cubicBezTo>
                    <a:pt x="375" y="491"/>
                    <a:pt x="375" y="487"/>
                    <a:pt x="381" y="490"/>
                  </a:cubicBezTo>
                  <a:cubicBezTo>
                    <a:pt x="387" y="491"/>
                    <a:pt x="384" y="494"/>
                    <a:pt x="386" y="493"/>
                  </a:cubicBezTo>
                  <a:cubicBezTo>
                    <a:pt x="389" y="491"/>
                    <a:pt x="390" y="498"/>
                    <a:pt x="393" y="494"/>
                  </a:cubicBezTo>
                  <a:cubicBezTo>
                    <a:pt x="399" y="493"/>
                    <a:pt x="396" y="496"/>
                    <a:pt x="401" y="494"/>
                  </a:cubicBezTo>
                  <a:cubicBezTo>
                    <a:pt x="405" y="494"/>
                    <a:pt x="402" y="496"/>
                    <a:pt x="407" y="496"/>
                  </a:cubicBezTo>
                  <a:cubicBezTo>
                    <a:pt x="408" y="496"/>
                    <a:pt x="408" y="496"/>
                    <a:pt x="408" y="496"/>
                  </a:cubicBezTo>
                  <a:cubicBezTo>
                    <a:pt x="410" y="494"/>
                    <a:pt x="410" y="493"/>
                    <a:pt x="410" y="491"/>
                  </a:cubicBezTo>
                  <a:cubicBezTo>
                    <a:pt x="411" y="490"/>
                    <a:pt x="414" y="488"/>
                    <a:pt x="413" y="491"/>
                  </a:cubicBezTo>
                  <a:cubicBezTo>
                    <a:pt x="411" y="493"/>
                    <a:pt x="414" y="491"/>
                    <a:pt x="416" y="488"/>
                  </a:cubicBezTo>
                  <a:cubicBezTo>
                    <a:pt x="416" y="484"/>
                    <a:pt x="418" y="487"/>
                    <a:pt x="416" y="488"/>
                  </a:cubicBezTo>
                  <a:cubicBezTo>
                    <a:pt x="414" y="491"/>
                    <a:pt x="416" y="491"/>
                    <a:pt x="418" y="490"/>
                  </a:cubicBezTo>
                  <a:cubicBezTo>
                    <a:pt x="421" y="488"/>
                    <a:pt x="418" y="485"/>
                    <a:pt x="419" y="485"/>
                  </a:cubicBezTo>
                  <a:cubicBezTo>
                    <a:pt x="421" y="484"/>
                    <a:pt x="424" y="487"/>
                    <a:pt x="427" y="487"/>
                  </a:cubicBezTo>
                  <a:cubicBezTo>
                    <a:pt x="430" y="487"/>
                    <a:pt x="428" y="488"/>
                    <a:pt x="431" y="487"/>
                  </a:cubicBezTo>
                  <a:cubicBezTo>
                    <a:pt x="434" y="487"/>
                    <a:pt x="433" y="494"/>
                    <a:pt x="437" y="496"/>
                  </a:cubicBezTo>
                  <a:cubicBezTo>
                    <a:pt x="440" y="498"/>
                    <a:pt x="446" y="494"/>
                    <a:pt x="443" y="499"/>
                  </a:cubicBezTo>
                  <a:cubicBezTo>
                    <a:pt x="443" y="501"/>
                    <a:pt x="445" y="502"/>
                    <a:pt x="446" y="504"/>
                  </a:cubicBezTo>
                  <a:cubicBezTo>
                    <a:pt x="448" y="505"/>
                    <a:pt x="445" y="507"/>
                    <a:pt x="446" y="508"/>
                  </a:cubicBezTo>
                  <a:cubicBezTo>
                    <a:pt x="448" y="510"/>
                    <a:pt x="446" y="508"/>
                    <a:pt x="448" y="508"/>
                  </a:cubicBezTo>
                  <a:cubicBezTo>
                    <a:pt x="449" y="510"/>
                    <a:pt x="446" y="508"/>
                    <a:pt x="446" y="512"/>
                  </a:cubicBezTo>
                  <a:cubicBezTo>
                    <a:pt x="446" y="515"/>
                    <a:pt x="451" y="512"/>
                    <a:pt x="451" y="515"/>
                  </a:cubicBezTo>
                  <a:cubicBezTo>
                    <a:pt x="451" y="516"/>
                    <a:pt x="453" y="515"/>
                    <a:pt x="456" y="516"/>
                  </a:cubicBezTo>
                  <a:cubicBezTo>
                    <a:pt x="459" y="518"/>
                    <a:pt x="463" y="518"/>
                    <a:pt x="466" y="518"/>
                  </a:cubicBezTo>
                  <a:cubicBezTo>
                    <a:pt x="469" y="518"/>
                    <a:pt x="471" y="518"/>
                    <a:pt x="471" y="519"/>
                  </a:cubicBezTo>
                  <a:cubicBezTo>
                    <a:pt x="471" y="521"/>
                    <a:pt x="472" y="519"/>
                    <a:pt x="475" y="519"/>
                  </a:cubicBezTo>
                  <a:cubicBezTo>
                    <a:pt x="478" y="519"/>
                    <a:pt x="480" y="527"/>
                    <a:pt x="481" y="527"/>
                  </a:cubicBezTo>
                  <a:cubicBezTo>
                    <a:pt x="483" y="526"/>
                    <a:pt x="483" y="526"/>
                    <a:pt x="483" y="529"/>
                  </a:cubicBezTo>
                  <a:cubicBezTo>
                    <a:pt x="483" y="530"/>
                    <a:pt x="486" y="532"/>
                    <a:pt x="486" y="533"/>
                  </a:cubicBezTo>
                  <a:cubicBezTo>
                    <a:pt x="486" y="535"/>
                    <a:pt x="483" y="532"/>
                    <a:pt x="483" y="533"/>
                  </a:cubicBezTo>
                  <a:cubicBezTo>
                    <a:pt x="481" y="533"/>
                    <a:pt x="484" y="536"/>
                    <a:pt x="483" y="536"/>
                  </a:cubicBezTo>
                  <a:cubicBezTo>
                    <a:pt x="481" y="538"/>
                    <a:pt x="478" y="533"/>
                    <a:pt x="477" y="535"/>
                  </a:cubicBezTo>
                  <a:cubicBezTo>
                    <a:pt x="475" y="536"/>
                    <a:pt x="477" y="533"/>
                    <a:pt x="475" y="533"/>
                  </a:cubicBezTo>
                  <a:cubicBezTo>
                    <a:pt x="474" y="533"/>
                    <a:pt x="477" y="532"/>
                    <a:pt x="474" y="532"/>
                  </a:cubicBezTo>
                  <a:cubicBezTo>
                    <a:pt x="472" y="532"/>
                    <a:pt x="474" y="529"/>
                    <a:pt x="472" y="529"/>
                  </a:cubicBezTo>
                  <a:cubicBezTo>
                    <a:pt x="471" y="529"/>
                    <a:pt x="471" y="527"/>
                    <a:pt x="469" y="527"/>
                  </a:cubicBezTo>
                  <a:cubicBezTo>
                    <a:pt x="469" y="529"/>
                    <a:pt x="472" y="530"/>
                    <a:pt x="474" y="533"/>
                  </a:cubicBezTo>
                  <a:cubicBezTo>
                    <a:pt x="474" y="538"/>
                    <a:pt x="469" y="538"/>
                    <a:pt x="469" y="544"/>
                  </a:cubicBezTo>
                  <a:cubicBezTo>
                    <a:pt x="471" y="550"/>
                    <a:pt x="469" y="550"/>
                    <a:pt x="465" y="554"/>
                  </a:cubicBezTo>
                  <a:cubicBezTo>
                    <a:pt x="465" y="555"/>
                    <a:pt x="463" y="555"/>
                    <a:pt x="463" y="557"/>
                  </a:cubicBezTo>
                  <a:cubicBezTo>
                    <a:pt x="463" y="558"/>
                    <a:pt x="463" y="558"/>
                    <a:pt x="463" y="558"/>
                  </a:cubicBezTo>
                  <a:cubicBezTo>
                    <a:pt x="466" y="560"/>
                    <a:pt x="463" y="561"/>
                    <a:pt x="460" y="561"/>
                  </a:cubicBezTo>
                  <a:cubicBezTo>
                    <a:pt x="457" y="561"/>
                    <a:pt x="459" y="564"/>
                    <a:pt x="460" y="564"/>
                  </a:cubicBezTo>
                  <a:cubicBezTo>
                    <a:pt x="463" y="564"/>
                    <a:pt x="463" y="566"/>
                    <a:pt x="463" y="564"/>
                  </a:cubicBezTo>
                  <a:cubicBezTo>
                    <a:pt x="465" y="563"/>
                    <a:pt x="466" y="563"/>
                    <a:pt x="468" y="563"/>
                  </a:cubicBezTo>
                  <a:cubicBezTo>
                    <a:pt x="469" y="561"/>
                    <a:pt x="471" y="557"/>
                    <a:pt x="477" y="558"/>
                  </a:cubicBezTo>
                  <a:cubicBezTo>
                    <a:pt x="484" y="560"/>
                    <a:pt x="480" y="558"/>
                    <a:pt x="480" y="557"/>
                  </a:cubicBezTo>
                  <a:cubicBezTo>
                    <a:pt x="481" y="557"/>
                    <a:pt x="483" y="555"/>
                    <a:pt x="486" y="555"/>
                  </a:cubicBezTo>
                  <a:cubicBezTo>
                    <a:pt x="489" y="555"/>
                    <a:pt x="491" y="555"/>
                    <a:pt x="491" y="555"/>
                  </a:cubicBezTo>
                  <a:cubicBezTo>
                    <a:pt x="491" y="554"/>
                    <a:pt x="492" y="554"/>
                    <a:pt x="492" y="554"/>
                  </a:cubicBezTo>
                  <a:cubicBezTo>
                    <a:pt x="489" y="552"/>
                    <a:pt x="489" y="552"/>
                    <a:pt x="489" y="552"/>
                  </a:cubicBezTo>
                  <a:cubicBezTo>
                    <a:pt x="488" y="552"/>
                    <a:pt x="484" y="552"/>
                    <a:pt x="486" y="549"/>
                  </a:cubicBezTo>
                  <a:cubicBezTo>
                    <a:pt x="488" y="546"/>
                    <a:pt x="489" y="547"/>
                    <a:pt x="489" y="546"/>
                  </a:cubicBezTo>
                  <a:cubicBezTo>
                    <a:pt x="491" y="544"/>
                    <a:pt x="494" y="544"/>
                    <a:pt x="498" y="543"/>
                  </a:cubicBezTo>
                  <a:cubicBezTo>
                    <a:pt x="503" y="541"/>
                    <a:pt x="501" y="541"/>
                    <a:pt x="504" y="543"/>
                  </a:cubicBezTo>
                  <a:cubicBezTo>
                    <a:pt x="509" y="546"/>
                    <a:pt x="507" y="543"/>
                    <a:pt x="509" y="541"/>
                  </a:cubicBezTo>
                  <a:cubicBezTo>
                    <a:pt x="512" y="540"/>
                    <a:pt x="513" y="538"/>
                    <a:pt x="516" y="536"/>
                  </a:cubicBezTo>
                  <a:cubicBezTo>
                    <a:pt x="519" y="533"/>
                    <a:pt x="524" y="530"/>
                    <a:pt x="526" y="530"/>
                  </a:cubicBezTo>
                  <a:cubicBezTo>
                    <a:pt x="526" y="532"/>
                    <a:pt x="527" y="530"/>
                    <a:pt x="529" y="530"/>
                  </a:cubicBezTo>
                  <a:cubicBezTo>
                    <a:pt x="551" y="530"/>
                    <a:pt x="551" y="530"/>
                    <a:pt x="551" y="530"/>
                  </a:cubicBezTo>
                  <a:cubicBezTo>
                    <a:pt x="551" y="527"/>
                    <a:pt x="551" y="527"/>
                    <a:pt x="553" y="527"/>
                  </a:cubicBezTo>
                  <a:cubicBezTo>
                    <a:pt x="555" y="529"/>
                    <a:pt x="555" y="527"/>
                    <a:pt x="555" y="527"/>
                  </a:cubicBezTo>
                  <a:cubicBezTo>
                    <a:pt x="556" y="529"/>
                    <a:pt x="556" y="526"/>
                    <a:pt x="558" y="526"/>
                  </a:cubicBezTo>
                  <a:cubicBezTo>
                    <a:pt x="559" y="526"/>
                    <a:pt x="555" y="526"/>
                    <a:pt x="558" y="524"/>
                  </a:cubicBezTo>
                  <a:cubicBezTo>
                    <a:pt x="561" y="521"/>
                    <a:pt x="558" y="522"/>
                    <a:pt x="561" y="521"/>
                  </a:cubicBezTo>
                  <a:cubicBezTo>
                    <a:pt x="562" y="519"/>
                    <a:pt x="559" y="518"/>
                    <a:pt x="562" y="515"/>
                  </a:cubicBezTo>
                  <a:cubicBezTo>
                    <a:pt x="564" y="513"/>
                    <a:pt x="561" y="513"/>
                    <a:pt x="564" y="510"/>
                  </a:cubicBezTo>
                  <a:cubicBezTo>
                    <a:pt x="565" y="507"/>
                    <a:pt x="568" y="502"/>
                    <a:pt x="568" y="502"/>
                  </a:cubicBezTo>
                  <a:cubicBezTo>
                    <a:pt x="568" y="502"/>
                    <a:pt x="570" y="502"/>
                    <a:pt x="570" y="504"/>
                  </a:cubicBezTo>
                  <a:cubicBezTo>
                    <a:pt x="570" y="505"/>
                    <a:pt x="571" y="505"/>
                    <a:pt x="573" y="505"/>
                  </a:cubicBezTo>
                  <a:cubicBezTo>
                    <a:pt x="574" y="504"/>
                    <a:pt x="576" y="502"/>
                    <a:pt x="577" y="505"/>
                  </a:cubicBezTo>
                  <a:cubicBezTo>
                    <a:pt x="580" y="507"/>
                    <a:pt x="580" y="507"/>
                    <a:pt x="580" y="510"/>
                  </a:cubicBezTo>
                  <a:cubicBezTo>
                    <a:pt x="580" y="512"/>
                    <a:pt x="580" y="519"/>
                    <a:pt x="580" y="521"/>
                  </a:cubicBezTo>
                  <a:cubicBezTo>
                    <a:pt x="580" y="522"/>
                    <a:pt x="579" y="522"/>
                    <a:pt x="580" y="522"/>
                  </a:cubicBezTo>
                  <a:cubicBezTo>
                    <a:pt x="582" y="524"/>
                    <a:pt x="582" y="524"/>
                    <a:pt x="582" y="524"/>
                  </a:cubicBezTo>
                  <a:cubicBezTo>
                    <a:pt x="583" y="524"/>
                    <a:pt x="583" y="524"/>
                    <a:pt x="583" y="526"/>
                  </a:cubicBezTo>
                  <a:cubicBezTo>
                    <a:pt x="583" y="527"/>
                    <a:pt x="583" y="529"/>
                    <a:pt x="585" y="529"/>
                  </a:cubicBezTo>
                  <a:cubicBezTo>
                    <a:pt x="591" y="532"/>
                    <a:pt x="594" y="529"/>
                    <a:pt x="600" y="526"/>
                  </a:cubicBezTo>
                  <a:cubicBezTo>
                    <a:pt x="606" y="522"/>
                    <a:pt x="599" y="527"/>
                    <a:pt x="609" y="526"/>
                  </a:cubicBezTo>
                  <a:cubicBezTo>
                    <a:pt x="617" y="526"/>
                    <a:pt x="608" y="527"/>
                    <a:pt x="602" y="530"/>
                  </a:cubicBezTo>
                  <a:cubicBezTo>
                    <a:pt x="596" y="533"/>
                    <a:pt x="591" y="540"/>
                    <a:pt x="594" y="546"/>
                  </a:cubicBezTo>
                  <a:cubicBezTo>
                    <a:pt x="597" y="552"/>
                    <a:pt x="602" y="547"/>
                    <a:pt x="606" y="540"/>
                  </a:cubicBezTo>
                  <a:cubicBezTo>
                    <a:pt x="612" y="533"/>
                    <a:pt x="612" y="540"/>
                    <a:pt x="620" y="533"/>
                  </a:cubicBezTo>
                  <a:cubicBezTo>
                    <a:pt x="626" y="529"/>
                    <a:pt x="635" y="530"/>
                    <a:pt x="632" y="527"/>
                  </a:cubicBezTo>
                  <a:cubicBezTo>
                    <a:pt x="629" y="524"/>
                    <a:pt x="628" y="521"/>
                    <a:pt x="625" y="522"/>
                  </a:cubicBezTo>
                  <a:cubicBezTo>
                    <a:pt x="622" y="524"/>
                    <a:pt x="611" y="521"/>
                    <a:pt x="611" y="519"/>
                  </a:cubicBezTo>
                  <a:cubicBezTo>
                    <a:pt x="612" y="516"/>
                    <a:pt x="606" y="519"/>
                    <a:pt x="605" y="512"/>
                  </a:cubicBezTo>
                  <a:cubicBezTo>
                    <a:pt x="602" y="502"/>
                    <a:pt x="608" y="496"/>
                    <a:pt x="602" y="498"/>
                  </a:cubicBezTo>
                  <a:cubicBezTo>
                    <a:pt x="593" y="501"/>
                    <a:pt x="599" y="498"/>
                    <a:pt x="605" y="493"/>
                  </a:cubicBezTo>
                  <a:cubicBezTo>
                    <a:pt x="609" y="490"/>
                    <a:pt x="611" y="487"/>
                    <a:pt x="605" y="484"/>
                  </a:cubicBezTo>
                  <a:cubicBezTo>
                    <a:pt x="600" y="479"/>
                    <a:pt x="574" y="487"/>
                    <a:pt x="568" y="494"/>
                  </a:cubicBezTo>
                  <a:cubicBezTo>
                    <a:pt x="561" y="508"/>
                    <a:pt x="551" y="513"/>
                    <a:pt x="556" y="508"/>
                  </a:cubicBezTo>
                  <a:cubicBezTo>
                    <a:pt x="561" y="504"/>
                    <a:pt x="568" y="487"/>
                    <a:pt x="579" y="482"/>
                  </a:cubicBezTo>
                  <a:cubicBezTo>
                    <a:pt x="593" y="477"/>
                    <a:pt x="577" y="473"/>
                    <a:pt x="599" y="470"/>
                  </a:cubicBezTo>
                  <a:cubicBezTo>
                    <a:pt x="626" y="465"/>
                    <a:pt x="631" y="480"/>
                    <a:pt x="649" y="463"/>
                  </a:cubicBezTo>
                  <a:cubicBezTo>
                    <a:pt x="666" y="448"/>
                    <a:pt x="663" y="460"/>
                    <a:pt x="667" y="454"/>
                  </a:cubicBezTo>
                  <a:cubicBezTo>
                    <a:pt x="673" y="448"/>
                    <a:pt x="679" y="449"/>
                    <a:pt x="675" y="442"/>
                  </a:cubicBezTo>
                  <a:cubicBezTo>
                    <a:pt x="672" y="434"/>
                    <a:pt x="678" y="438"/>
                    <a:pt x="675" y="432"/>
                  </a:cubicBezTo>
                  <a:cubicBezTo>
                    <a:pt x="672" y="426"/>
                    <a:pt x="669" y="431"/>
                    <a:pt x="664" y="425"/>
                  </a:cubicBezTo>
                  <a:cubicBezTo>
                    <a:pt x="660" y="418"/>
                    <a:pt x="655" y="423"/>
                    <a:pt x="647" y="429"/>
                  </a:cubicBezTo>
                  <a:cubicBezTo>
                    <a:pt x="638" y="435"/>
                    <a:pt x="637" y="428"/>
                    <a:pt x="644" y="426"/>
                  </a:cubicBezTo>
                  <a:cubicBezTo>
                    <a:pt x="652" y="425"/>
                    <a:pt x="650" y="421"/>
                    <a:pt x="658" y="420"/>
                  </a:cubicBezTo>
                  <a:cubicBezTo>
                    <a:pt x="666" y="418"/>
                    <a:pt x="663" y="415"/>
                    <a:pt x="655" y="414"/>
                  </a:cubicBezTo>
                  <a:cubicBezTo>
                    <a:pt x="647" y="414"/>
                    <a:pt x="653" y="411"/>
                    <a:pt x="644" y="409"/>
                  </a:cubicBezTo>
                  <a:cubicBezTo>
                    <a:pt x="635" y="407"/>
                    <a:pt x="643" y="404"/>
                    <a:pt x="637" y="401"/>
                  </a:cubicBezTo>
                  <a:cubicBezTo>
                    <a:pt x="631" y="398"/>
                    <a:pt x="626" y="395"/>
                    <a:pt x="631" y="389"/>
                  </a:cubicBezTo>
                  <a:cubicBezTo>
                    <a:pt x="634" y="381"/>
                    <a:pt x="622" y="384"/>
                    <a:pt x="626" y="379"/>
                  </a:cubicBezTo>
                  <a:cubicBezTo>
                    <a:pt x="629" y="375"/>
                    <a:pt x="622" y="375"/>
                    <a:pt x="620" y="367"/>
                  </a:cubicBezTo>
                  <a:cubicBezTo>
                    <a:pt x="620" y="361"/>
                    <a:pt x="618" y="365"/>
                    <a:pt x="617" y="361"/>
                  </a:cubicBezTo>
                  <a:cubicBezTo>
                    <a:pt x="615" y="355"/>
                    <a:pt x="614" y="359"/>
                    <a:pt x="609" y="350"/>
                  </a:cubicBezTo>
                  <a:cubicBezTo>
                    <a:pt x="605" y="341"/>
                    <a:pt x="605" y="344"/>
                    <a:pt x="600" y="350"/>
                  </a:cubicBezTo>
                  <a:cubicBezTo>
                    <a:pt x="596" y="355"/>
                    <a:pt x="599" y="365"/>
                    <a:pt x="593" y="364"/>
                  </a:cubicBezTo>
                  <a:cubicBezTo>
                    <a:pt x="585" y="362"/>
                    <a:pt x="593" y="365"/>
                    <a:pt x="585" y="369"/>
                  </a:cubicBezTo>
                  <a:cubicBezTo>
                    <a:pt x="576" y="372"/>
                    <a:pt x="579" y="362"/>
                    <a:pt x="570" y="362"/>
                  </a:cubicBezTo>
                  <a:cubicBezTo>
                    <a:pt x="562" y="362"/>
                    <a:pt x="571" y="359"/>
                    <a:pt x="567" y="358"/>
                  </a:cubicBezTo>
                  <a:cubicBezTo>
                    <a:pt x="562" y="355"/>
                    <a:pt x="568" y="355"/>
                    <a:pt x="565" y="348"/>
                  </a:cubicBezTo>
                  <a:cubicBezTo>
                    <a:pt x="562" y="344"/>
                    <a:pt x="570" y="337"/>
                    <a:pt x="567" y="334"/>
                  </a:cubicBezTo>
                  <a:cubicBezTo>
                    <a:pt x="564" y="331"/>
                    <a:pt x="564" y="339"/>
                    <a:pt x="562" y="336"/>
                  </a:cubicBezTo>
                  <a:cubicBezTo>
                    <a:pt x="561" y="333"/>
                    <a:pt x="550" y="333"/>
                    <a:pt x="550" y="330"/>
                  </a:cubicBezTo>
                  <a:cubicBezTo>
                    <a:pt x="551" y="325"/>
                    <a:pt x="545" y="323"/>
                    <a:pt x="538" y="317"/>
                  </a:cubicBezTo>
                  <a:cubicBezTo>
                    <a:pt x="526" y="309"/>
                    <a:pt x="536" y="327"/>
                    <a:pt x="509" y="314"/>
                  </a:cubicBezTo>
                  <a:cubicBezTo>
                    <a:pt x="497" y="309"/>
                    <a:pt x="497" y="323"/>
                    <a:pt x="500" y="325"/>
                  </a:cubicBezTo>
                  <a:cubicBezTo>
                    <a:pt x="503" y="328"/>
                    <a:pt x="501" y="333"/>
                    <a:pt x="500" y="336"/>
                  </a:cubicBezTo>
                  <a:cubicBezTo>
                    <a:pt x="497" y="339"/>
                    <a:pt x="500" y="337"/>
                    <a:pt x="503" y="345"/>
                  </a:cubicBezTo>
                  <a:cubicBezTo>
                    <a:pt x="506" y="351"/>
                    <a:pt x="503" y="351"/>
                    <a:pt x="501" y="356"/>
                  </a:cubicBezTo>
                  <a:cubicBezTo>
                    <a:pt x="500" y="361"/>
                    <a:pt x="497" y="358"/>
                    <a:pt x="495" y="364"/>
                  </a:cubicBezTo>
                  <a:cubicBezTo>
                    <a:pt x="494" y="370"/>
                    <a:pt x="506" y="367"/>
                    <a:pt x="510" y="384"/>
                  </a:cubicBezTo>
                  <a:cubicBezTo>
                    <a:pt x="515" y="401"/>
                    <a:pt x="500" y="411"/>
                    <a:pt x="491" y="414"/>
                  </a:cubicBezTo>
                  <a:cubicBezTo>
                    <a:pt x="480" y="418"/>
                    <a:pt x="491" y="418"/>
                    <a:pt x="491" y="428"/>
                  </a:cubicBezTo>
                  <a:cubicBezTo>
                    <a:pt x="491" y="435"/>
                    <a:pt x="498" y="446"/>
                    <a:pt x="494" y="448"/>
                  </a:cubicBezTo>
                  <a:cubicBezTo>
                    <a:pt x="489" y="451"/>
                    <a:pt x="497" y="459"/>
                    <a:pt x="491" y="454"/>
                  </a:cubicBezTo>
                  <a:cubicBezTo>
                    <a:pt x="483" y="449"/>
                    <a:pt x="489" y="463"/>
                    <a:pt x="483" y="459"/>
                  </a:cubicBezTo>
                  <a:cubicBezTo>
                    <a:pt x="477" y="454"/>
                    <a:pt x="481" y="452"/>
                    <a:pt x="469" y="442"/>
                  </a:cubicBezTo>
                  <a:cubicBezTo>
                    <a:pt x="462" y="435"/>
                    <a:pt x="468" y="431"/>
                    <a:pt x="465" y="425"/>
                  </a:cubicBezTo>
                  <a:cubicBezTo>
                    <a:pt x="462" y="415"/>
                    <a:pt x="471" y="412"/>
                    <a:pt x="462" y="411"/>
                  </a:cubicBezTo>
                  <a:cubicBezTo>
                    <a:pt x="446" y="406"/>
                    <a:pt x="446" y="411"/>
                    <a:pt x="443" y="409"/>
                  </a:cubicBezTo>
                  <a:cubicBezTo>
                    <a:pt x="439" y="407"/>
                    <a:pt x="442" y="404"/>
                    <a:pt x="428" y="401"/>
                  </a:cubicBezTo>
                  <a:cubicBezTo>
                    <a:pt x="414" y="397"/>
                    <a:pt x="430" y="395"/>
                    <a:pt x="408" y="387"/>
                  </a:cubicBezTo>
                  <a:cubicBezTo>
                    <a:pt x="387" y="378"/>
                    <a:pt x="384" y="395"/>
                    <a:pt x="384" y="384"/>
                  </a:cubicBezTo>
                  <a:cubicBezTo>
                    <a:pt x="384" y="373"/>
                    <a:pt x="381" y="375"/>
                    <a:pt x="379" y="367"/>
                  </a:cubicBezTo>
                  <a:cubicBezTo>
                    <a:pt x="379" y="361"/>
                    <a:pt x="367" y="370"/>
                    <a:pt x="366" y="356"/>
                  </a:cubicBezTo>
                  <a:cubicBezTo>
                    <a:pt x="364" y="341"/>
                    <a:pt x="379" y="319"/>
                    <a:pt x="383" y="320"/>
                  </a:cubicBezTo>
                  <a:cubicBezTo>
                    <a:pt x="386" y="320"/>
                    <a:pt x="383" y="311"/>
                    <a:pt x="390" y="311"/>
                  </a:cubicBezTo>
                  <a:cubicBezTo>
                    <a:pt x="396" y="311"/>
                    <a:pt x="404" y="309"/>
                    <a:pt x="396" y="303"/>
                  </a:cubicBezTo>
                  <a:cubicBezTo>
                    <a:pt x="390" y="297"/>
                    <a:pt x="404" y="303"/>
                    <a:pt x="405" y="295"/>
                  </a:cubicBezTo>
                  <a:cubicBezTo>
                    <a:pt x="407" y="288"/>
                    <a:pt x="413" y="305"/>
                    <a:pt x="421" y="291"/>
                  </a:cubicBezTo>
                  <a:cubicBezTo>
                    <a:pt x="428" y="277"/>
                    <a:pt x="431" y="281"/>
                    <a:pt x="416" y="277"/>
                  </a:cubicBezTo>
                  <a:cubicBezTo>
                    <a:pt x="405" y="275"/>
                    <a:pt x="410" y="272"/>
                    <a:pt x="402" y="269"/>
                  </a:cubicBezTo>
                  <a:cubicBezTo>
                    <a:pt x="411" y="268"/>
                    <a:pt x="421" y="283"/>
                    <a:pt x="430" y="274"/>
                  </a:cubicBezTo>
                  <a:cubicBezTo>
                    <a:pt x="437" y="264"/>
                    <a:pt x="437" y="266"/>
                    <a:pt x="431" y="261"/>
                  </a:cubicBezTo>
                  <a:cubicBezTo>
                    <a:pt x="424" y="258"/>
                    <a:pt x="439" y="258"/>
                    <a:pt x="442" y="261"/>
                  </a:cubicBezTo>
                  <a:cubicBezTo>
                    <a:pt x="445" y="264"/>
                    <a:pt x="448" y="266"/>
                    <a:pt x="449" y="269"/>
                  </a:cubicBezTo>
                  <a:cubicBezTo>
                    <a:pt x="451" y="272"/>
                    <a:pt x="453" y="274"/>
                    <a:pt x="457" y="272"/>
                  </a:cubicBezTo>
                  <a:cubicBezTo>
                    <a:pt x="460" y="271"/>
                    <a:pt x="448" y="268"/>
                    <a:pt x="453" y="264"/>
                  </a:cubicBezTo>
                  <a:cubicBezTo>
                    <a:pt x="457" y="263"/>
                    <a:pt x="459" y="258"/>
                    <a:pt x="462" y="258"/>
                  </a:cubicBezTo>
                  <a:cubicBezTo>
                    <a:pt x="466" y="260"/>
                    <a:pt x="466" y="254"/>
                    <a:pt x="471" y="254"/>
                  </a:cubicBezTo>
                  <a:cubicBezTo>
                    <a:pt x="474" y="254"/>
                    <a:pt x="475" y="247"/>
                    <a:pt x="469" y="243"/>
                  </a:cubicBezTo>
                  <a:cubicBezTo>
                    <a:pt x="463" y="238"/>
                    <a:pt x="471" y="240"/>
                    <a:pt x="466" y="235"/>
                  </a:cubicBezTo>
                  <a:cubicBezTo>
                    <a:pt x="462" y="230"/>
                    <a:pt x="472" y="235"/>
                    <a:pt x="474" y="230"/>
                  </a:cubicBezTo>
                  <a:cubicBezTo>
                    <a:pt x="475" y="224"/>
                    <a:pt x="469" y="229"/>
                    <a:pt x="472" y="224"/>
                  </a:cubicBezTo>
                  <a:cubicBezTo>
                    <a:pt x="475" y="219"/>
                    <a:pt x="466" y="224"/>
                    <a:pt x="465" y="218"/>
                  </a:cubicBezTo>
                  <a:cubicBezTo>
                    <a:pt x="465" y="213"/>
                    <a:pt x="457" y="216"/>
                    <a:pt x="451" y="213"/>
                  </a:cubicBezTo>
                  <a:cubicBezTo>
                    <a:pt x="443" y="210"/>
                    <a:pt x="448" y="213"/>
                    <a:pt x="442" y="213"/>
                  </a:cubicBezTo>
                  <a:cubicBezTo>
                    <a:pt x="436" y="213"/>
                    <a:pt x="439" y="222"/>
                    <a:pt x="442" y="224"/>
                  </a:cubicBezTo>
                  <a:cubicBezTo>
                    <a:pt x="446" y="226"/>
                    <a:pt x="443" y="229"/>
                    <a:pt x="440" y="229"/>
                  </a:cubicBezTo>
                  <a:cubicBezTo>
                    <a:pt x="437" y="227"/>
                    <a:pt x="440" y="236"/>
                    <a:pt x="434" y="241"/>
                  </a:cubicBezTo>
                  <a:cubicBezTo>
                    <a:pt x="430" y="244"/>
                    <a:pt x="434" y="247"/>
                    <a:pt x="428" y="250"/>
                  </a:cubicBezTo>
                  <a:cubicBezTo>
                    <a:pt x="422" y="252"/>
                    <a:pt x="425" y="249"/>
                    <a:pt x="419" y="244"/>
                  </a:cubicBezTo>
                  <a:cubicBezTo>
                    <a:pt x="413" y="238"/>
                    <a:pt x="422" y="240"/>
                    <a:pt x="422" y="235"/>
                  </a:cubicBezTo>
                  <a:cubicBezTo>
                    <a:pt x="422" y="232"/>
                    <a:pt x="414" y="218"/>
                    <a:pt x="408" y="222"/>
                  </a:cubicBezTo>
                  <a:cubicBezTo>
                    <a:pt x="404" y="227"/>
                    <a:pt x="407" y="240"/>
                    <a:pt x="401" y="233"/>
                  </a:cubicBezTo>
                  <a:cubicBezTo>
                    <a:pt x="396" y="229"/>
                    <a:pt x="404" y="230"/>
                    <a:pt x="399" y="224"/>
                  </a:cubicBezTo>
                  <a:cubicBezTo>
                    <a:pt x="393" y="219"/>
                    <a:pt x="405" y="221"/>
                    <a:pt x="399" y="218"/>
                  </a:cubicBezTo>
                  <a:cubicBezTo>
                    <a:pt x="392" y="213"/>
                    <a:pt x="392" y="219"/>
                    <a:pt x="387" y="216"/>
                  </a:cubicBezTo>
                  <a:cubicBezTo>
                    <a:pt x="381" y="213"/>
                    <a:pt x="395" y="208"/>
                    <a:pt x="392" y="207"/>
                  </a:cubicBezTo>
                  <a:cubicBezTo>
                    <a:pt x="389" y="204"/>
                    <a:pt x="381" y="201"/>
                    <a:pt x="381" y="194"/>
                  </a:cubicBezTo>
                  <a:cubicBezTo>
                    <a:pt x="381" y="188"/>
                    <a:pt x="370" y="182"/>
                    <a:pt x="366" y="182"/>
                  </a:cubicBezTo>
                  <a:cubicBezTo>
                    <a:pt x="360" y="180"/>
                    <a:pt x="364" y="185"/>
                    <a:pt x="360" y="185"/>
                  </a:cubicBezTo>
                  <a:cubicBezTo>
                    <a:pt x="354" y="187"/>
                    <a:pt x="360" y="188"/>
                    <a:pt x="354" y="191"/>
                  </a:cubicBezTo>
                  <a:cubicBezTo>
                    <a:pt x="347" y="194"/>
                    <a:pt x="355" y="201"/>
                    <a:pt x="354" y="204"/>
                  </a:cubicBezTo>
                  <a:cubicBezTo>
                    <a:pt x="352" y="208"/>
                    <a:pt x="352" y="212"/>
                    <a:pt x="361" y="215"/>
                  </a:cubicBezTo>
                  <a:cubicBezTo>
                    <a:pt x="370" y="218"/>
                    <a:pt x="373" y="222"/>
                    <a:pt x="369" y="226"/>
                  </a:cubicBezTo>
                  <a:cubicBezTo>
                    <a:pt x="364" y="227"/>
                    <a:pt x="367" y="230"/>
                    <a:pt x="372" y="229"/>
                  </a:cubicBezTo>
                  <a:cubicBezTo>
                    <a:pt x="376" y="226"/>
                    <a:pt x="376" y="230"/>
                    <a:pt x="370" y="236"/>
                  </a:cubicBezTo>
                  <a:cubicBezTo>
                    <a:pt x="363" y="241"/>
                    <a:pt x="363" y="235"/>
                    <a:pt x="361" y="240"/>
                  </a:cubicBezTo>
                  <a:cubicBezTo>
                    <a:pt x="358" y="244"/>
                    <a:pt x="367" y="255"/>
                    <a:pt x="360" y="250"/>
                  </a:cubicBezTo>
                  <a:cubicBezTo>
                    <a:pt x="354" y="246"/>
                    <a:pt x="354" y="246"/>
                    <a:pt x="355" y="241"/>
                  </a:cubicBezTo>
                  <a:cubicBezTo>
                    <a:pt x="357" y="238"/>
                    <a:pt x="357" y="235"/>
                    <a:pt x="352" y="235"/>
                  </a:cubicBezTo>
                  <a:cubicBezTo>
                    <a:pt x="346" y="236"/>
                    <a:pt x="344" y="230"/>
                    <a:pt x="338" y="233"/>
                  </a:cubicBezTo>
                  <a:cubicBezTo>
                    <a:pt x="332" y="236"/>
                    <a:pt x="340" y="241"/>
                    <a:pt x="334" y="243"/>
                  </a:cubicBezTo>
                  <a:cubicBezTo>
                    <a:pt x="329" y="244"/>
                    <a:pt x="331" y="240"/>
                    <a:pt x="319" y="243"/>
                  </a:cubicBezTo>
                  <a:cubicBezTo>
                    <a:pt x="302" y="246"/>
                    <a:pt x="300" y="236"/>
                    <a:pt x="296" y="238"/>
                  </a:cubicBezTo>
                  <a:cubicBezTo>
                    <a:pt x="285" y="243"/>
                    <a:pt x="282" y="226"/>
                    <a:pt x="274" y="227"/>
                  </a:cubicBezTo>
                  <a:cubicBezTo>
                    <a:pt x="268" y="227"/>
                    <a:pt x="253" y="230"/>
                    <a:pt x="256" y="236"/>
                  </a:cubicBezTo>
                  <a:cubicBezTo>
                    <a:pt x="259" y="241"/>
                    <a:pt x="268" y="232"/>
                    <a:pt x="271" y="235"/>
                  </a:cubicBezTo>
                  <a:cubicBezTo>
                    <a:pt x="276" y="236"/>
                    <a:pt x="264" y="236"/>
                    <a:pt x="262" y="241"/>
                  </a:cubicBezTo>
                  <a:cubicBezTo>
                    <a:pt x="261" y="246"/>
                    <a:pt x="273" y="258"/>
                    <a:pt x="261" y="249"/>
                  </a:cubicBezTo>
                  <a:cubicBezTo>
                    <a:pt x="249" y="241"/>
                    <a:pt x="250" y="246"/>
                    <a:pt x="245" y="241"/>
                  </a:cubicBezTo>
                  <a:cubicBezTo>
                    <a:pt x="241" y="235"/>
                    <a:pt x="245" y="243"/>
                    <a:pt x="230" y="243"/>
                  </a:cubicBezTo>
                  <a:cubicBezTo>
                    <a:pt x="217" y="244"/>
                    <a:pt x="198" y="243"/>
                    <a:pt x="204" y="238"/>
                  </a:cubicBezTo>
                  <a:cubicBezTo>
                    <a:pt x="210" y="233"/>
                    <a:pt x="218" y="238"/>
                    <a:pt x="212" y="233"/>
                  </a:cubicBezTo>
                  <a:cubicBezTo>
                    <a:pt x="207" y="229"/>
                    <a:pt x="204" y="224"/>
                    <a:pt x="195" y="226"/>
                  </a:cubicBezTo>
                  <a:cubicBezTo>
                    <a:pt x="186" y="227"/>
                    <a:pt x="177" y="222"/>
                    <a:pt x="169" y="221"/>
                  </a:cubicBezTo>
                  <a:cubicBezTo>
                    <a:pt x="160" y="218"/>
                    <a:pt x="154" y="212"/>
                    <a:pt x="147" y="213"/>
                  </a:cubicBezTo>
                  <a:cubicBezTo>
                    <a:pt x="137" y="213"/>
                    <a:pt x="143" y="221"/>
                    <a:pt x="136" y="219"/>
                  </a:cubicBezTo>
                  <a:cubicBezTo>
                    <a:pt x="128" y="218"/>
                    <a:pt x="137" y="207"/>
                    <a:pt x="127" y="208"/>
                  </a:cubicBezTo>
                  <a:cubicBezTo>
                    <a:pt x="122" y="210"/>
                    <a:pt x="128" y="224"/>
                    <a:pt x="118" y="218"/>
                  </a:cubicBezTo>
                  <a:cubicBezTo>
                    <a:pt x="112" y="215"/>
                    <a:pt x="108" y="198"/>
                    <a:pt x="102" y="202"/>
                  </a:cubicBezTo>
                  <a:cubicBezTo>
                    <a:pt x="95" y="208"/>
                    <a:pt x="112" y="204"/>
                    <a:pt x="99" y="212"/>
                  </a:cubicBezTo>
                  <a:cubicBezTo>
                    <a:pt x="90" y="216"/>
                    <a:pt x="101" y="208"/>
                    <a:pt x="86" y="215"/>
                  </a:cubicBezTo>
                  <a:cubicBezTo>
                    <a:pt x="69" y="221"/>
                    <a:pt x="77" y="216"/>
                    <a:pt x="86" y="212"/>
                  </a:cubicBezTo>
                  <a:cubicBezTo>
                    <a:pt x="95" y="207"/>
                    <a:pt x="93" y="207"/>
                    <a:pt x="89" y="208"/>
                  </a:cubicBezTo>
                  <a:cubicBezTo>
                    <a:pt x="83" y="210"/>
                    <a:pt x="84" y="205"/>
                    <a:pt x="75" y="212"/>
                  </a:cubicBezTo>
                  <a:cubicBezTo>
                    <a:pt x="67" y="216"/>
                    <a:pt x="72" y="210"/>
                    <a:pt x="63" y="218"/>
                  </a:cubicBezTo>
                  <a:cubicBezTo>
                    <a:pt x="54" y="224"/>
                    <a:pt x="49" y="224"/>
                    <a:pt x="52" y="227"/>
                  </a:cubicBezTo>
                  <a:cubicBezTo>
                    <a:pt x="54" y="230"/>
                    <a:pt x="48" y="226"/>
                    <a:pt x="43" y="229"/>
                  </a:cubicBezTo>
                  <a:cubicBezTo>
                    <a:pt x="38" y="230"/>
                    <a:pt x="42" y="226"/>
                    <a:pt x="32" y="226"/>
                  </a:cubicBezTo>
                  <a:cubicBezTo>
                    <a:pt x="22" y="226"/>
                    <a:pt x="14" y="215"/>
                    <a:pt x="0" y="216"/>
                  </a:cubicBezTo>
                  <a:cubicBezTo>
                    <a:pt x="0" y="344"/>
                    <a:pt x="0" y="344"/>
                    <a:pt x="0" y="344"/>
                  </a:cubicBezTo>
                  <a:cubicBezTo>
                    <a:pt x="6" y="347"/>
                    <a:pt x="3" y="342"/>
                    <a:pt x="5" y="344"/>
                  </a:cubicBezTo>
                  <a:cubicBezTo>
                    <a:pt x="8" y="345"/>
                    <a:pt x="8" y="345"/>
                    <a:pt x="10" y="345"/>
                  </a:cubicBezTo>
                  <a:cubicBezTo>
                    <a:pt x="11" y="344"/>
                    <a:pt x="16" y="342"/>
                    <a:pt x="16" y="345"/>
                  </a:cubicBezTo>
                  <a:cubicBezTo>
                    <a:pt x="14" y="347"/>
                    <a:pt x="13" y="347"/>
                    <a:pt x="16" y="348"/>
                  </a:cubicBezTo>
                  <a:cubicBezTo>
                    <a:pt x="20" y="350"/>
                    <a:pt x="16" y="351"/>
                    <a:pt x="23" y="355"/>
                  </a:cubicBezTo>
                  <a:cubicBezTo>
                    <a:pt x="29" y="359"/>
                    <a:pt x="26" y="361"/>
                    <a:pt x="28" y="361"/>
                  </a:cubicBezTo>
                  <a:cubicBezTo>
                    <a:pt x="29" y="362"/>
                    <a:pt x="29" y="359"/>
                    <a:pt x="34" y="359"/>
                  </a:cubicBezTo>
                  <a:cubicBezTo>
                    <a:pt x="38" y="358"/>
                    <a:pt x="34" y="356"/>
                    <a:pt x="37" y="355"/>
                  </a:cubicBezTo>
                  <a:cubicBezTo>
                    <a:pt x="40" y="355"/>
                    <a:pt x="35" y="353"/>
                    <a:pt x="38" y="353"/>
                  </a:cubicBezTo>
                  <a:cubicBezTo>
                    <a:pt x="45" y="350"/>
                    <a:pt x="45" y="350"/>
                    <a:pt x="46" y="353"/>
                  </a:cubicBezTo>
                  <a:cubicBezTo>
                    <a:pt x="49" y="356"/>
                    <a:pt x="46" y="355"/>
                    <a:pt x="48" y="356"/>
                  </a:cubicBezTo>
                  <a:cubicBezTo>
                    <a:pt x="49" y="359"/>
                    <a:pt x="51" y="358"/>
                    <a:pt x="52" y="361"/>
                  </a:cubicBezTo>
                  <a:cubicBezTo>
                    <a:pt x="54" y="365"/>
                    <a:pt x="57" y="362"/>
                    <a:pt x="58" y="367"/>
                  </a:cubicBezTo>
                  <a:cubicBezTo>
                    <a:pt x="61" y="370"/>
                    <a:pt x="67" y="381"/>
                    <a:pt x="69" y="383"/>
                  </a:cubicBezTo>
                  <a:cubicBezTo>
                    <a:pt x="70" y="386"/>
                    <a:pt x="67" y="386"/>
                    <a:pt x="70" y="386"/>
                  </a:cubicBezTo>
                  <a:cubicBezTo>
                    <a:pt x="72" y="386"/>
                    <a:pt x="69" y="389"/>
                    <a:pt x="72" y="389"/>
                  </a:cubicBezTo>
                  <a:cubicBezTo>
                    <a:pt x="73" y="389"/>
                    <a:pt x="70" y="392"/>
                    <a:pt x="73" y="392"/>
                  </a:cubicBezTo>
                  <a:cubicBezTo>
                    <a:pt x="77" y="390"/>
                    <a:pt x="75" y="393"/>
                    <a:pt x="81" y="395"/>
                  </a:cubicBezTo>
                  <a:cubicBezTo>
                    <a:pt x="86" y="397"/>
                    <a:pt x="83" y="398"/>
                    <a:pt x="86" y="398"/>
                  </a:cubicBezTo>
                  <a:cubicBezTo>
                    <a:pt x="87" y="398"/>
                    <a:pt x="87" y="400"/>
                    <a:pt x="87" y="400"/>
                  </a:cubicBezTo>
                  <a:cubicBezTo>
                    <a:pt x="86" y="404"/>
                    <a:pt x="89" y="407"/>
                    <a:pt x="87" y="411"/>
                  </a:cubicBezTo>
                  <a:cubicBezTo>
                    <a:pt x="84" y="412"/>
                    <a:pt x="87" y="414"/>
                    <a:pt x="86" y="415"/>
                  </a:cubicBezTo>
                  <a:cubicBezTo>
                    <a:pt x="81" y="420"/>
                    <a:pt x="84" y="420"/>
                    <a:pt x="86" y="421"/>
                  </a:cubicBezTo>
                  <a:cubicBezTo>
                    <a:pt x="86" y="425"/>
                    <a:pt x="89" y="428"/>
                    <a:pt x="92" y="431"/>
                  </a:cubicBezTo>
                  <a:cubicBezTo>
                    <a:pt x="93" y="434"/>
                    <a:pt x="90" y="426"/>
                    <a:pt x="98" y="426"/>
                  </a:cubicBezTo>
                  <a:cubicBezTo>
                    <a:pt x="102" y="425"/>
                    <a:pt x="93" y="428"/>
                    <a:pt x="96" y="432"/>
                  </a:cubicBezTo>
                  <a:cubicBezTo>
                    <a:pt x="98" y="435"/>
                    <a:pt x="98" y="432"/>
                    <a:pt x="98" y="437"/>
                  </a:cubicBezTo>
                  <a:cubicBezTo>
                    <a:pt x="99" y="442"/>
                    <a:pt x="104" y="434"/>
                    <a:pt x="101" y="440"/>
                  </a:cubicBezTo>
                  <a:cubicBezTo>
                    <a:pt x="99" y="446"/>
                    <a:pt x="99" y="448"/>
                    <a:pt x="101" y="446"/>
                  </a:cubicBezTo>
                  <a:cubicBezTo>
                    <a:pt x="101" y="446"/>
                    <a:pt x="99" y="449"/>
                    <a:pt x="102" y="451"/>
                  </a:cubicBezTo>
                  <a:cubicBezTo>
                    <a:pt x="104" y="451"/>
                    <a:pt x="102" y="446"/>
                    <a:pt x="105" y="445"/>
                  </a:cubicBezTo>
                  <a:cubicBezTo>
                    <a:pt x="107" y="445"/>
                    <a:pt x="108" y="442"/>
                    <a:pt x="108" y="443"/>
                  </a:cubicBezTo>
                  <a:cubicBezTo>
                    <a:pt x="110" y="445"/>
                    <a:pt x="113" y="443"/>
                    <a:pt x="113" y="445"/>
                  </a:cubicBezTo>
                  <a:cubicBezTo>
                    <a:pt x="112" y="448"/>
                    <a:pt x="112" y="443"/>
                    <a:pt x="107" y="446"/>
                  </a:cubicBezTo>
                  <a:cubicBezTo>
                    <a:pt x="102" y="449"/>
                    <a:pt x="104" y="449"/>
                    <a:pt x="104" y="452"/>
                  </a:cubicBezTo>
                  <a:cubicBezTo>
                    <a:pt x="104" y="456"/>
                    <a:pt x="107" y="454"/>
                    <a:pt x="105" y="456"/>
                  </a:cubicBezTo>
                  <a:cubicBezTo>
                    <a:pt x="104" y="457"/>
                    <a:pt x="107" y="457"/>
                    <a:pt x="105" y="457"/>
                  </a:cubicBezTo>
                  <a:cubicBezTo>
                    <a:pt x="102" y="459"/>
                    <a:pt x="105" y="460"/>
                    <a:pt x="108" y="462"/>
                  </a:cubicBezTo>
                  <a:cubicBezTo>
                    <a:pt x="112" y="463"/>
                    <a:pt x="112" y="460"/>
                    <a:pt x="115" y="462"/>
                  </a:cubicBezTo>
                  <a:cubicBezTo>
                    <a:pt x="118" y="462"/>
                    <a:pt x="113" y="463"/>
                    <a:pt x="116" y="463"/>
                  </a:cubicBezTo>
                  <a:cubicBezTo>
                    <a:pt x="121" y="462"/>
                    <a:pt x="115" y="468"/>
                    <a:pt x="119" y="466"/>
                  </a:cubicBezTo>
                  <a:cubicBezTo>
                    <a:pt x="121" y="466"/>
                    <a:pt x="119" y="468"/>
                    <a:pt x="122" y="466"/>
                  </a:cubicBezTo>
                  <a:cubicBezTo>
                    <a:pt x="125" y="466"/>
                    <a:pt x="127" y="470"/>
                    <a:pt x="128" y="468"/>
                  </a:cubicBezTo>
                  <a:cubicBezTo>
                    <a:pt x="130" y="466"/>
                    <a:pt x="131" y="471"/>
                    <a:pt x="128" y="471"/>
                  </a:cubicBezTo>
                  <a:cubicBezTo>
                    <a:pt x="127" y="473"/>
                    <a:pt x="131" y="476"/>
                    <a:pt x="133" y="476"/>
                  </a:cubicBezTo>
                  <a:cubicBezTo>
                    <a:pt x="136" y="474"/>
                    <a:pt x="136" y="471"/>
                    <a:pt x="136" y="474"/>
                  </a:cubicBezTo>
                  <a:cubicBezTo>
                    <a:pt x="136" y="477"/>
                    <a:pt x="137" y="476"/>
                    <a:pt x="137" y="477"/>
                  </a:cubicBezTo>
                  <a:cubicBezTo>
                    <a:pt x="136" y="479"/>
                    <a:pt x="136" y="474"/>
                    <a:pt x="134" y="476"/>
                  </a:cubicBezTo>
                  <a:cubicBezTo>
                    <a:pt x="133" y="477"/>
                    <a:pt x="139" y="480"/>
                    <a:pt x="139" y="479"/>
                  </a:cubicBezTo>
                  <a:cubicBezTo>
                    <a:pt x="139" y="477"/>
                    <a:pt x="140" y="476"/>
                    <a:pt x="140" y="479"/>
                  </a:cubicBezTo>
                  <a:cubicBezTo>
                    <a:pt x="140" y="480"/>
                    <a:pt x="142" y="482"/>
                    <a:pt x="142" y="484"/>
                  </a:cubicBezTo>
                  <a:cubicBezTo>
                    <a:pt x="140" y="485"/>
                    <a:pt x="142" y="485"/>
                    <a:pt x="143" y="484"/>
                  </a:cubicBezTo>
                  <a:cubicBezTo>
                    <a:pt x="143" y="482"/>
                    <a:pt x="143" y="484"/>
                    <a:pt x="143" y="485"/>
                  </a:cubicBezTo>
                  <a:cubicBezTo>
                    <a:pt x="363" y="485"/>
                    <a:pt x="363" y="485"/>
                    <a:pt x="363" y="485"/>
                  </a:cubicBezTo>
                  <a:close/>
                  <a:moveTo>
                    <a:pt x="484" y="328"/>
                  </a:moveTo>
                  <a:cubicBezTo>
                    <a:pt x="488" y="327"/>
                    <a:pt x="491" y="316"/>
                    <a:pt x="484" y="317"/>
                  </a:cubicBezTo>
                  <a:cubicBezTo>
                    <a:pt x="478" y="319"/>
                    <a:pt x="483" y="328"/>
                    <a:pt x="484" y="328"/>
                  </a:cubicBezTo>
                  <a:close/>
                  <a:moveTo>
                    <a:pt x="600" y="325"/>
                  </a:moveTo>
                  <a:cubicBezTo>
                    <a:pt x="603" y="325"/>
                    <a:pt x="606" y="327"/>
                    <a:pt x="605" y="330"/>
                  </a:cubicBezTo>
                  <a:cubicBezTo>
                    <a:pt x="603" y="333"/>
                    <a:pt x="596" y="327"/>
                    <a:pt x="600" y="325"/>
                  </a:cubicBezTo>
                  <a:close/>
                  <a:moveTo>
                    <a:pt x="431" y="235"/>
                  </a:moveTo>
                  <a:cubicBezTo>
                    <a:pt x="431" y="233"/>
                    <a:pt x="425" y="236"/>
                    <a:pt x="428" y="241"/>
                  </a:cubicBezTo>
                  <a:cubicBezTo>
                    <a:pt x="433" y="247"/>
                    <a:pt x="433" y="236"/>
                    <a:pt x="431" y="235"/>
                  </a:cubicBezTo>
                  <a:close/>
                  <a:moveTo>
                    <a:pt x="372" y="96"/>
                  </a:moveTo>
                  <a:cubicBezTo>
                    <a:pt x="383" y="96"/>
                    <a:pt x="379" y="92"/>
                    <a:pt x="370" y="92"/>
                  </a:cubicBezTo>
                  <a:cubicBezTo>
                    <a:pt x="360" y="90"/>
                    <a:pt x="354" y="92"/>
                    <a:pt x="354" y="95"/>
                  </a:cubicBezTo>
                  <a:cubicBezTo>
                    <a:pt x="354" y="98"/>
                    <a:pt x="361" y="96"/>
                    <a:pt x="372" y="96"/>
                  </a:cubicBezTo>
                  <a:close/>
                  <a:moveTo>
                    <a:pt x="296" y="132"/>
                  </a:moveTo>
                  <a:cubicBezTo>
                    <a:pt x="294" y="129"/>
                    <a:pt x="287" y="126"/>
                    <a:pt x="287" y="132"/>
                  </a:cubicBezTo>
                  <a:cubicBezTo>
                    <a:pt x="287" y="137"/>
                    <a:pt x="297" y="135"/>
                    <a:pt x="296" y="132"/>
                  </a:cubicBezTo>
                  <a:close/>
                  <a:moveTo>
                    <a:pt x="183" y="120"/>
                  </a:moveTo>
                  <a:cubicBezTo>
                    <a:pt x="177" y="121"/>
                    <a:pt x="166" y="126"/>
                    <a:pt x="175" y="128"/>
                  </a:cubicBezTo>
                  <a:cubicBezTo>
                    <a:pt x="182" y="128"/>
                    <a:pt x="188" y="117"/>
                    <a:pt x="183" y="120"/>
                  </a:cubicBezTo>
                  <a:close/>
                  <a:moveTo>
                    <a:pt x="207" y="107"/>
                  </a:moveTo>
                  <a:cubicBezTo>
                    <a:pt x="209" y="104"/>
                    <a:pt x="221" y="106"/>
                    <a:pt x="218" y="107"/>
                  </a:cubicBezTo>
                  <a:cubicBezTo>
                    <a:pt x="215" y="109"/>
                    <a:pt x="206" y="109"/>
                    <a:pt x="207" y="107"/>
                  </a:cubicBezTo>
                  <a:close/>
                  <a:moveTo>
                    <a:pt x="213" y="89"/>
                  </a:moveTo>
                  <a:cubicBezTo>
                    <a:pt x="210" y="86"/>
                    <a:pt x="207" y="87"/>
                    <a:pt x="206" y="89"/>
                  </a:cubicBezTo>
                  <a:cubicBezTo>
                    <a:pt x="204" y="89"/>
                    <a:pt x="209" y="92"/>
                    <a:pt x="215" y="92"/>
                  </a:cubicBezTo>
                  <a:cubicBezTo>
                    <a:pt x="218" y="92"/>
                    <a:pt x="218" y="92"/>
                    <a:pt x="213" y="89"/>
                  </a:cubicBezTo>
                  <a:close/>
                  <a:moveTo>
                    <a:pt x="290" y="114"/>
                  </a:moveTo>
                  <a:cubicBezTo>
                    <a:pt x="293" y="117"/>
                    <a:pt x="306" y="112"/>
                    <a:pt x="300" y="112"/>
                  </a:cubicBezTo>
                  <a:cubicBezTo>
                    <a:pt x="294" y="111"/>
                    <a:pt x="296" y="106"/>
                    <a:pt x="290" y="109"/>
                  </a:cubicBezTo>
                  <a:cubicBezTo>
                    <a:pt x="288" y="111"/>
                    <a:pt x="287" y="111"/>
                    <a:pt x="290" y="114"/>
                  </a:cubicBezTo>
                  <a:close/>
                  <a:moveTo>
                    <a:pt x="290" y="118"/>
                  </a:moveTo>
                  <a:cubicBezTo>
                    <a:pt x="288" y="117"/>
                    <a:pt x="302" y="114"/>
                    <a:pt x="305" y="115"/>
                  </a:cubicBezTo>
                  <a:cubicBezTo>
                    <a:pt x="306" y="117"/>
                    <a:pt x="293" y="120"/>
                    <a:pt x="290" y="118"/>
                  </a:cubicBezTo>
                  <a:close/>
                  <a:moveTo>
                    <a:pt x="296" y="121"/>
                  </a:moveTo>
                  <a:cubicBezTo>
                    <a:pt x="293" y="120"/>
                    <a:pt x="303" y="118"/>
                    <a:pt x="305" y="118"/>
                  </a:cubicBezTo>
                  <a:cubicBezTo>
                    <a:pt x="308" y="120"/>
                    <a:pt x="297" y="123"/>
                    <a:pt x="296" y="121"/>
                  </a:cubicBezTo>
                  <a:close/>
                  <a:moveTo>
                    <a:pt x="299" y="125"/>
                  </a:moveTo>
                  <a:cubicBezTo>
                    <a:pt x="297" y="123"/>
                    <a:pt x="306" y="120"/>
                    <a:pt x="308" y="120"/>
                  </a:cubicBezTo>
                  <a:cubicBezTo>
                    <a:pt x="309" y="120"/>
                    <a:pt x="302" y="125"/>
                    <a:pt x="299" y="125"/>
                  </a:cubicBezTo>
                  <a:close/>
                  <a:moveTo>
                    <a:pt x="433" y="73"/>
                  </a:moveTo>
                  <a:cubicBezTo>
                    <a:pt x="436" y="70"/>
                    <a:pt x="443" y="68"/>
                    <a:pt x="443" y="72"/>
                  </a:cubicBezTo>
                  <a:cubicBezTo>
                    <a:pt x="442" y="73"/>
                    <a:pt x="430" y="75"/>
                    <a:pt x="433" y="73"/>
                  </a:cubicBezTo>
                  <a:close/>
                  <a:moveTo>
                    <a:pt x="471" y="437"/>
                  </a:moveTo>
                  <a:cubicBezTo>
                    <a:pt x="474" y="438"/>
                    <a:pt x="477" y="440"/>
                    <a:pt x="478" y="440"/>
                  </a:cubicBezTo>
                  <a:cubicBezTo>
                    <a:pt x="480" y="438"/>
                    <a:pt x="475" y="435"/>
                    <a:pt x="475" y="434"/>
                  </a:cubicBezTo>
                  <a:cubicBezTo>
                    <a:pt x="474" y="432"/>
                    <a:pt x="469" y="432"/>
                    <a:pt x="468" y="435"/>
                  </a:cubicBezTo>
                  <a:cubicBezTo>
                    <a:pt x="466" y="435"/>
                    <a:pt x="468" y="435"/>
                    <a:pt x="471" y="437"/>
                  </a:cubicBezTo>
                  <a:close/>
                  <a:moveTo>
                    <a:pt x="486" y="400"/>
                  </a:moveTo>
                  <a:cubicBezTo>
                    <a:pt x="486" y="398"/>
                    <a:pt x="488" y="397"/>
                    <a:pt x="486" y="400"/>
                  </a:cubicBezTo>
                  <a:cubicBezTo>
                    <a:pt x="484" y="403"/>
                    <a:pt x="484" y="401"/>
                    <a:pt x="486" y="401"/>
                  </a:cubicBezTo>
                  <a:cubicBezTo>
                    <a:pt x="488" y="401"/>
                    <a:pt x="489" y="397"/>
                    <a:pt x="489" y="397"/>
                  </a:cubicBezTo>
                  <a:cubicBezTo>
                    <a:pt x="491" y="397"/>
                    <a:pt x="488" y="401"/>
                    <a:pt x="489" y="401"/>
                  </a:cubicBezTo>
                  <a:cubicBezTo>
                    <a:pt x="491" y="401"/>
                    <a:pt x="491" y="400"/>
                    <a:pt x="491" y="397"/>
                  </a:cubicBezTo>
                  <a:cubicBezTo>
                    <a:pt x="492" y="393"/>
                    <a:pt x="492" y="395"/>
                    <a:pt x="491" y="393"/>
                  </a:cubicBezTo>
                  <a:cubicBezTo>
                    <a:pt x="489" y="392"/>
                    <a:pt x="489" y="392"/>
                    <a:pt x="489" y="393"/>
                  </a:cubicBezTo>
                  <a:cubicBezTo>
                    <a:pt x="488" y="395"/>
                    <a:pt x="488" y="397"/>
                    <a:pt x="488" y="395"/>
                  </a:cubicBezTo>
                  <a:cubicBezTo>
                    <a:pt x="488" y="393"/>
                    <a:pt x="488" y="392"/>
                    <a:pt x="488" y="393"/>
                  </a:cubicBezTo>
                  <a:cubicBezTo>
                    <a:pt x="486" y="393"/>
                    <a:pt x="488" y="393"/>
                    <a:pt x="488" y="395"/>
                  </a:cubicBezTo>
                  <a:cubicBezTo>
                    <a:pt x="486" y="397"/>
                    <a:pt x="486" y="397"/>
                    <a:pt x="484" y="398"/>
                  </a:cubicBezTo>
                  <a:cubicBezTo>
                    <a:pt x="483" y="400"/>
                    <a:pt x="483" y="400"/>
                    <a:pt x="483" y="401"/>
                  </a:cubicBezTo>
                  <a:cubicBezTo>
                    <a:pt x="484" y="403"/>
                    <a:pt x="484" y="401"/>
                    <a:pt x="486" y="400"/>
                  </a:cubicBezTo>
                  <a:close/>
                  <a:moveTo>
                    <a:pt x="494" y="398"/>
                  </a:moveTo>
                  <a:cubicBezTo>
                    <a:pt x="494" y="397"/>
                    <a:pt x="494" y="393"/>
                    <a:pt x="494" y="393"/>
                  </a:cubicBezTo>
                  <a:cubicBezTo>
                    <a:pt x="492" y="393"/>
                    <a:pt x="492" y="395"/>
                    <a:pt x="492" y="398"/>
                  </a:cubicBezTo>
                  <a:cubicBezTo>
                    <a:pt x="491" y="398"/>
                    <a:pt x="492" y="398"/>
                    <a:pt x="494" y="398"/>
                  </a:cubicBezTo>
                  <a:close/>
                  <a:moveTo>
                    <a:pt x="484" y="397"/>
                  </a:moveTo>
                  <a:cubicBezTo>
                    <a:pt x="486" y="395"/>
                    <a:pt x="486" y="393"/>
                    <a:pt x="486" y="393"/>
                  </a:cubicBezTo>
                  <a:cubicBezTo>
                    <a:pt x="484" y="395"/>
                    <a:pt x="483" y="395"/>
                    <a:pt x="483" y="397"/>
                  </a:cubicBezTo>
                  <a:cubicBezTo>
                    <a:pt x="481" y="398"/>
                    <a:pt x="483" y="398"/>
                    <a:pt x="484" y="397"/>
                  </a:cubicBezTo>
                  <a:close/>
                  <a:moveTo>
                    <a:pt x="577" y="345"/>
                  </a:moveTo>
                  <a:cubicBezTo>
                    <a:pt x="574" y="345"/>
                    <a:pt x="577" y="339"/>
                    <a:pt x="579" y="341"/>
                  </a:cubicBezTo>
                  <a:cubicBezTo>
                    <a:pt x="582" y="342"/>
                    <a:pt x="579" y="345"/>
                    <a:pt x="577" y="345"/>
                  </a:cubicBezTo>
                  <a:close/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06" name="Freeform 270">
              <a:extLst>
                <a:ext uri="{FF2B5EF4-FFF2-40B4-BE49-F238E27FC236}">
                  <a16:creationId xmlns:a16="http://schemas.microsoft.com/office/drawing/2014/main" id="{F273606F-F416-2D41-235E-79CEB75308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86111" y="3539645"/>
              <a:ext cx="23941" cy="11332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6" y="2"/>
                </a:cxn>
                <a:cxn ang="0">
                  <a:pos x="0" y="2"/>
                </a:cxn>
              </a:cxnLst>
              <a:rect l="0" t="0" r="r" b="b"/>
              <a:pathLst>
                <a:path w="8" h="4">
                  <a:moveTo>
                    <a:pt x="0" y="2"/>
                  </a:moveTo>
                  <a:cubicBezTo>
                    <a:pt x="2" y="0"/>
                    <a:pt x="8" y="2"/>
                    <a:pt x="6" y="2"/>
                  </a:cubicBezTo>
                  <a:cubicBezTo>
                    <a:pt x="5" y="4"/>
                    <a:pt x="0" y="4"/>
                    <a:pt x="0" y="2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07" name="Freeform 271">
              <a:extLst>
                <a:ext uri="{FF2B5EF4-FFF2-40B4-BE49-F238E27FC236}">
                  <a16:creationId xmlns:a16="http://schemas.microsoft.com/office/drawing/2014/main" id="{869F5770-8BB0-D2FF-9CAB-97AE1FB76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49402" y="3510504"/>
              <a:ext cx="14364" cy="971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3" y="2"/>
                </a:cxn>
                <a:cxn ang="0">
                  <a:pos x="0" y="2"/>
                </a:cxn>
              </a:cxnLst>
              <a:rect l="0" t="0" r="r" b="b"/>
              <a:pathLst>
                <a:path w="5" h="3">
                  <a:moveTo>
                    <a:pt x="0" y="2"/>
                  </a:moveTo>
                  <a:cubicBezTo>
                    <a:pt x="0" y="0"/>
                    <a:pt x="5" y="0"/>
                    <a:pt x="3" y="2"/>
                  </a:cubicBezTo>
                  <a:cubicBezTo>
                    <a:pt x="3" y="3"/>
                    <a:pt x="0" y="2"/>
                    <a:pt x="0" y="2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08" name="Freeform 272">
              <a:extLst>
                <a:ext uri="{FF2B5EF4-FFF2-40B4-BE49-F238E27FC236}">
                  <a16:creationId xmlns:a16="http://schemas.microsoft.com/office/drawing/2014/main" id="{28618D3E-561E-BB39-489F-2F41AB377C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20673" y="3513741"/>
              <a:ext cx="19152" cy="12952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4" y="4"/>
                </a:cxn>
                <a:cxn ang="0">
                  <a:pos x="0" y="2"/>
                </a:cxn>
              </a:cxnLst>
              <a:rect l="0" t="0" r="r" b="b"/>
              <a:pathLst>
                <a:path w="6" h="4">
                  <a:moveTo>
                    <a:pt x="0" y="2"/>
                  </a:moveTo>
                  <a:cubicBezTo>
                    <a:pt x="1" y="0"/>
                    <a:pt x="6" y="4"/>
                    <a:pt x="4" y="4"/>
                  </a:cubicBezTo>
                  <a:cubicBezTo>
                    <a:pt x="1" y="4"/>
                    <a:pt x="0" y="4"/>
                    <a:pt x="0" y="2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09" name="Freeform 289">
              <a:extLst>
                <a:ext uri="{FF2B5EF4-FFF2-40B4-BE49-F238E27FC236}">
                  <a16:creationId xmlns:a16="http://schemas.microsoft.com/office/drawing/2014/main" id="{7F50CB22-76F9-6458-8C11-BBA3781014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290763" y="2216971"/>
              <a:ext cx="2529738" cy="1978345"/>
            </a:xfrm>
            <a:custGeom>
              <a:avLst/>
              <a:gdLst/>
              <a:ahLst/>
              <a:cxnLst>
                <a:cxn ang="0">
                  <a:pos x="124" y="195"/>
                </a:cxn>
                <a:cxn ang="0">
                  <a:pos x="127" y="181"/>
                </a:cxn>
                <a:cxn ang="0">
                  <a:pos x="161" y="164"/>
                </a:cxn>
                <a:cxn ang="0">
                  <a:pos x="271" y="185"/>
                </a:cxn>
                <a:cxn ang="0">
                  <a:pos x="262" y="193"/>
                </a:cxn>
                <a:cxn ang="0">
                  <a:pos x="257" y="198"/>
                </a:cxn>
                <a:cxn ang="0">
                  <a:pos x="255" y="193"/>
                </a:cxn>
                <a:cxn ang="0">
                  <a:pos x="271" y="209"/>
                </a:cxn>
                <a:cxn ang="0">
                  <a:pos x="300" y="227"/>
                </a:cxn>
                <a:cxn ang="0">
                  <a:pos x="277" y="212"/>
                </a:cxn>
                <a:cxn ang="0">
                  <a:pos x="278" y="216"/>
                </a:cxn>
                <a:cxn ang="0">
                  <a:pos x="287" y="224"/>
                </a:cxn>
                <a:cxn ang="0">
                  <a:pos x="278" y="207"/>
                </a:cxn>
                <a:cxn ang="0">
                  <a:pos x="278" y="221"/>
                </a:cxn>
                <a:cxn ang="0">
                  <a:pos x="100" y="6"/>
                </a:cxn>
                <a:cxn ang="0">
                  <a:pos x="56" y="76"/>
                </a:cxn>
                <a:cxn ang="0">
                  <a:pos x="59" y="97"/>
                </a:cxn>
                <a:cxn ang="0">
                  <a:pos x="50" y="168"/>
                </a:cxn>
                <a:cxn ang="0">
                  <a:pos x="53" y="212"/>
                </a:cxn>
                <a:cxn ang="0">
                  <a:pos x="100" y="192"/>
                </a:cxn>
                <a:cxn ang="0">
                  <a:pos x="143" y="167"/>
                </a:cxn>
                <a:cxn ang="0">
                  <a:pos x="227" y="165"/>
                </a:cxn>
                <a:cxn ang="0">
                  <a:pos x="278" y="198"/>
                </a:cxn>
                <a:cxn ang="0">
                  <a:pos x="304" y="212"/>
                </a:cxn>
                <a:cxn ang="0">
                  <a:pos x="265" y="168"/>
                </a:cxn>
                <a:cxn ang="0">
                  <a:pos x="227" y="157"/>
                </a:cxn>
                <a:cxn ang="0">
                  <a:pos x="727" y="361"/>
                </a:cxn>
                <a:cxn ang="0">
                  <a:pos x="679" y="381"/>
                </a:cxn>
                <a:cxn ang="0">
                  <a:pos x="671" y="355"/>
                </a:cxn>
                <a:cxn ang="0">
                  <a:pos x="651" y="349"/>
                </a:cxn>
                <a:cxn ang="0">
                  <a:pos x="638" y="349"/>
                </a:cxn>
                <a:cxn ang="0">
                  <a:pos x="667" y="327"/>
                </a:cxn>
                <a:cxn ang="0">
                  <a:pos x="615" y="325"/>
                </a:cxn>
                <a:cxn ang="0">
                  <a:pos x="590" y="302"/>
                </a:cxn>
                <a:cxn ang="0">
                  <a:pos x="348" y="305"/>
                </a:cxn>
                <a:cxn ang="0">
                  <a:pos x="374" y="448"/>
                </a:cxn>
                <a:cxn ang="0">
                  <a:pos x="478" y="489"/>
                </a:cxn>
                <a:cxn ang="0">
                  <a:pos x="563" y="535"/>
                </a:cxn>
                <a:cxn ang="0">
                  <a:pos x="607" y="512"/>
                </a:cxn>
                <a:cxn ang="0">
                  <a:pos x="625" y="512"/>
                </a:cxn>
                <a:cxn ang="0">
                  <a:pos x="639" y="504"/>
                </a:cxn>
                <a:cxn ang="0">
                  <a:pos x="680" y="532"/>
                </a:cxn>
                <a:cxn ang="0">
                  <a:pos x="700" y="543"/>
                </a:cxn>
                <a:cxn ang="0">
                  <a:pos x="730" y="453"/>
                </a:cxn>
                <a:cxn ang="0">
                  <a:pos x="730" y="442"/>
                </a:cxn>
                <a:cxn ang="0">
                  <a:pos x="729" y="411"/>
                </a:cxn>
                <a:cxn ang="0">
                  <a:pos x="738" y="420"/>
                </a:cxn>
                <a:cxn ang="0">
                  <a:pos x="758" y="386"/>
                </a:cxn>
                <a:cxn ang="0">
                  <a:pos x="773" y="374"/>
                </a:cxn>
                <a:cxn ang="0">
                  <a:pos x="802" y="347"/>
                </a:cxn>
                <a:cxn ang="0">
                  <a:pos x="787" y="316"/>
                </a:cxn>
                <a:cxn ang="0">
                  <a:pos x="769" y="342"/>
                </a:cxn>
                <a:cxn ang="0">
                  <a:pos x="100" y="619"/>
                </a:cxn>
                <a:cxn ang="0">
                  <a:pos x="99" y="610"/>
                </a:cxn>
                <a:cxn ang="0">
                  <a:pos x="92" y="599"/>
                </a:cxn>
                <a:cxn ang="0">
                  <a:pos x="82" y="596"/>
                </a:cxn>
                <a:cxn ang="0">
                  <a:pos x="67" y="590"/>
                </a:cxn>
                <a:cxn ang="0">
                  <a:pos x="89" y="597"/>
                </a:cxn>
                <a:cxn ang="0">
                  <a:pos x="64" y="591"/>
                </a:cxn>
              </a:cxnLst>
              <a:rect l="0" t="0" r="r" b="b"/>
              <a:pathLst>
                <a:path w="817" h="630">
                  <a:moveTo>
                    <a:pt x="108" y="199"/>
                  </a:moveTo>
                  <a:cubicBezTo>
                    <a:pt x="108" y="196"/>
                    <a:pt x="105" y="195"/>
                    <a:pt x="108" y="192"/>
                  </a:cubicBezTo>
                  <a:cubicBezTo>
                    <a:pt x="112" y="190"/>
                    <a:pt x="114" y="193"/>
                    <a:pt x="114" y="190"/>
                  </a:cubicBezTo>
                  <a:cubicBezTo>
                    <a:pt x="114" y="188"/>
                    <a:pt x="114" y="187"/>
                    <a:pt x="115" y="188"/>
                  </a:cubicBezTo>
                  <a:cubicBezTo>
                    <a:pt x="117" y="190"/>
                    <a:pt x="120" y="188"/>
                    <a:pt x="118" y="187"/>
                  </a:cubicBezTo>
                  <a:cubicBezTo>
                    <a:pt x="118" y="185"/>
                    <a:pt x="120" y="187"/>
                    <a:pt x="121" y="187"/>
                  </a:cubicBezTo>
                  <a:cubicBezTo>
                    <a:pt x="123" y="188"/>
                    <a:pt x="124" y="187"/>
                    <a:pt x="124" y="188"/>
                  </a:cubicBezTo>
                  <a:cubicBezTo>
                    <a:pt x="126" y="190"/>
                    <a:pt x="124" y="190"/>
                    <a:pt x="126" y="190"/>
                  </a:cubicBezTo>
                  <a:cubicBezTo>
                    <a:pt x="127" y="192"/>
                    <a:pt x="126" y="193"/>
                    <a:pt x="124" y="195"/>
                  </a:cubicBezTo>
                  <a:cubicBezTo>
                    <a:pt x="123" y="196"/>
                    <a:pt x="123" y="196"/>
                    <a:pt x="120" y="196"/>
                  </a:cubicBezTo>
                  <a:cubicBezTo>
                    <a:pt x="117" y="196"/>
                    <a:pt x="115" y="198"/>
                    <a:pt x="115" y="199"/>
                  </a:cubicBezTo>
                  <a:cubicBezTo>
                    <a:pt x="115" y="201"/>
                    <a:pt x="115" y="199"/>
                    <a:pt x="114" y="201"/>
                  </a:cubicBezTo>
                  <a:cubicBezTo>
                    <a:pt x="112" y="202"/>
                    <a:pt x="111" y="202"/>
                    <a:pt x="112" y="201"/>
                  </a:cubicBezTo>
                  <a:cubicBezTo>
                    <a:pt x="115" y="198"/>
                    <a:pt x="111" y="199"/>
                    <a:pt x="111" y="199"/>
                  </a:cubicBezTo>
                  <a:cubicBezTo>
                    <a:pt x="111" y="201"/>
                    <a:pt x="109" y="201"/>
                    <a:pt x="108" y="199"/>
                  </a:cubicBezTo>
                  <a:close/>
                  <a:moveTo>
                    <a:pt x="123" y="185"/>
                  </a:moveTo>
                  <a:cubicBezTo>
                    <a:pt x="124" y="184"/>
                    <a:pt x="124" y="184"/>
                    <a:pt x="126" y="184"/>
                  </a:cubicBezTo>
                  <a:cubicBezTo>
                    <a:pt x="127" y="184"/>
                    <a:pt x="129" y="184"/>
                    <a:pt x="127" y="181"/>
                  </a:cubicBezTo>
                  <a:cubicBezTo>
                    <a:pt x="126" y="179"/>
                    <a:pt x="126" y="182"/>
                    <a:pt x="124" y="181"/>
                  </a:cubicBezTo>
                  <a:cubicBezTo>
                    <a:pt x="124" y="181"/>
                    <a:pt x="121" y="179"/>
                    <a:pt x="121" y="182"/>
                  </a:cubicBezTo>
                  <a:cubicBezTo>
                    <a:pt x="123" y="184"/>
                    <a:pt x="121" y="182"/>
                    <a:pt x="120" y="182"/>
                  </a:cubicBezTo>
                  <a:cubicBezTo>
                    <a:pt x="118" y="184"/>
                    <a:pt x="118" y="185"/>
                    <a:pt x="120" y="185"/>
                  </a:cubicBezTo>
                  <a:cubicBezTo>
                    <a:pt x="121" y="187"/>
                    <a:pt x="121" y="187"/>
                    <a:pt x="123" y="185"/>
                  </a:cubicBezTo>
                  <a:close/>
                  <a:moveTo>
                    <a:pt x="164" y="164"/>
                  </a:moveTo>
                  <a:cubicBezTo>
                    <a:pt x="166" y="162"/>
                    <a:pt x="164" y="162"/>
                    <a:pt x="167" y="159"/>
                  </a:cubicBezTo>
                  <a:cubicBezTo>
                    <a:pt x="169" y="156"/>
                    <a:pt x="167" y="156"/>
                    <a:pt x="166" y="157"/>
                  </a:cubicBezTo>
                  <a:cubicBezTo>
                    <a:pt x="166" y="159"/>
                    <a:pt x="163" y="160"/>
                    <a:pt x="161" y="164"/>
                  </a:cubicBezTo>
                  <a:cubicBezTo>
                    <a:pt x="159" y="164"/>
                    <a:pt x="163" y="164"/>
                    <a:pt x="164" y="164"/>
                  </a:cubicBezTo>
                  <a:close/>
                  <a:moveTo>
                    <a:pt x="173" y="156"/>
                  </a:moveTo>
                  <a:cubicBezTo>
                    <a:pt x="175" y="156"/>
                    <a:pt x="175" y="156"/>
                    <a:pt x="173" y="154"/>
                  </a:cubicBezTo>
                  <a:cubicBezTo>
                    <a:pt x="170" y="154"/>
                    <a:pt x="170" y="156"/>
                    <a:pt x="170" y="157"/>
                  </a:cubicBezTo>
                  <a:cubicBezTo>
                    <a:pt x="170" y="159"/>
                    <a:pt x="172" y="157"/>
                    <a:pt x="173" y="156"/>
                  </a:cubicBezTo>
                  <a:close/>
                  <a:moveTo>
                    <a:pt x="269" y="198"/>
                  </a:moveTo>
                  <a:cubicBezTo>
                    <a:pt x="272" y="196"/>
                    <a:pt x="269" y="195"/>
                    <a:pt x="272" y="195"/>
                  </a:cubicBezTo>
                  <a:cubicBezTo>
                    <a:pt x="274" y="195"/>
                    <a:pt x="271" y="192"/>
                    <a:pt x="272" y="192"/>
                  </a:cubicBezTo>
                  <a:cubicBezTo>
                    <a:pt x="274" y="192"/>
                    <a:pt x="272" y="187"/>
                    <a:pt x="271" y="185"/>
                  </a:cubicBezTo>
                  <a:cubicBezTo>
                    <a:pt x="269" y="182"/>
                    <a:pt x="268" y="185"/>
                    <a:pt x="266" y="182"/>
                  </a:cubicBezTo>
                  <a:cubicBezTo>
                    <a:pt x="263" y="181"/>
                    <a:pt x="265" y="182"/>
                    <a:pt x="265" y="185"/>
                  </a:cubicBezTo>
                  <a:cubicBezTo>
                    <a:pt x="266" y="188"/>
                    <a:pt x="266" y="190"/>
                    <a:pt x="268" y="193"/>
                  </a:cubicBezTo>
                  <a:cubicBezTo>
                    <a:pt x="269" y="196"/>
                    <a:pt x="266" y="193"/>
                    <a:pt x="266" y="198"/>
                  </a:cubicBezTo>
                  <a:cubicBezTo>
                    <a:pt x="266" y="199"/>
                    <a:pt x="268" y="198"/>
                    <a:pt x="269" y="198"/>
                  </a:cubicBezTo>
                  <a:close/>
                  <a:moveTo>
                    <a:pt x="265" y="207"/>
                  </a:moveTo>
                  <a:cubicBezTo>
                    <a:pt x="268" y="212"/>
                    <a:pt x="266" y="209"/>
                    <a:pt x="266" y="206"/>
                  </a:cubicBezTo>
                  <a:cubicBezTo>
                    <a:pt x="266" y="204"/>
                    <a:pt x="268" y="206"/>
                    <a:pt x="266" y="201"/>
                  </a:cubicBezTo>
                  <a:cubicBezTo>
                    <a:pt x="265" y="196"/>
                    <a:pt x="265" y="195"/>
                    <a:pt x="262" y="193"/>
                  </a:cubicBezTo>
                  <a:cubicBezTo>
                    <a:pt x="258" y="190"/>
                    <a:pt x="258" y="195"/>
                    <a:pt x="258" y="196"/>
                  </a:cubicBezTo>
                  <a:cubicBezTo>
                    <a:pt x="260" y="196"/>
                    <a:pt x="262" y="198"/>
                    <a:pt x="260" y="199"/>
                  </a:cubicBezTo>
                  <a:cubicBezTo>
                    <a:pt x="260" y="202"/>
                    <a:pt x="263" y="201"/>
                    <a:pt x="263" y="202"/>
                  </a:cubicBezTo>
                  <a:cubicBezTo>
                    <a:pt x="262" y="206"/>
                    <a:pt x="263" y="202"/>
                    <a:pt x="263" y="206"/>
                  </a:cubicBezTo>
                  <a:cubicBezTo>
                    <a:pt x="263" y="207"/>
                    <a:pt x="265" y="207"/>
                    <a:pt x="265" y="207"/>
                  </a:cubicBezTo>
                  <a:close/>
                  <a:moveTo>
                    <a:pt x="257" y="198"/>
                  </a:moveTo>
                  <a:cubicBezTo>
                    <a:pt x="257" y="198"/>
                    <a:pt x="257" y="199"/>
                    <a:pt x="258" y="199"/>
                  </a:cubicBezTo>
                  <a:cubicBezTo>
                    <a:pt x="258" y="198"/>
                    <a:pt x="257" y="193"/>
                    <a:pt x="257" y="195"/>
                  </a:cubicBezTo>
                  <a:cubicBezTo>
                    <a:pt x="257" y="195"/>
                    <a:pt x="257" y="196"/>
                    <a:pt x="257" y="198"/>
                  </a:cubicBezTo>
                  <a:close/>
                  <a:moveTo>
                    <a:pt x="258" y="190"/>
                  </a:moveTo>
                  <a:cubicBezTo>
                    <a:pt x="257" y="188"/>
                    <a:pt x="258" y="188"/>
                    <a:pt x="262" y="192"/>
                  </a:cubicBezTo>
                  <a:cubicBezTo>
                    <a:pt x="265" y="193"/>
                    <a:pt x="266" y="193"/>
                    <a:pt x="265" y="190"/>
                  </a:cubicBezTo>
                  <a:cubicBezTo>
                    <a:pt x="265" y="188"/>
                    <a:pt x="263" y="188"/>
                    <a:pt x="265" y="187"/>
                  </a:cubicBezTo>
                  <a:cubicBezTo>
                    <a:pt x="265" y="185"/>
                    <a:pt x="260" y="184"/>
                    <a:pt x="258" y="182"/>
                  </a:cubicBezTo>
                  <a:cubicBezTo>
                    <a:pt x="257" y="182"/>
                    <a:pt x="255" y="184"/>
                    <a:pt x="254" y="184"/>
                  </a:cubicBezTo>
                  <a:cubicBezTo>
                    <a:pt x="252" y="182"/>
                    <a:pt x="252" y="184"/>
                    <a:pt x="252" y="185"/>
                  </a:cubicBezTo>
                  <a:cubicBezTo>
                    <a:pt x="251" y="187"/>
                    <a:pt x="251" y="187"/>
                    <a:pt x="254" y="188"/>
                  </a:cubicBezTo>
                  <a:cubicBezTo>
                    <a:pt x="255" y="190"/>
                    <a:pt x="252" y="190"/>
                    <a:pt x="255" y="193"/>
                  </a:cubicBezTo>
                  <a:cubicBezTo>
                    <a:pt x="257" y="193"/>
                    <a:pt x="260" y="192"/>
                    <a:pt x="258" y="190"/>
                  </a:cubicBezTo>
                  <a:close/>
                  <a:moveTo>
                    <a:pt x="278" y="204"/>
                  </a:moveTo>
                  <a:cubicBezTo>
                    <a:pt x="280" y="202"/>
                    <a:pt x="280" y="201"/>
                    <a:pt x="280" y="199"/>
                  </a:cubicBezTo>
                  <a:cubicBezTo>
                    <a:pt x="278" y="198"/>
                    <a:pt x="278" y="199"/>
                    <a:pt x="275" y="198"/>
                  </a:cubicBezTo>
                  <a:cubicBezTo>
                    <a:pt x="274" y="198"/>
                    <a:pt x="272" y="198"/>
                    <a:pt x="272" y="199"/>
                  </a:cubicBezTo>
                  <a:cubicBezTo>
                    <a:pt x="272" y="202"/>
                    <a:pt x="275" y="199"/>
                    <a:pt x="275" y="202"/>
                  </a:cubicBezTo>
                  <a:cubicBezTo>
                    <a:pt x="274" y="207"/>
                    <a:pt x="275" y="206"/>
                    <a:pt x="278" y="206"/>
                  </a:cubicBezTo>
                  <a:cubicBezTo>
                    <a:pt x="280" y="207"/>
                    <a:pt x="278" y="204"/>
                    <a:pt x="278" y="204"/>
                  </a:cubicBezTo>
                  <a:close/>
                  <a:moveTo>
                    <a:pt x="271" y="209"/>
                  </a:moveTo>
                  <a:cubicBezTo>
                    <a:pt x="272" y="212"/>
                    <a:pt x="272" y="210"/>
                    <a:pt x="272" y="209"/>
                  </a:cubicBezTo>
                  <a:cubicBezTo>
                    <a:pt x="274" y="207"/>
                    <a:pt x="272" y="207"/>
                    <a:pt x="274" y="204"/>
                  </a:cubicBezTo>
                  <a:cubicBezTo>
                    <a:pt x="274" y="201"/>
                    <a:pt x="272" y="202"/>
                    <a:pt x="272" y="201"/>
                  </a:cubicBezTo>
                  <a:cubicBezTo>
                    <a:pt x="271" y="199"/>
                    <a:pt x="271" y="199"/>
                    <a:pt x="269" y="199"/>
                  </a:cubicBezTo>
                  <a:cubicBezTo>
                    <a:pt x="268" y="201"/>
                    <a:pt x="268" y="201"/>
                    <a:pt x="269" y="204"/>
                  </a:cubicBezTo>
                  <a:cubicBezTo>
                    <a:pt x="271" y="206"/>
                    <a:pt x="272" y="207"/>
                    <a:pt x="271" y="207"/>
                  </a:cubicBezTo>
                  <a:cubicBezTo>
                    <a:pt x="269" y="206"/>
                    <a:pt x="269" y="207"/>
                    <a:pt x="269" y="210"/>
                  </a:cubicBezTo>
                  <a:cubicBezTo>
                    <a:pt x="271" y="213"/>
                    <a:pt x="271" y="207"/>
                    <a:pt x="271" y="209"/>
                  </a:cubicBezTo>
                  <a:close/>
                  <a:moveTo>
                    <a:pt x="300" y="227"/>
                  </a:moveTo>
                  <a:cubicBezTo>
                    <a:pt x="301" y="226"/>
                    <a:pt x="301" y="226"/>
                    <a:pt x="303" y="224"/>
                  </a:cubicBezTo>
                  <a:cubicBezTo>
                    <a:pt x="303" y="224"/>
                    <a:pt x="301" y="224"/>
                    <a:pt x="301" y="226"/>
                  </a:cubicBezTo>
                  <a:cubicBezTo>
                    <a:pt x="300" y="226"/>
                    <a:pt x="298" y="227"/>
                    <a:pt x="300" y="227"/>
                  </a:cubicBezTo>
                  <a:cubicBezTo>
                    <a:pt x="300" y="227"/>
                    <a:pt x="300" y="227"/>
                    <a:pt x="300" y="227"/>
                  </a:cubicBezTo>
                  <a:close/>
                  <a:moveTo>
                    <a:pt x="293" y="224"/>
                  </a:moveTo>
                  <a:cubicBezTo>
                    <a:pt x="293" y="224"/>
                    <a:pt x="293" y="224"/>
                    <a:pt x="292" y="224"/>
                  </a:cubicBezTo>
                  <a:cubicBezTo>
                    <a:pt x="292" y="224"/>
                    <a:pt x="292" y="224"/>
                    <a:pt x="292" y="226"/>
                  </a:cubicBezTo>
                  <a:cubicBezTo>
                    <a:pt x="293" y="226"/>
                    <a:pt x="293" y="226"/>
                    <a:pt x="293" y="224"/>
                  </a:cubicBezTo>
                  <a:close/>
                  <a:moveTo>
                    <a:pt x="277" y="212"/>
                  </a:moveTo>
                  <a:cubicBezTo>
                    <a:pt x="278" y="212"/>
                    <a:pt x="278" y="210"/>
                    <a:pt x="277" y="210"/>
                  </a:cubicBezTo>
                  <a:cubicBezTo>
                    <a:pt x="275" y="209"/>
                    <a:pt x="274" y="210"/>
                    <a:pt x="275" y="210"/>
                  </a:cubicBezTo>
                  <a:cubicBezTo>
                    <a:pt x="275" y="210"/>
                    <a:pt x="274" y="210"/>
                    <a:pt x="274" y="212"/>
                  </a:cubicBezTo>
                  <a:cubicBezTo>
                    <a:pt x="274" y="212"/>
                    <a:pt x="272" y="213"/>
                    <a:pt x="275" y="212"/>
                  </a:cubicBezTo>
                  <a:cubicBezTo>
                    <a:pt x="275" y="212"/>
                    <a:pt x="275" y="212"/>
                    <a:pt x="277" y="212"/>
                  </a:cubicBezTo>
                  <a:close/>
                  <a:moveTo>
                    <a:pt x="278" y="212"/>
                  </a:moveTo>
                  <a:cubicBezTo>
                    <a:pt x="277" y="213"/>
                    <a:pt x="278" y="212"/>
                    <a:pt x="278" y="213"/>
                  </a:cubicBezTo>
                  <a:cubicBezTo>
                    <a:pt x="278" y="215"/>
                    <a:pt x="277" y="213"/>
                    <a:pt x="277" y="215"/>
                  </a:cubicBezTo>
                  <a:cubicBezTo>
                    <a:pt x="277" y="216"/>
                    <a:pt x="277" y="216"/>
                    <a:pt x="278" y="216"/>
                  </a:cubicBezTo>
                  <a:cubicBezTo>
                    <a:pt x="280" y="216"/>
                    <a:pt x="278" y="216"/>
                    <a:pt x="280" y="218"/>
                  </a:cubicBezTo>
                  <a:cubicBezTo>
                    <a:pt x="280" y="220"/>
                    <a:pt x="277" y="220"/>
                    <a:pt x="277" y="220"/>
                  </a:cubicBezTo>
                  <a:cubicBezTo>
                    <a:pt x="278" y="221"/>
                    <a:pt x="278" y="221"/>
                    <a:pt x="280" y="221"/>
                  </a:cubicBezTo>
                  <a:cubicBezTo>
                    <a:pt x="280" y="220"/>
                    <a:pt x="280" y="221"/>
                    <a:pt x="280" y="221"/>
                  </a:cubicBezTo>
                  <a:cubicBezTo>
                    <a:pt x="281" y="221"/>
                    <a:pt x="281" y="221"/>
                    <a:pt x="283" y="223"/>
                  </a:cubicBezTo>
                  <a:cubicBezTo>
                    <a:pt x="284" y="224"/>
                    <a:pt x="283" y="224"/>
                    <a:pt x="283" y="224"/>
                  </a:cubicBezTo>
                  <a:cubicBezTo>
                    <a:pt x="284" y="226"/>
                    <a:pt x="284" y="223"/>
                    <a:pt x="284" y="226"/>
                  </a:cubicBezTo>
                  <a:cubicBezTo>
                    <a:pt x="284" y="227"/>
                    <a:pt x="287" y="229"/>
                    <a:pt x="287" y="227"/>
                  </a:cubicBezTo>
                  <a:cubicBezTo>
                    <a:pt x="289" y="226"/>
                    <a:pt x="287" y="226"/>
                    <a:pt x="287" y="224"/>
                  </a:cubicBezTo>
                  <a:cubicBezTo>
                    <a:pt x="287" y="223"/>
                    <a:pt x="287" y="224"/>
                    <a:pt x="287" y="221"/>
                  </a:cubicBezTo>
                  <a:cubicBezTo>
                    <a:pt x="289" y="220"/>
                    <a:pt x="287" y="221"/>
                    <a:pt x="286" y="220"/>
                  </a:cubicBezTo>
                  <a:cubicBezTo>
                    <a:pt x="286" y="218"/>
                    <a:pt x="286" y="220"/>
                    <a:pt x="284" y="218"/>
                  </a:cubicBezTo>
                  <a:cubicBezTo>
                    <a:pt x="284" y="218"/>
                    <a:pt x="283" y="220"/>
                    <a:pt x="283" y="218"/>
                  </a:cubicBezTo>
                  <a:cubicBezTo>
                    <a:pt x="281" y="218"/>
                    <a:pt x="283" y="216"/>
                    <a:pt x="284" y="218"/>
                  </a:cubicBezTo>
                  <a:cubicBezTo>
                    <a:pt x="287" y="220"/>
                    <a:pt x="286" y="218"/>
                    <a:pt x="284" y="216"/>
                  </a:cubicBezTo>
                  <a:cubicBezTo>
                    <a:pt x="283" y="215"/>
                    <a:pt x="283" y="213"/>
                    <a:pt x="283" y="212"/>
                  </a:cubicBezTo>
                  <a:cubicBezTo>
                    <a:pt x="281" y="210"/>
                    <a:pt x="280" y="212"/>
                    <a:pt x="278" y="210"/>
                  </a:cubicBezTo>
                  <a:cubicBezTo>
                    <a:pt x="278" y="210"/>
                    <a:pt x="280" y="209"/>
                    <a:pt x="278" y="207"/>
                  </a:cubicBezTo>
                  <a:cubicBezTo>
                    <a:pt x="278" y="206"/>
                    <a:pt x="278" y="207"/>
                    <a:pt x="277" y="207"/>
                  </a:cubicBezTo>
                  <a:cubicBezTo>
                    <a:pt x="274" y="207"/>
                    <a:pt x="275" y="207"/>
                    <a:pt x="275" y="207"/>
                  </a:cubicBezTo>
                  <a:cubicBezTo>
                    <a:pt x="274" y="209"/>
                    <a:pt x="274" y="209"/>
                    <a:pt x="275" y="209"/>
                  </a:cubicBezTo>
                  <a:cubicBezTo>
                    <a:pt x="277" y="209"/>
                    <a:pt x="278" y="209"/>
                    <a:pt x="278" y="212"/>
                  </a:cubicBezTo>
                  <a:close/>
                  <a:moveTo>
                    <a:pt x="280" y="227"/>
                  </a:moveTo>
                  <a:cubicBezTo>
                    <a:pt x="281" y="229"/>
                    <a:pt x="283" y="229"/>
                    <a:pt x="281" y="227"/>
                  </a:cubicBezTo>
                  <a:cubicBezTo>
                    <a:pt x="281" y="226"/>
                    <a:pt x="281" y="226"/>
                    <a:pt x="280" y="224"/>
                  </a:cubicBezTo>
                  <a:cubicBezTo>
                    <a:pt x="278" y="223"/>
                    <a:pt x="280" y="223"/>
                    <a:pt x="280" y="223"/>
                  </a:cubicBezTo>
                  <a:cubicBezTo>
                    <a:pt x="278" y="221"/>
                    <a:pt x="278" y="221"/>
                    <a:pt x="278" y="221"/>
                  </a:cubicBezTo>
                  <a:cubicBezTo>
                    <a:pt x="277" y="223"/>
                    <a:pt x="278" y="223"/>
                    <a:pt x="278" y="224"/>
                  </a:cubicBezTo>
                  <a:cubicBezTo>
                    <a:pt x="278" y="224"/>
                    <a:pt x="278" y="224"/>
                    <a:pt x="280" y="227"/>
                  </a:cubicBezTo>
                  <a:close/>
                  <a:moveTo>
                    <a:pt x="199" y="22"/>
                  </a:moveTo>
                  <a:cubicBezTo>
                    <a:pt x="190" y="20"/>
                    <a:pt x="188" y="25"/>
                    <a:pt x="182" y="22"/>
                  </a:cubicBezTo>
                  <a:cubicBezTo>
                    <a:pt x="176" y="19"/>
                    <a:pt x="166" y="20"/>
                    <a:pt x="155" y="16"/>
                  </a:cubicBezTo>
                  <a:cubicBezTo>
                    <a:pt x="144" y="13"/>
                    <a:pt x="144" y="19"/>
                    <a:pt x="134" y="16"/>
                  </a:cubicBezTo>
                  <a:cubicBezTo>
                    <a:pt x="123" y="13"/>
                    <a:pt x="134" y="10"/>
                    <a:pt x="121" y="10"/>
                  </a:cubicBezTo>
                  <a:cubicBezTo>
                    <a:pt x="109" y="10"/>
                    <a:pt x="112" y="11"/>
                    <a:pt x="109" y="8"/>
                  </a:cubicBezTo>
                  <a:cubicBezTo>
                    <a:pt x="105" y="5"/>
                    <a:pt x="105" y="10"/>
                    <a:pt x="100" y="6"/>
                  </a:cubicBezTo>
                  <a:cubicBezTo>
                    <a:pt x="97" y="5"/>
                    <a:pt x="96" y="0"/>
                    <a:pt x="88" y="6"/>
                  </a:cubicBezTo>
                  <a:cubicBezTo>
                    <a:pt x="80" y="14"/>
                    <a:pt x="76" y="5"/>
                    <a:pt x="64" y="14"/>
                  </a:cubicBezTo>
                  <a:cubicBezTo>
                    <a:pt x="51" y="24"/>
                    <a:pt x="50" y="11"/>
                    <a:pt x="44" y="24"/>
                  </a:cubicBezTo>
                  <a:cubicBezTo>
                    <a:pt x="39" y="36"/>
                    <a:pt x="36" y="39"/>
                    <a:pt x="21" y="39"/>
                  </a:cubicBezTo>
                  <a:cubicBezTo>
                    <a:pt x="13" y="39"/>
                    <a:pt x="21" y="44"/>
                    <a:pt x="13" y="45"/>
                  </a:cubicBezTo>
                  <a:cubicBezTo>
                    <a:pt x="7" y="47"/>
                    <a:pt x="32" y="52"/>
                    <a:pt x="36" y="61"/>
                  </a:cubicBezTo>
                  <a:cubicBezTo>
                    <a:pt x="41" y="69"/>
                    <a:pt x="47" y="61"/>
                    <a:pt x="45" y="67"/>
                  </a:cubicBezTo>
                  <a:cubicBezTo>
                    <a:pt x="45" y="72"/>
                    <a:pt x="50" y="67"/>
                    <a:pt x="50" y="72"/>
                  </a:cubicBezTo>
                  <a:cubicBezTo>
                    <a:pt x="51" y="76"/>
                    <a:pt x="57" y="72"/>
                    <a:pt x="56" y="76"/>
                  </a:cubicBezTo>
                  <a:cubicBezTo>
                    <a:pt x="56" y="80"/>
                    <a:pt x="56" y="75"/>
                    <a:pt x="51" y="78"/>
                  </a:cubicBezTo>
                  <a:cubicBezTo>
                    <a:pt x="51" y="80"/>
                    <a:pt x="51" y="76"/>
                    <a:pt x="41" y="78"/>
                  </a:cubicBezTo>
                  <a:cubicBezTo>
                    <a:pt x="30" y="80"/>
                    <a:pt x="44" y="67"/>
                    <a:pt x="30" y="72"/>
                  </a:cubicBezTo>
                  <a:cubicBezTo>
                    <a:pt x="16" y="76"/>
                    <a:pt x="9" y="83"/>
                    <a:pt x="4" y="83"/>
                  </a:cubicBezTo>
                  <a:cubicBezTo>
                    <a:pt x="0" y="84"/>
                    <a:pt x="3" y="89"/>
                    <a:pt x="10" y="89"/>
                  </a:cubicBezTo>
                  <a:cubicBezTo>
                    <a:pt x="19" y="89"/>
                    <a:pt x="9" y="92"/>
                    <a:pt x="13" y="94"/>
                  </a:cubicBezTo>
                  <a:cubicBezTo>
                    <a:pt x="18" y="97"/>
                    <a:pt x="12" y="100"/>
                    <a:pt x="21" y="101"/>
                  </a:cubicBezTo>
                  <a:cubicBezTo>
                    <a:pt x="30" y="101"/>
                    <a:pt x="33" y="97"/>
                    <a:pt x="39" y="100"/>
                  </a:cubicBezTo>
                  <a:cubicBezTo>
                    <a:pt x="47" y="104"/>
                    <a:pt x="54" y="90"/>
                    <a:pt x="59" y="97"/>
                  </a:cubicBezTo>
                  <a:cubicBezTo>
                    <a:pt x="64" y="101"/>
                    <a:pt x="48" y="98"/>
                    <a:pt x="56" y="103"/>
                  </a:cubicBezTo>
                  <a:cubicBezTo>
                    <a:pt x="65" y="108"/>
                    <a:pt x="57" y="115"/>
                    <a:pt x="51" y="114"/>
                  </a:cubicBezTo>
                  <a:cubicBezTo>
                    <a:pt x="44" y="112"/>
                    <a:pt x="45" y="123"/>
                    <a:pt x="38" y="118"/>
                  </a:cubicBezTo>
                  <a:cubicBezTo>
                    <a:pt x="30" y="114"/>
                    <a:pt x="29" y="126"/>
                    <a:pt x="24" y="128"/>
                  </a:cubicBezTo>
                  <a:cubicBezTo>
                    <a:pt x="21" y="129"/>
                    <a:pt x="22" y="134"/>
                    <a:pt x="18" y="137"/>
                  </a:cubicBezTo>
                  <a:cubicBezTo>
                    <a:pt x="15" y="139"/>
                    <a:pt x="18" y="140"/>
                    <a:pt x="24" y="145"/>
                  </a:cubicBezTo>
                  <a:cubicBezTo>
                    <a:pt x="30" y="150"/>
                    <a:pt x="22" y="153"/>
                    <a:pt x="25" y="154"/>
                  </a:cubicBezTo>
                  <a:cubicBezTo>
                    <a:pt x="29" y="157"/>
                    <a:pt x="33" y="165"/>
                    <a:pt x="41" y="162"/>
                  </a:cubicBezTo>
                  <a:cubicBezTo>
                    <a:pt x="48" y="159"/>
                    <a:pt x="51" y="162"/>
                    <a:pt x="50" y="168"/>
                  </a:cubicBezTo>
                  <a:cubicBezTo>
                    <a:pt x="47" y="174"/>
                    <a:pt x="53" y="170"/>
                    <a:pt x="50" y="176"/>
                  </a:cubicBezTo>
                  <a:cubicBezTo>
                    <a:pt x="48" y="181"/>
                    <a:pt x="56" y="179"/>
                    <a:pt x="59" y="174"/>
                  </a:cubicBezTo>
                  <a:cubicBezTo>
                    <a:pt x="62" y="171"/>
                    <a:pt x="68" y="176"/>
                    <a:pt x="71" y="179"/>
                  </a:cubicBezTo>
                  <a:cubicBezTo>
                    <a:pt x="76" y="184"/>
                    <a:pt x="76" y="176"/>
                    <a:pt x="79" y="178"/>
                  </a:cubicBezTo>
                  <a:cubicBezTo>
                    <a:pt x="82" y="181"/>
                    <a:pt x="91" y="173"/>
                    <a:pt x="86" y="178"/>
                  </a:cubicBezTo>
                  <a:cubicBezTo>
                    <a:pt x="83" y="182"/>
                    <a:pt x="83" y="185"/>
                    <a:pt x="83" y="190"/>
                  </a:cubicBezTo>
                  <a:cubicBezTo>
                    <a:pt x="83" y="195"/>
                    <a:pt x="79" y="192"/>
                    <a:pt x="76" y="198"/>
                  </a:cubicBezTo>
                  <a:cubicBezTo>
                    <a:pt x="73" y="204"/>
                    <a:pt x="67" y="202"/>
                    <a:pt x="64" y="209"/>
                  </a:cubicBezTo>
                  <a:cubicBezTo>
                    <a:pt x="59" y="216"/>
                    <a:pt x="61" y="210"/>
                    <a:pt x="53" y="212"/>
                  </a:cubicBezTo>
                  <a:cubicBezTo>
                    <a:pt x="45" y="215"/>
                    <a:pt x="50" y="218"/>
                    <a:pt x="44" y="220"/>
                  </a:cubicBezTo>
                  <a:cubicBezTo>
                    <a:pt x="39" y="223"/>
                    <a:pt x="38" y="227"/>
                    <a:pt x="44" y="224"/>
                  </a:cubicBezTo>
                  <a:cubicBezTo>
                    <a:pt x="51" y="221"/>
                    <a:pt x="53" y="215"/>
                    <a:pt x="54" y="218"/>
                  </a:cubicBezTo>
                  <a:cubicBezTo>
                    <a:pt x="56" y="221"/>
                    <a:pt x="59" y="216"/>
                    <a:pt x="59" y="220"/>
                  </a:cubicBezTo>
                  <a:cubicBezTo>
                    <a:pt x="61" y="224"/>
                    <a:pt x="64" y="221"/>
                    <a:pt x="64" y="218"/>
                  </a:cubicBezTo>
                  <a:cubicBezTo>
                    <a:pt x="62" y="215"/>
                    <a:pt x="68" y="213"/>
                    <a:pt x="68" y="216"/>
                  </a:cubicBezTo>
                  <a:cubicBezTo>
                    <a:pt x="68" y="220"/>
                    <a:pt x="74" y="210"/>
                    <a:pt x="79" y="210"/>
                  </a:cubicBezTo>
                  <a:cubicBezTo>
                    <a:pt x="83" y="210"/>
                    <a:pt x="76" y="209"/>
                    <a:pt x="86" y="202"/>
                  </a:cubicBezTo>
                  <a:cubicBezTo>
                    <a:pt x="96" y="198"/>
                    <a:pt x="94" y="195"/>
                    <a:pt x="100" y="192"/>
                  </a:cubicBezTo>
                  <a:cubicBezTo>
                    <a:pt x="105" y="188"/>
                    <a:pt x="112" y="185"/>
                    <a:pt x="114" y="181"/>
                  </a:cubicBezTo>
                  <a:cubicBezTo>
                    <a:pt x="115" y="176"/>
                    <a:pt x="118" y="178"/>
                    <a:pt x="120" y="174"/>
                  </a:cubicBezTo>
                  <a:cubicBezTo>
                    <a:pt x="120" y="170"/>
                    <a:pt x="105" y="176"/>
                    <a:pt x="114" y="168"/>
                  </a:cubicBezTo>
                  <a:cubicBezTo>
                    <a:pt x="124" y="160"/>
                    <a:pt x="126" y="159"/>
                    <a:pt x="129" y="151"/>
                  </a:cubicBezTo>
                  <a:cubicBezTo>
                    <a:pt x="134" y="145"/>
                    <a:pt x="144" y="140"/>
                    <a:pt x="152" y="148"/>
                  </a:cubicBezTo>
                  <a:cubicBezTo>
                    <a:pt x="159" y="156"/>
                    <a:pt x="146" y="143"/>
                    <a:pt x="138" y="148"/>
                  </a:cubicBezTo>
                  <a:cubicBezTo>
                    <a:pt x="132" y="153"/>
                    <a:pt x="138" y="154"/>
                    <a:pt x="132" y="159"/>
                  </a:cubicBezTo>
                  <a:cubicBezTo>
                    <a:pt x="126" y="165"/>
                    <a:pt x="137" y="165"/>
                    <a:pt x="132" y="167"/>
                  </a:cubicBezTo>
                  <a:cubicBezTo>
                    <a:pt x="124" y="171"/>
                    <a:pt x="137" y="173"/>
                    <a:pt x="143" y="167"/>
                  </a:cubicBezTo>
                  <a:cubicBezTo>
                    <a:pt x="149" y="162"/>
                    <a:pt x="150" y="160"/>
                    <a:pt x="155" y="160"/>
                  </a:cubicBezTo>
                  <a:cubicBezTo>
                    <a:pt x="161" y="160"/>
                    <a:pt x="155" y="157"/>
                    <a:pt x="159" y="156"/>
                  </a:cubicBezTo>
                  <a:cubicBezTo>
                    <a:pt x="164" y="154"/>
                    <a:pt x="156" y="150"/>
                    <a:pt x="163" y="150"/>
                  </a:cubicBezTo>
                  <a:cubicBezTo>
                    <a:pt x="169" y="148"/>
                    <a:pt x="172" y="145"/>
                    <a:pt x="172" y="148"/>
                  </a:cubicBezTo>
                  <a:cubicBezTo>
                    <a:pt x="172" y="153"/>
                    <a:pt x="176" y="151"/>
                    <a:pt x="181" y="154"/>
                  </a:cubicBezTo>
                  <a:cubicBezTo>
                    <a:pt x="185" y="157"/>
                    <a:pt x="184" y="151"/>
                    <a:pt x="187" y="156"/>
                  </a:cubicBezTo>
                  <a:cubicBezTo>
                    <a:pt x="191" y="162"/>
                    <a:pt x="199" y="159"/>
                    <a:pt x="204" y="159"/>
                  </a:cubicBezTo>
                  <a:cubicBezTo>
                    <a:pt x="210" y="159"/>
                    <a:pt x="219" y="167"/>
                    <a:pt x="223" y="164"/>
                  </a:cubicBezTo>
                  <a:cubicBezTo>
                    <a:pt x="230" y="160"/>
                    <a:pt x="230" y="164"/>
                    <a:pt x="227" y="165"/>
                  </a:cubicBezTo>
                  <a:cubicBezTo>
                    <a:pt x="223" y="167"/>
                    <a:pt x="233" y="170"/>
                    <a:pt x="237" y="173"/>
                  </a:cubicBezTo>
                  <a:cubicBezTo>
                    <a:pt x="242" y="174"/>
                    <a:pt x="242" y="178"/>
                    <a:pt x="248" y="181"/>
                  </a:cubicBezTo>
                  <a:cubicBezTo>
                    <a:pt x="252" y="184"/>
                    <a:pt x="257" y="182"/>
                    <a:pt x="254" y="179"/>
                  </a:cubicBezTo>
                  <a:cubicBezTo>
                    <a:pt x="251" y="176"/>
                    <a:pt x="251" y="173"/>
                    <a:pt x="255" y="176"/>
                  </a:cubicBezTo>
                  <a:cubicBezTo>
                    <a:pt x="258" y="181"/>
                    <a:pt x="265" y="185"/>
                    <a:pt x="263" y="181"/>
                  </a:cubicBezTo>
                  <a:cubicBezTo>
                    <a:pt x="263" y="176"/>
                    <a:pt x="262" y="173"/>
                    <a:pt x="265" y="179"/>
                  </a:cubicBezTo>
                  <a:cubicBezTo>
                    <a:pt x="268" y="184"/>
                    <a:pt x="271" y="179"/>
                    <a:pt x="272" y="184"/>
                  </a:cubicBezTo>
                  <a:cubicBezTo>
                    <a:pt x="275" y="190"/>
                    <a:pt x="274" y="190"/>
                    <a:pt x="277" y="192"/>
                  </a:cubicBezTo>
                  <a:cubicBezTo>
                    <a:pt x="278" y="193"/>
                    <a:pt x="274" y="196"/>
                    <a:pt x="278" y="198"/>
                  </a:cubicBezTo>
                  <a:cubicBezTo>
                    <a:pt x="283" y="199"/>
                    <a:pt x="280" y="199"/>
                    <a:pt x="284" y="204"/>
                  </a:cubicBezTo>
                  <a:cubicBezTo>
                    <a:pt x="290" y="210"/>
                    <a:pt x="293" y="209"/>
                    <a:pt x="290" y="210"/>
                  </a:cubicBezTo>
                  <a:cubicBezTo>
                    <a:pt x="287" y="210"/>
                    <a:pt x="289" y="212"/>
                    <a:pt x="286" y="215"/>
                  </a:cubicBezTo>
                  <a:cubicBezTo>
                    <a:pt x="284" y="216"/>
                    <a:pt x="287" y="220"/>
                    <a:pt x="289" y="215"/>
                  </a:cubicBezTo>
                  <a:cubicBezTo>
                    <a:pt x="290" y="212"/>
                    <a:pt x="293" y="209"/>
                    <a:pt x="295" y="213"/>
                  </a:cubicBezTo>
                  <a:cubicBezTo>
                    <a:pt x="298" y="218"/>
                    <a:pt x="295" y="221"/>
                    <a:pt x="295" y="223"/>
                  </a:cubicBezTo>
                  <a:cubicBezTo>
                    <a:pt x="297" y="226"/>
                    <a:pt x="297" y="229"/>
                    <a:pt x="300" y="226"/>
                  </a:cubicBezTo>
                  <a:cubicBezTo>
                    <a:pt x="301" y="223"/>
                    <a:pt x="304" y="223"/>
                    <a:pt x="303" y="218"/>
                  </a:cubicBezTo>
                  <a:cubicBezTo>
                    <a:pt x="301" y="213"/>
                    <a:pt x="303" y="213"/>
                    <a:pt x="304" y="212"/>
                  </a:cubicBezTo>
                  <a:cubicBezTo>
                    <a:pt x="304" y="212"/>
                    <a:pt x="304" y="210"/>
                    <a:pt x="303" y="210"/>
                  </a:cubicBezTo>
                  <a:cubicBezTo>
                    <a:pt x="300" y="210"/>
                    <a:pt x="303" y="209"/>
                    <a:pt x="298" y="207"/>
                  </a:cubicBezTo>
                  <a:cubicBezTo>
                    <a:pt x="292" y="206"/>
                    <a:pt x="293" y="202"/>
                    <a:pt x="290" y="204"/>
                  </a:cubicBezTo>
                  <a:cubicBezTo>
                    <a:pt x="287" y="204"/>
                    <a:pt x="290" y="201"/>
                    <a:pt x="289" y="201"/>
                  </a:cubicBezTo>
                  <a:cubicBezTo>
                    <a:pt x="286" y="201"/>
                    <a:pt x="289" y="198"/>
                    <a:pt x="287" y="198"/>
                  </a:cubicBezTo>
                  <a:cubicBezTo>
                    <a:pt x="284" y="198"/>
                    <a:pt x="287" y="198"/>
                    <a:pt x="286" y="195"/>
                  </a:cubicBezTo>
                  <a:cubicBezTo>
                    <a:pt x="284" y="193"/>
                    <a:pt x="278" y="182"/>
                    <a:pt x="275" y="179"/>
                  </a:cubicBezTo>
                  <a:cubicBezTo>
                    <a:pt x="274" y="174"/>
                    <a:pt x="271" y="178"/>
                    <a:pt x="269" y="173"/>
                  </a:cubicBezTo>
                  <a:cubicBezTo>
                    <a:pt x="268" y="170"/>
                    <a:pt x="266" y="171"/>
                    <a:pt x="265" y="168"/>
                  </a:cubicBezTo>
                  <a:cubicBezTo>
                    <a:pt x="263" y="167"/>
                    <a:pt x="266" y="168"/>
                    <a:pt x="263" y="165"/>
                  </a:cubicBezTo>
                  <a:cubicBezTo>
                    <a:pt x="262" y="162"/>
                    <a:pt x="262" y="162"/>
                    <a:pt x="255" y="165"/>
                  </a:cubicBezTo>
                  <a:cubicBezTo>
                    <a:pt x="252" y="165"/>
                    <a:pt x="257" y="167"/>
                    <a:pt x="254" y="167"/>
                  </a:cubicBezTo>
                  <a:cubicBezTo>
                    <a:pt x="251" y="168"/>
                    <a:pt x="255" y="170"/>
                    <a:pt x="251" y="171"/>
                  </a:cubicBezTo>
                  <a:cubicBezTo>
                    <a:pt x="246" y="171"/>
                    <a:pt x="246" y="174"/>
                    <a:pt x="245" y="173"/>
                  </a:cubicBezTo>
                  <a:cubicBezTo>
                    <a:pt x="243" y="173"/>
                    <a:pt x="246" y="171"/>
                    <a:pt x="240" y="167"/>
                  </a:cubicBezTo>
                  <a:cubicBezTo>
                    <a:pt x="233" y="164"/>
                    <a:pt x="237" y="162"/>
                    <a:pt x="233" y="160"/>
                  </a:cubicBezTo>
                  <a:cubicBezTo>
                    <a:pt x="230" y="159"/>
                    <a:pt x="231" y="159"/>
                    <a:pt x="233" y="157"/>
                  </a:cubicBezTo>
                  <a:cubicBezTo>
                    <a:pt x="233" y="154"/>
                    <a:pt x="228" y="156"/>
                    <a:pt x="227" y="157"/>
                  </a:cubicBezTo>
                  <a:cubicBezTo>
                    <a:pt x="225" y="157"/>
                    <a:pt x="225" y="157"/>
                    <a:pt x="222" y="156"/>
                  </a:cubicBezTo>
                  <a:cubicBezTo>
                    <a:pt x="220" y="154"/>
                    <a:pt x="223" y="159"/>
                    <a:pt x="217" y="156"/>
                  </a:cubicBezTo>
                  <a:cubicBezTo>
                    <a:pt x="217" y="28"/>
                    <a:pt x="217" y="28"/>
                    <a:pt x="217" y="28"/>
                  </a:cubicBezTo>
                  <a:cubicBezTo>
                    <a:pt x="208" y="28"/>
                    <a:pt x="208" y="22"/>
                    <a:pt x="199" y="22"/>
                  </a:cubicBezTo>
                  <a:close/>
                  <a:moveTo>
                    <a:pt x="734" y="349"/>
                  </a:moveTo>
                  <a:cubicBezTo>
                    <a:pt x="734" y="350"/>
                    <a:pt x="732" y="352"/>
                    <a:pt x="730" y="352"/>
                  </a:cubicBezTo>
                  <a:cubicBezTo>
                    <a:pt x="729" y="352"/>
                    <a:pt x="729" y="353"/>
                    <a:pt x="730" y="355"/>
                  </a:cubicBezTo>
                  <a:cubicBezTo>
                    <a:pt x="732" y="355"/>
                    <a:pt x="730" y="355"/>
                    <a:pt x="730" y="358"/>
                  </a:cubicBezTo>
                  <a:cubicBezTo>
                    <a:pt x="730" y="360"/>
                    <a:pt x="729" y="360"/>
                    <a:pt x="727" y="361"/>
                  </a:cubicBezTo>
                  <a:cubicBezTo>
                    <a:pt x="726" y="363"/>
                    <a:pt x="721" y="363"/>
                    <a:pt x="718" y="363"/>
                  </a:cubicBezTo>
                  <a:cubicBezTo>
                    <a:pt x="717" y="361"/>
                    <a:pt x="711" y="361"/>
                    <a:pt x="711" y="363"/>
                  </a:cubicBezTo>
                  <a:cubicBezTo>
                    <a:pt x="709" y="363"/>
                    <a:pt x="706" y="364"/>
                    <a:pt x="706" y="364"/>
                  </a:cubicBezTo>
                  <a:cubicBezTo>
                    <a:pt x="709" y="366"/>
                    <a:pt x="709" y="366"/>
                    <a:pt x="709" y="366"/>
                  </a:cubicBezTo>
                  <a:cubicBezTo>
                    <a:pt x="711" y="366"/>
                    <a:pt x="709" y="369"/>
                    <a:pt x="709" y="369"/>
                  </a:cubicBezTo>
                  <a:cubicBezTo>
                    <a:pt x="708" y="370"/>
                    <a:pt x="703" y="375"/>
                    <a:pt x="700" y="375"/>
                  </a:cubicBezTo>
                  <a:cubicBezTo>
                    <a:pt x="699" y="375"/>
                    <a:pt x="695" y="378"/>
                    <a:pt x="689" y="381"/>
                  </a:cubicBezTo>
                  <a:cubicBezTo>
                    <a:pt x="683" y="384"/>
                    <a:pt x="677" y="384"/>
                    <a:pt x="677" y="383"/>
                  </a:cubicBezTo>
                  <a:cubicBezTo>
                    <a:pt x="676" y="383"/>
                    <a:pt x="679" y="383"/>
                    <a:pt x="679" y="381"/>
                  </a:cubicBezTo>
                  <a:cubicBezTo>
                    <a:pt x="677" y="381"/>
                    <a:pt x="673" y="381"/>
                    <a:pt x="673" y="380"/>
                  </a:cubicBezTo>
                  <a:cubicBezTo>
                    <a:pt x="673" y="378"/>
                    <a:pt x="674" y="378"/>
                    <a:pt x="674" y="375"/>
                  </a:cubicBezTo>
                  <a:cubicBezTo>
                    <a:pt x="676" y="372"/>
                    <a:pt x="677" y="374"/>
                    <a:pt x="677" y="370"/>
                  </a:cubicBezTo>
                  <a:cubicBezTo>
                    <a:pt x="679" y="369"/>
                    <a:pt x="679" y="369"/>
                    <a:pt x="680" y="370"/>
                  </a:cubicBezTo>
                  <a:cubicBezTo>
                    <a:pt x="680" y="369"/>
                    <a:pt x="680" y="369"/>
                    <a:pt x="680" y="369"/>
                  </a:cubicBezTo>
                  <a:cubicBezTo>
                    <a:pt x="680" y="367"/>
                    <a:pt x="682" y="367"/>
                    <a:pt x="682" y="366"/>
                  </a:cubicBezTo>
                  <a:cubicBezTo>
                    <a:pt x="680" y="363"/>
                    <a:pt x="680" y="353"/>
                    <a:pt x="676" y="355"/>
                  </a:cubicBezTo>
                  <a:cubicBezTo>
                    <a:pt x="673" y="355"/>
                    <a:pt x="673" y="358"/>
                    <a:pt x="671" y="360"/>
                  </a:cubicBezTo>
                  <a:cubicBezTo>
                    <a:pt x="670" y="360"/>
                    <a:pt x="668" y="355"/>
                    <a:pt x="671" y="355"/>
                  </a:cubicBezTo>
                  <a:cubicBezTo>
                    <a:pt x="673" y="353"/>
                    <a:pt x="674" y="352"/>
                    <a:pt x="674" y="349"/>
                  </a:cubicBezTo>
                  <a:cubicBezTo>
                    <a:pt x="674" y="344"/>
                    <a:pt x="671" y="342"/>
                    <a:pt x="674" y="342"/>
                  </a:cubicBezTo>
                  <a:cubicBezTo>
                    <a:pt x="676" y="342"/>
                    <a:pt x="673" y="339"/>
                    <a:pt x="670" y="338"/>
                  </a:cubicBezTo>
                  <a:cubicBezTo>
                    <a:pt x="667" y="338"/>
                    <a:pt x="668" y="336"/>
                    <a:pt x="667" y="336"/>
                  </a:cubicBezTo>
                  <a:cubicBezTo>
                    <a:pt x="663" y="336"/>
                    <a:pt x="663" y="333"/>
                    <a:pt x="660" y="335"/>
                  </a:cubicBezTo>
                  <a:cubicBezTo>
                    <a:pt x="657" y="338"/>
                    <a:pt x="663" y="338"/>
                    <a:pt x="659" y="339"/>
                  </a:cubicBezTo>
                  <a:cubicBezTo>
                    <a:pt x="656" y="339"/>
                    <a:pt x="657" y="345"/>
                    <a:pt x="656" y="345"/>
                  </a:cubicBezTo>
                  <a:cubicBezTo>
                    <a:pt x="654" y="345"/>
                    <a:pt x="657" y="338"/>
                    <a:pt x="653" y="344"/>
                  </a:cubicBezTo>
                  <a:cubicBezTo>
                    <a:pt x="651" y="347"/>
                    <a:pt x="650" y="344"/>
                    <a:pt x="651" y="349"/>
                  </a:cubicBezTo>
                  <a:cubicBezTo>
                    <a:pt x="651" y="352"/>
                    <a:pt x="648" y="353"/>
                    <a:pt x="650" y="355"/>
                  </a:cubicBezTo>
                  <a:cubicBezTo>
                    <a:pt x="650" y="358"/>
                    <a:pt x="648" y="356"/>
                    <a:pt x="650" y="361"/>
                  </a:cubicBezTo>
                  <a:cubicBezTo>
                    <a:pt x="651" y="367"/>
                    <a:pt x="651" y="372"/>
                    <a:pt x="648" y="377"/>
                  </a:cubicBezTo>
                  <a:cubicBezTo>
                    <a:pt x="645" y="381"/>
                    <a:pt x="642" y="383"/>
                    <a:pt x="639" y="378"/>
                  </a:cubicBezTo>
                  <a:cubicBezTo>
                    <a:pt x="636" y="374"/>
                    <a:pt x="639" y="370"/>
                    <a:pt x="638" y="366"/>
                  </a:cubicBezTo>
                  <a:cubicBezTo>
                    <a:pt x="638" y="361"/>
                    <a:pt x="639" y="363"/>
                    <a:pt x="639" y="356"/>
                  </a:cubicBezTo>
                  <a:cubicBezTo>
                    <a:pt x="639" y="352"/>
                    <a:pt x="642" y="355"/>
                    <a:pt x="641" y="352"/>
                  </a:cubicBezTo>
                  <a:cubicBezTo>
                    <a:pt x="639" y="350"/>
                    <a:pt x="644" y="345"/>
                    <a:pt x="641" y="345"/>
                  </a:cubicBezTo>
                  <a:cubicBezTo>
                    <a:pt x="639" y="344"/>
                    <a:pt x="641" y="345"/>
                    <a:pt x="638" y="349"/>
                  </a:cubicBezTo>
                  <a:cubicBezTo>
                    <a:pt x="636" y="350"/>
                    <a:pt x="638" y="344"/>
                    <a:pt x="639" y="344"/>
                  </a:cubicBezTo>
                  <a:cubicBezTo>
                    <a:pt x="641" y="342"/>
                    <a:pt x="639" y="342"/>
                    <a:pt x="641" y="341"/>
                  </a:cubicBezTo>
                  <a:cubicBezTo>
                    <a:pt x="642" y="338"/>
                    <a:pt x="645" y="331"/>
                    <a:pt x="645" y="333"/>
                  </a:cubicBezTo>
                  <a:cubicBezTo>
                    <a:pt x="645" y="336"/>
                    <a:pt x="648" y="331"/>
                    <a:pt x="648" y="335"/>
                  </a:cubicBezTo>
                  <a:cubicBezTo>
                    <a:pt x="647" y="338"/>
                    <a:pt x="650" y="331"/>
                    <a:pt x="651" y="331"/>
                  </a:cubicBezTo>
                  <a:cubicBezTo>
                    <a:pt x="657" y="333"/>
                    <a:pt x="654" y="328"/>
                    <a:pt x="660" y="331"/>
                  </a:cubicBezTo>
                  <a:cubicBezTo>
                    <a:pt x="665" y="335"/>
                    <a:pt x="662" y="330"/>
                    <a:pt x="663" y="331"/>
                  </a:cubicBezTo>
                  <a:cubicBezTo>
                    <a:pt x="667" y="331"/>
                    <a:pt x="670" y="333"/>
                    <a:pt x="670" y="330"/>
                  </a:cubicBezTo>
                  <a:cubicBezTo>
                    <a:pt x="668" y="328"/>
                    <a:pt x="667" y="330"/>
                    <a:pt x="667" y="327"/>
                  </a:cubicBezTo>
                  <a:cubicBezTo>
                    <a:pt x="667" y="325"/>
                    <a:pt x="665" y="327"/>
                    <a:pt x="662" y="325"/>
                  </a:cubicBezTo>
                  <a:cubicBezTo>
                    <a:pt x="659" y="325"/>
                    <a:pt x="662" y="322"/>
                    <a:pt x="660" y="322"/>
                  </a:cubicBezTo>
                  <a:cubicBezTo>
                    <a:pt x="657" y="324"/>
                    <a:pt x="651" y="324"/>
                    <a:pt x="650" y="325"/>
                  </a:cubicBezTo>
                  <a:cubicBezTo>
                    <a:pt x="647" y="327"/>
                    <a:pt x="647" y="325"/>
                    <a:pt x="644" y="325"/>
                  </a:cubicBezTo>
                  <a:cubicBezTo>
                    <a:pt x="641" y="325"/>
                    <a:pt x="641" y="322"/>
                    <a:pt x="638" y="321"/>
                  </a:cubicBezTo>
                  <a:cubicBezTo>
                    <a:pt x="635" y="319"/>
                    <a:pt x="633" y="324"/>
                    <a:pt x="633" y="321"/>
                  </a:cubicBezTo>
                  <a:cubicBezTo>
                    <a:pt x="633" y="317"/>
                    <a:pt x="632" y="317"/>
                    <a:pt x="628" y="321"/>
                  </a:cubicBezTo>
                  <a:cubicBezTo>
                    <a:pt x="625" y="324"/>
                    <a:pt x="625" y="321"/>
                    <a:pt x="621" y="324"/>
                  </a:cubicBezTo>
                  <a:cubicBezTo>
                    <a:pt x="618" y="327"/>
                    <a:pt x="618" y="324"/>
                    <a:pt x="615" y="325"/>
                  </a:cubicBezTo>
                  <a:cubicBezTo>
                    <a:pt x="612" y="325"/>
                    <a:pt x="616" y="321"/>
                    <a:pt x="615" y="321"/>
                  </a:cubicBezTo>
                  <a:cubicBezTo>
                    <a:pt x="612" y="321"/>
                    <a:pt x="609" y="324"/>
                    <a:pt x="606" y="324"/>
                  </a:cubicBezTo>
                  <a:cubicBezTo>
                    <a:pt x="603" y="322"/>
                    <a:pt x="607" y="321"/>
                    <a:pt x="610" y="316"/>
                  </a:cubicBezTo>
                  <a:cubicBezTo>
                    <a:pt x="615" y="311"/>
                    <a:pt x="616" y="311"/>
                    <a:pt x="624" y="308"/>
                  </a:cubicBezTo>
                  <a:cubicBezTo>
                    <a:pt x="619" y="308"/>
                    <a:pt x="622" y="307"/>
                    <a:pt x="618" y="307"/>
                  </a:cubicBezTo>
                  <a:cubicBezTo>
                    <a:pt x="613" y="308"/>
                    <a:pt x="616" y="305"/>
                    <a:pt x="610" y="307"/>
                  </a:cubicBezTo>
                  <a:cubicBezTo>
                    <a:pt x="607" y="310"/>
                    <a:pt x="606" y="304"/>
                    <a:pt x="603" y="305"/>
                  </a:cubicBezTo>
                  <a:cubicBezTo>
                    <a:pt x="601" y="307"/>
                    <a:pt x="604" y="304"/>
                    <a:pt x="598" y="302"/>
                  </a:cubicBezTo>
                  <a:cubicBezTo>
                    <a:pt x="592" y="299"/>
                    <a:pt x="592" y="304"/>
                    <a:pt x="590" y="302"/>
                  </a:cubicBezTo>
                  <a:cubicBezTo>
                    <a:pt x="589" y="299"/>
                    <a:pt x="584" y="302"/>
                    <a:pt x="584" y="297"/>
                  </a:cubicBezTo>
                  <a:cubicBezTo>
                    <a:pt x="583" y="294"/>
                    <a:pt x="583" y="293"/>
                    <a:pt x="581" y="293"/>
                  </a:cubicBezTo>
                  <a:cubicBezTo>
                    <a:pt x="580" y="291"/>
                    <a:pt x="581" y="297"/>
                    <a:pt x="580" y="297"/>
                  </a:cubicBezTo>
                  <a:cubicBezTo>
                    <a:pt x="360" y="297"/>
                    <a:pt x="360" y="297"/>
                    <a:pt x="360" y="297"/>
                  </a:cubicBezTo>
                  <a:cubicBezTo>
                    <a:pt x="360" y="300"/>
                    <a:pt x="364" y="299"/>
                    <a:pt x="364" y="302"/>
                  </a:cubicBezTo>
                  <a:cubicBezTo>
                    <a:pt x="364" y="304"/>
                    <a:pt x="360" y="302"/>
                    <a:pt x="362" y="305"/>
                  </a:cubicBezTo>
                  <a:cubicBezTo>
                    <a:pt x="365" y="308"/>
                    <a:pt x="365" y="308"/>
                    <a:pt x="365" y="314"/>
                  </a:cubicBezTo>
                  <a:cubicBezTo>
                    <a:pt x="364" y="321"/>
                    <a:pt x="364" y="313"/>
                    <a:pt x="362" y="308"/>
                  </a:cubicBezTo>
                  <a:cubicBezTo>
                    <a:pt x="360" y="305"/>
                    <a:pt x="353" y="307"/>
                    <a:pt x="348" y="305"/>
                  </a:cubicBezTo>
                  <a:cubicBezTo>
                    <a:pt x="345" y="302"/>
                    <a:pt x="345" y="307"/>
                    <a:pt x="348" y="310"/>
                  </a:cubicBezTo>
                  <a:cubicBezTo>
                    <a:pt x="350" y="314"/>
                    <a:pt x="351" y="325"/>
                    <a:pt x="351" y="333"/>
                  </a:cubicBezTo>
                  <a:cubicBezTo>
                    <a:pt x="351" y="341"/>
                    <a:pt x="351" y="356"/>
                    <a:pt x="348" y="364"/>
                  </a:cubicBezTo>
                  <a:cubicBezTo>
                    <a:pt x="345" y="370"/>
                    <a:pt x="353" y="381"/>
                    <a:pt x="350" y="389"/>
                  </a:cubicBezTo>
                  <a:cubicBezTo>
                    <a:pt x="347" y="398"/>
                    <a:pt x="353" y="397"/>
                    <a:pt x="353" y="406"/>
                  </a:cubicBezTo>
                  <a:cubicBezTo>
                    <a:pt x="354" y="415"/>
                    <a:pt x="359" y="414"/>
                    <a:pt x="359" y="419"/>
                  </a:cubicBezTo>
                  <a:cubicBezTo>
                    <a:pt x="360" y="423"/>
                    <a:pt x="364" y="420"/>
                    <a:pt x="364" y="426"/>
                  </a:cubicBezTo>
                  <a:cubicBezTo>
                    <a:pt x="365" y="434"/>
                    <a:pt x="370" y="431"/>
                    <a:pt x="368" y="436"/>
                  </a:cubicBezTo>
                  <a:cubicBezTo>
                    <a:pt x="367" y="439"/>
                    <a:pt x="370" y="440"/>
                    <a:pt x="374" y="448"/>
                  </a:cubicBezTo>
                  <a:cubicBezTo>
                    <a:pt x="380" y="454"/>
                    <a:pt x="377" y="458"/>
                    <a:pt x="379" y="459"/>
                  </a:cubicBezTo>
                  <a:cubicBezTo>
                    <a:pt x="382" y="461"/>
                    <a:pt x="386" y="459"/>
                    <a:pt x="392" y="465"/>
                  </a:cubicBezTo>
                  <a:cubicBezTo>
                    <a:pt x="397" y="470"/>
                    <a:pt x="397" y="465"/>
                    <a:pt x="402" y="470"/>
                  </a:cubicBezTo>
                  <a:cubicBezTo>
                    <a:pt x="406" y="475"/>
                    <a:pt x="405" y="476"/>
                    <a:pt x="406" y="481"/>
                  </a:cubicBezTo>
                  <a:cubicBezTo>
                    <a:pt x="411" y="479"/>
                    <a:pt x="421" y="479"/>
                    <a:pt x="424" y="478"/>
                  </a:cubicBezTo>
                  <a:cubicBezTo>
                    <a:pt x="424" y="481"/>
                    <a:pt x="424" y="481"/>
                    <a:pt x="424" y="481"/>
                  </a:cubicBezTo>
                  <a:cubicBezTo>
                    <a:pt x="429" y="482"/>
                    <a:pt x="452" y="492"/>
                    <a:pt x="455" y="493"/>
                  </a:cubicBezTo>
                  <a:cubicBezTo>
                    <a:pt x="478" y="493"/>
                    <a:pt x="478" y="493"/>
                    <a:pt x="478" y="493"/>
                  </a:cubicBezTo>
                  <a:cubicBezTo>
                    <a:pt x="478" y="489"/>
                    <a:pt x="478" y="489"/>
                    <a:pt x="478" y="489"/>
                  </a:cubicBezTo>
                  <a:cubicBezTo>
                    <a:pt x="490" y="489"/>
                    <a:pt x="490" y="489"/>
                    <a:pt x="490" y="489"/>
                  </a:cubicBezTo>
                  <a:cubicBezTo>
                    <a:pt x="490" y="489"/>
                    <a:pt x="499" y="498"/>
                    <a:pt x="502" y="501"/>
                  </a:cubicBezTo>
                  <a:cubicBezTo>
                    <a:pt x="507" y="504"/>
                    <a:pt x="505" y="512"/>
                    <a:pt x="513" y="517"/>
                  </a:cubicBezTo>
                  <a:cubicBezTo>
                    <a:pt x="522" y="520"/>
                    <a:pt x="516" y="506"/>
                    <a:pt x="526" y="507"/>
                  </a:cubicBezTo>
                  <a:cubicBezTo>
                    <a:pt x="536" y="509"/>
                    <a:pt x="537" y="521"/>
                    <a:pt x="543" y="529"/>
                  </a:cubicBezTo>
                  <a:cubicBezTo>
                    <a:pt x="549" y="537"/>
                    <a:pt x="545" y="546"/>
                    <a:pt x="558" y="548"/>
                  </a:cubicBezTo>
                  <a:cubicBezTo>
                    <a:pt x="560" y="548"/>
                    <a:pt x="563" y="551"/>
                    <a:pt x="563" y="549"/>
                  </a:cubicBezTo>
                  <a:cubicBezTo>
                    <a:pt x="563" y="549"/>
                    <a:pt x="563" y="549"/>
                    <a:pt x="565" y="549"/>
                  </a:cubicBezTo>
                  <a:cubicBezTo>
                    <a:pt x="565" y="545"/>
                    <a:pt x="561" y="538"/>
                    <a:pt x="563" y="535"/>
                  </a:cubicBezTo>
                  <a:cubicBezTo>
                    <a:pt x="563" y="532"/>
                    <a:pt x="565" y="531"/>
                    <a:pt x="566" y="529"/>
                  </a:cubicBezTo>
                  <a:cubicBezTo>
                    <a:pt x="568" y="526"/>
                    <a:pt x="572" y="524"/>
                    <a:pt x="571" y="523"/>
                  </a:cubicBezTo>
                  <a:cubicBezTo>
                    <a:pt x="569" y="523"/>
                    <a:pt x="568" y="521"/>
                    <a:pt x="569" y="521"/>
                  </a:cubicBezTo>
                  <a:cubicBezTo>
                    <a:pt x="571" y="523"/>
                    <a:pt x="571" y="520"/>
                    <a:pt x="572" y="521"/>
                  </a:cubicBezTo>
                  <a:cubicBezTo>
                    <a:pt x="574" y="523"/>
                    <a:pt x="578" y="520"/>
                    <a:pt x="580" y="517"/>
                  </a:cubicBezTo>
                  <a:cubicBezTo>
                    <a:pt x="583" y="515"/>
                    <a:pt x="583" y="515"/>
                    <a:pt x="586" y="512"/>
                  </a:cubicBezTo>
                  <a:cubicBezTo>
                    <a:pt x="589" y="510"/>
                    <a:pt x="589" y="510"/>
                    <a:pt x="593" y="509"/>
                  </a:cubicBezTo>
                  <a:cubicBezTo>
                    <a:pt x="600" y="509"/>
                    <a:pt x="600" y="512"/>
                    <a:pt x="603" y="512"/>
                  </a:cubicBezTo>
                  <a:cubicBezTo>
                    <a:pt x="606" y="510"/>
                    <a:pt x="606" y="513"/>
                    <a:pt x="607" y="512"/>
                  </a:cubicBezTo>
                  <a:cubicBezTo>
                    <a:pt x="609" y="510"/>
                    <a:pt x="603" y="510"/>
                    <a:pt x="606" y="509"/>
                  </a:cubicBezTo>
                  <a:cubicBezTo>
                    <a:pt x="607" y="509"/>
                    <a:pt x="609" y="510"/>
                    <a:pt x="609" y="512"/>
                  </a:cubicBezTo>
                  <a:cubicBezTo>
                    <a:pt x="610" y="513"/>
                    <a:pt x="613" y="512"/>
                    <a:pt x="612" y="513"/>
                  </a:cubicBezTo>
                  <a:cubicBezTo>
                    <a:pt x="610" y="515"/>
                    <a:pt x="616" y="517"/>
                    <a:pt x="616" y="517"/>
                  </a:cubicBezTo>
                  <a:cubicBezTo>
                    <a:pt x="616" y="515"/>
                    <a:pt x="618" y="513"/>
                    <a:pt x="619" y="517"/>
                  </a:cubicBezTo>
                  <a:cubicBezTo>
                    <a:pt x="619" y="518"/>
                    <a:pt x="622" y="515"/>
                    <a:pt x="621" y="513"/>
                  </a:cubicBezTo>
                  <a:cubicBezTo>
                    <a:pt x="619" y="512"/>
                    <a:pt x="622" y="512"/>
                    <a:pt x="624" y="515"/>
                  </a:cubicBezTo>
                  <a:cubicBezTo>
                    <a:pt x="627" y="517"/>
                    <a:pt x="625" y="520"/>
                    <a:pt x="627" y="517"/>
                  </a:cubicBezTo>
                  <a:cubicBezTo>
                    <a:pt x="630" y="515"/>
                    <a:pt x="628" y="515"/>
                    <a:pt x="625" y="512"/>
                  </a:cubicBezTo>
                  <a:cubicBezTo>
                    <a:pt x="622" y="510"/>
                    <a:pt x="628" y="510"/>
                    <a:pt x="627" y="507"/>
                  </a:cubicBezTo>
                  <a:cubicBezTo>
                    <a:pt x="625" y="506"/>
                    <a:pt x="625" y="509"/>
                    <a:pt x="624" y="509"/>
                  </a:cubicBezTo>
                  <a:cubicBezTo>
                    <a:pt x="622" y="507"/>
                    <a:pt x="625" y="507"/>
                    <a:pt x="622" y="506"/>
                  </a:cubicBezTo>
                  <a:cubicBezTo>
                    <a:pt x="621" y="506"/>
                    <a:pt x="622" y="507"/>
                    <a:pt x="619" y="507"/>
                  </a:cubicBezTo>
                  <a:cubicBezTo>
                    <a:pt x="616" y="506"/>
                    <a:pt x="619" y="501"/>
                    <a:pt x="622" y="504"/>
                  </a:cubicBezTo>
                  <a:cubicBezTo>
                    <a:pt x="625" y="506"/>
                    <a:pt x="625" y="506"/>
                    <a:pt x="628" y="504"/>
                  </a:cubicBezTo>
                  <a:cubicBezTo>
                    <a:pt x="630" y="501"/>
                    <a:pt x="636" y="504"/>
                    <a:pt x="636" y="503"/>
                  </a:cubicBezTo>
                  <a:cubicBezTo>
                    <a:pt x="638" y="501"/>
                    <a:pt x="636" y="498"/>
                    <a:pt x="639" y="503"/>
                  </a:cubicBezTo>
                  <a:cubicBezTo>
                    <a:pt x="639" y="504"/>
                    <a:pt x="635" y="506"/>
                    <a:pt x="639" y="504"/>
                  </a:cubicBezTo>
                  <a:cubicBezTo>
                    <a:pt x="644" y="504"/>
                    <a:pt x="648" y="503"/>
                    <a:pt x="651" y="504"/>
                  </a:cubicBezTo>
                  <a:cubicBezTo>
                    <a:pt x="654" y="504"/>
                    <a:pt x="656" y="504"/>
                    <a:pt x="656" y="506"/>
                  </a:cubicBezTo>
                  <a:cubicBezTo>
                    <a:pt x="656" y="507"/>
                    <a:pt x="657" y="506"/>
                    <a:pt x="657" y="509"/>
                  </a:cubicBezTo>
                  <a:cubicBezTo>
                    <a:pt x="657" y="512"/>
                    <a:pt x="663" y="509"/>
                    <a:pt x="665" y="509"/>
                  </a:cubicBezTo>
                  <a:cubicBezTo>
                    <a:pt x="667" y="509"/>
                    <a:pt x="665" y="506"/>
                    <a:pt x="668" y="506"/>
                  </a:cubicBezTo>
                  <a:cubicBezTo>
                    <a:pt x="671" y="506"/>
                    <a:pt x="676" y="515"/>
                    <a:pt x="677" y="515"/>
                  </a:cubicBezTo>
                  <a:cubicBezTo>
                    <a:pt x="679" y="515"/>
                    <a:pt x="680" y="521"/>
                    <a:pt x="679" y="524"/>
                  </a:cubicBezTo>
                  <a:cubicBezTo>
                    <a:pt x="677" y="529"/>
                    <a:pt x="679" y="532"/>
                    <a:pt x="680" y="531"/>
                  </a:cubicBezTo>
                  <a:cubicBezTo>
                    <a:pt x="680" y="529"/>
                    <a:pt x="683" y="529"/>
                    <a:pt x="680" y="532"/>
                  </a:cubicBezTo>
                  <a:cubicBezTo>
                    <a:pt x="679" y="534"/>
                    <a:pt x="680" y="538"/>
                    <a:pt x="682" y="540"/>
                  </a:cubicBezTo>
                  <a:cubicBezTo>
                    <a:pt x="685" y="541"/>
                    <a:pt x="683" y="538"/>
                    <a:pt x="685" y="541"/>
                  </a:cubicBezTo>
                  <a:cubicBezTo>
                    <a:pt x="685" y="545"/>
                    <a:pt x="686" y="543"/>
                    <a:pt x="686" y="546"/>
                  </a:cubicBezTo>
                  <a:cubicBezTo>
                    <a:pt x="688" y="551"/>
                    <a:pt x="689" y="548"/>
                    <a:pt x="691" y="552"/>
                  </a:cubicBezTo>
                  <a:cubicBezTo>
                    <a:pt x="691" y="557"/>
                    <a:pt x="692" y="554"/>
                    <a:pt x="692" y="555"/>
                  </a:cubicBezTo>
                  <a:cubicBezTo>
                    <a:pt x="691" y="557"/>
                    <a:pt x="692" y="559"/>
                    <a:pt x="694" y="557"/>
                  </a:cubicBezTo>
                  <a:cubicBezTo>
                    <a:pt x="697" y="555"/>
                    <a:pt x="695" y="560"/>
                    <a:pt x="697" y="557"/>
                  </a:cubicBezTo>
                  <a:cubicBezTo>
                    <a:pt x="700" y="554"/>
                    <a:pt x="697" y="554"/>
                    <a:pt x="699" y="552"/>
                  </a:cubicBezTo>
                  <a:cubicBezTo>
                    <a:pt x="700" y="549"/>
                    <a:pt x="700" y="546"/>
                    <a:pt x="700" y="543"/>
                  </a:cubicBezTo>
                  <a:cubicBezTo>
                    <a:pt x="702" y="538"/>
                    <a:pt x="695" y="529"/>
                    <a:pt x="697" y="524"/>
                  </a:cubicBezTo>
                  <a:cubicBezTo>
                    <a:pt x="697" y="521"/>
                    <a:pt x="691" y="517"/>
                    <a:pt x="689" y="504"/>
                  </a:cubicBezTo>
                  <a:cubicBezTo>
                    <a:pt x="688" y="492"/>
                    <a:pt x="694" y="485"/>
                    <a:pt x="695" y="482"/>
                  </a:cubicBezTo>
                  <a:cubicBezTo>
                    <a:pt x="699" y="481"/>
                    <a:pt x="695" y="481"/>
                    <a:pt x="699" y="481"/>
                  </a:cubicBezTo>
                  <a:cubicBezTo>
                    <a:pt x="702" y="481"/>
                    <a:pt x="703" y="476"/>
                    <a:pt x="705" y="476"/>
                  </a:cubicBezTo>
                  <a:cubicBezTo>
                    <a:pt x="708" y="475"/>
                    <a:pt x="706" y="470"/>
                    <a:pt x="711" y="467"/>
                  </a:cubicBezTo>
                  <a:cubicBezTo>
                    <a:pt x="715" y="464"/>
                    <a:pt x="717" y="467"/>
                    <a:pt x="718" y="464"/>
                  </a:cubicBezTo>
                  <a:cubicBezTo>
                    <a:pt x="718" y="461"/>
                    <a:pt x="723" y="458"/>
                    <a:pt x="726" y="458"/>
                  </a:cubicBezTo>
                  <a:cubicBezTo>
                    <a:pt x="730" y="456"/>
                    <a:pt x="730" y="454"/>
                    <a:pt x="730" y="453"/>
                  </a:cubicBezTo>
                  <a:cubicBezTo>
                    <a:pt x="729" y="453"/>
                    <a:pt x="727" y="456"/>
                    <a:pt x="726" y="454"/>
                  </a:cubicBezTo>
                  <a:cubicBezTo>
                    <a:pt x="724" y="453"/>
                    <a:pt x="726" y="454"/>
                    <a:pt x="727" y="453"/>
                  </a:cubicBezTo>
                  <a:cubicBezTo>
                    <a:pt x="729" y="450"/>
                    <a:pt x="723" y="448"/>
                    <a:pt x="727" y="450"/>
                  </a:cubicBezTo>
                  <a:cubicBezTo>
                    <a:pt x="730" y="450"/>
                    <a:pt x="730" y="451"/>
                    <a:pt x="732" y="450"/>
                  </a:cubicBezTo>
                  <a:cubicBezTo>
                    <a:pt x="734" y="447"/>
                    <a:pt x="734" y="450"/>
                    <a:pt x="734" y="447"/>
                  </a:cubicBezTo>
                  <a:cubicBezTo>
                    <a:pt x="735" y="443"/>
                    <a:pt x="734" y="443"/>
                    <a:pt x="734" y="443"/>
                  </a:cubicBezTo>
                  <a:cubicBezTo>
                    <a:pt x="732" y="445"/>
                    <a:pt x="734" y="443"/>
                    <a:pt x="729" y="443"/>
                  </a:cubicBezTo>
                  <a:cubicBezTo>
                    <a:pt x="726" y="445"/>
                    <a:pt x="726" y="443"/>
                    <a:pt x="726" y="442"/>
                  </a:cubicBezTo>
                  <a:cubicBezTo>
                    <a:pt x="726" y="440"/>
                    <a:pt x="727" y="445"/>
                    <a:pt x="730" y="442"/>
                  </a:cubicBezTo>
                  <a:cubicBezTo>
                    <a:pt x="734" y="439"/>
                    <a:pt x="735" y="445"/>
                    <a:pt x="737" y="445"/>
                  </a:cubicBezTo>
                  <a:cubicBezTo>
                    <a:pt x="737" y="445"/>
                    <a:pt x="735" y="443"/>
                    <a:pt x="734" y="434"/>
                  </a:cubicBezTo>
                  <a:cubicBezTo>
                    <a:pt x="732" y="431"/>
                    <a:pt x="730" y="433"/>
                    <a:pt x="729" y="434"/>
                  </a:cubicBezTo>
                  <a:cubicBezTo>
                    <a:pt x="727" y="434"/>
                    <a:pt x="732" y="431"/>
                    <a:pt x="729" y="429"/>
                  </a:cubicBezTo>
                  <a:cubicBezTo>
                    <a:pt x="727" y="428"/>
                    <a:pt x="730" y="431"/>
                    <a:pt x="730" y="426"/>
                  </a:cubicBezTo>
                  <a:cubicBezTo>
                    <a:pt x="729" y="422"/>
                    <a:pt x="732" y="423"/>
                    <a:pt x="729" y="422"/>
                  </a:cubicBezTo>
                  <a:cubicBezTo>
                    <a:pt x="726" y="419"/>
                    <a:pt x="724" y="417"/>
                    <a:pt x="727" y="420"/>
                  </a:cubicBezTo>
                  <a:cubicBezTo>
                    <a:pt x="730" y="422"/>
                    <a:pt x="729" y="420"/>
                    <a:pt x="729" y="417"/>
                  </a:cubicBezTo>
                  <a:cubicBezTo>
                    <a:pt x="727" y="414"/>
                    <a:pt x="727" y="412"/>
                    <a:pt x="729" y="411"/>
                  </a:cubicBezTo>
                  <a:cubicBezTo>
                    <a:pt x="729" y="408"/>
                    <a:pt x="729" y="408"/>
                    <a:pt x="730" y="406"/>
                  </a:cubicBezTo>
                  <a:cubicBezTo>
                    <a:pt x="732" y="405"/>
                    <a:pt x="730" y="406"/>
                    <a:pt x="730" y="408"/>
                  </a:cubicBezTo>
                  <a:cubicBezTo>
                    <a:pt x="729" y="409"/>
                    <a:pt x="729" y="411"/>
                    <a:pt x="730" y="412"/>
                  </a:cubicBezTo>
                  <a:cubicBezTo>
                    <a:pt x="730" y="414"/>
                    <a:pt x="729" y="414"/>
                    <a:pt x="730" y="415"/>
                  </a:cubicBezTo>
                  <a:cubicBezTo>
                    <a:pt x="730" y="417"/>
                    <a:pt x="729" y="417"/>
                    <a:pt x="730" y="419"/>
                  </a:cubicBezTo>
                  <a:cubicBezTo>
                    <a:pt x="732" y="420"/>
                    <a:pt x="732" y="417"/>
                    <a:pt x="734" y="419"/>
                  </a:cubicBezTo>
                  <a:cubicBezTo>
                    <a:pt x="734" y="422"/>
                    <a:pt x="732" y="422"/>
                    <a:pt x="734" y="422"/>
                  </a:cubicBezTo>
                  <a:cubicBezTo>
                    <a:pt x="735" y="423"/>
                    <a:pt x="730" y="429"/>
                    <a:pt x="732" y="431"/>
                  </a:cubicBezTo>
                  <a:cubicBezTo>
                    <a:pt x="734" y="431"/>
                    <a:pt x="735" y="423"/>
                    <a:pt x="738" y="420"/>
                  </a:cubicBezTo>
                  <a:cubicBezTo>
                    <a:pt x="741" y="415"/>
                    <a:pt x="740" y="412"/>
                    <a:pt x="738" y="412"/>
                  </a:cubicBezTo>
                  <a:cubicBezTo>
                    <a:pt x="737" y="412"/>
                    <a:pt x="737" y="409"/>
                    <a:pt x="735" y="406"/>
                  </a:cubicBezTo>
                  <a:cubicBezTo>
                    <a:pt x="735" y="403"/>
                    <a:pt x="735" y="401"/>
                    <a:pt x="738" y="400"/>
                  </a:cubicBezTo>
                  <a:cubicBezTo>
                    <a:pt x="741" y="398"/>
                    <a:pt x="734" y="401"/>
                    <a:pt x="737" y="406"/>
                  </a:cubicBezTo>
                  <a:cubicBezTo>
                    <a:pt x="740" y="411"/>
                    <a:pt x="741" y="406"/>
                    <a:pt x="741" y="409"/>
                  </a:cubicBezTo>
                  <a:cubicBezTo>
                    <a:pt x="740" y="414"/>
                    <a:pt x="743" y="409"/>
                    <a:pt x="746" y="405"/>
                  </a:cubicBezTo>
                  <a:cubicBezTo>
                    <a:pt x="747" y="400"/>
                    <a:pt x="750" y="395"/>
                    <a:pt x="747" y="395"/>
                  </a:cubicBezTo>
                  <a:cubicBezTo>
                    <a:pt x="746" y="395"/>
                    <a:pt x="746" y="394"/>
                    <a:pt x="747" y="391"/>
                  </a:cubicBezTo>
                  <a:cubicBezTo>
                    <a:pt x="750" y="389"/>
                    <a:pt x="755" y="386"/>
                    <a:pt x="758" y="386"/>
                  </a:cubicBezTo>
                  <a:cubicBezTo>
                    <a:pt x="761" y="384"/>
                    <a:pt x="769" y="384"/>
                    <a:pt x="769" y="383"/>
                  </a:cubicBezTo>
                  <a:cubicBezTo>
                    <a:pt x="769" y="381"/>
                    <a:pt x="769" y="378"/>
                    <a:pt x="770" y="381"/>
                  </a:cubicBezTo>
                  <a:cubicBezTo>
                    <a:pt x="770" y="383"/>
                    <a:pt x="770" y="384"/>
                    <a:pt x="773" y="381"/>
                  </a:cubicBezTo>
                  <a:cubicBezTo>
                    <a:pt x="776" y="378"/>
                    <a:pt x="773" y="384"/>
                    <a:pt x="776" y="383"/>
                  </a:cubicBezTo>
                  <a:cubicBezTo>
                    <a:pt x="778" y="380"/>
                    <a:pt x="781" y="383"/>
                    <a:pt x="781" y="380"/>
                  </a:cubicBezTo>
                  <a:cubicBezTo>
                    <a:pt x="779" y="377"/>
                    <a:pt x="779" y="375"/>
                    <a:pt x="778" y="377"/>
                  </a:cubicBezTo>
                  <a:cubicBezTo>
                    <a:pt x="778" y="377"/>
                    <a:pt x="779" y="377"/>
                    <a:pt x="779" y="378"/>
                  </a:cubicBezTo>
                  <a:cubicBezTo>
                    <a:pt x="779" y="380"/>
                    <a:pt x="776" y="381"/>
                    <a:pt x="776" y="378"/>
                  </a:cubicBezTo>
                  <a:cubicBezTo>
                    <a:pt x="775" y="375"/>
                    <a:pt x="775" y="375"/>
                    <a:pt x="773" y="374"/>
                  </a:cubicBezTo>
                  <a:cubicBezTo>
                    <a:pt x="770" y="374"/>
                    <a:pt x="776" y="370"/>
                    <a:pt x="775" y="369"/>
                  </a:cubicBezTo>
                  <a:cubicBezTo>
                    <a:pt x="773" y="369"/>
                    <a:pt x="775" y="363"/>
                    <a:pt x="778" y="360"/>
                  </a:cubicBezTo>
                  <a:cubicBezTo>
                    <a:pt x="779" y="358"/>
                    <a:pt x="776" y="358"/>
                    <a:pt x="778" y="356"/>
                  </a:cubicBezTo>
                  <a:cubicBezTo>
                    <a:pt x="779" y="356"/>
                    <a:pt x="779" y="360"/>
                    <a:pt x="782" y="358"/>
                  </a:cubicBezTo>
                  <a:cubicBezTo>
                    <a:pt x="784" y="356"/>
                    <a:pt x="784" y="355"/>
                    <a:pt x="785" y="355"/>
                  </a:cubicBezTo>
                  <a:cubicBezTo>
                    <a:pt x="788" y="355"/>
                    <a:pt x="787" y="349"/>
                    <a:pt x="790" y="350"/>
                  </a:cubicBezTo>
                  <a:cubicBezTo>
                    <a:pt x="793" y="352"/>
                    <a:pt x="791" y="350"/>
                    <a:pt x="793" y="350"/>
                  </a:cubicBezTo>
                  <a:cubicBezTo>
                    <a:pt x="794" y="349"/>
                    <a:pt x="794" y="352"/>
                    <a:pt x="796" y="349"/>
                  </a:cubicBezTo>
                  <a:cubicBezTo>
                    <a:pt x="799" y="347"/>
                    <a:pt x="801" y="349"/>
                    <a:pt x="802" y="347"/>
                  </a:cubicBezTo>
                  <a:cubicBezTo>
                    <a:pt x="804" y="344"/>
                    <a:pt x="804" y="345"/>
                    <a:pt x="802" y="344"/>
                  </a:cubicBezTo>
                  <a:cubicBezTo>
                    <a:pt x="802" y="342"/>
                    <a:pt x="802" y="341"/>
                    <a:pt x="801" y="341"/>
                  </a:cubicBezTo>
                  <a:cubicBezTo>
                    <a:pt x="799" y="341"/>
                    <a:pt x="799" y="338"/>
                    <a:pt x="799" y="336"/>
                  </a:cubicBezTo>
                  <a:cubicBezTo>
                    <a:pt x="799" y="336"/>
                    <a:pt x="799" y="336"/>
                    <a:pt x="798" y="335"/>
                  </a:cubicBezTo>
                  <a:cubicBezTo>
                    <a:pt x="796" y="335"/>
                    <a:pt x="798" y="335"/>
                    <a:pt x="798" y="333"/>
                  </a:cubicBezTo>
                  <a:cubicBezTo>
                    <a:pt x="798" y="331"/>
                    <a:pt x="798" y="324"/>
                    <a:pt x="798" y="322"/>
                  </a:cubicBezTo>
                  <a:cubicBezTo>
                    <a:pt x="798" y="319"/>
                    <a:pt x="798" y="319"/>
                    <a:pt x="794" y="317"/>
                  </a:cubicBezTo>
                  <a:cubicBezTo>
                    <a:pt x="793" y="314"/>
                    <a:pt x="791" y="316"/>
                    <a:pt x="790" y="317"/>
                  </a:cubicBezTo>
                  <a:cubicBezTo>
                    <a:pt x="788" y="317"/>
                    <a:pt x="787" y="317"/>
                    <a:pt x="787" y="316"/>
                  </a:cubicBezTo>
                  <a:cubicBezTo>
                    <a:pt x="787" y="314"/>
                    <a:pt x="785" y="314"/>
                    <a:pt x="785" y="314"/>
                  </a:cubicBezTo>
                  <a:cubicBezTo>
                    <a:pt x="785" y="314"/>
                    <a:pt x="782" y="319"/>
                    <a:pt x="781" y="322"/>
                  </a:cubicBezTo>
                  <a:cubicBezTo>
                    <a:pt x="778" y="325"/>
                    <a:pt x="781" y="325"/>
                    <a:pt x="779" y="327"/>
                  </a:cubicBezTo>
                  <a:cubicBezTo>
                    <a:pt x="776" y="330"/>
                    <a:pt x="779" y="331"/>
                    <a:pt x="778" y="333"/>
                  </a:cubicBezTo>
                  <a:cubicBezTo>
                    <a:pt x="775" y="335"/>
                    <a:pt x="778" y="333"/>
                    <a:pt x="775" y="336"/>
                  </a:cubicBezTo>
                  <a:cubicBezTo>
                    <a:pt x="772" y="338"/>
                    <a:pt x="776" y="338"/>
                    <a:pt x="775" y="338"/>
                  </a:cubicBezTo>
                  <a:cubicBezTo>
                    <a:pt x="773" y="338"/>
                    <a:pt x="773" y="341"/>
                    <a:pt x="772" y="339"/>
                  </a:cubicBezTo>
                  <a:cubicBezTo>
                    <a:pt x="772" y="339"/>
                    <a:pt x="772" y="341"/>
                    <a:pt x="770" y="339"/>
                  </a:cubicBezTo>
                  <a:cubicBezTo>
                    <a:pt x="769" y="339"/>
                    <a:pt x="769" y="339"/>
                    <a:pt x="769" y="342"/>
                  </a:cubicBezTo>
                  <a:cubicBezTo>
                    <a:pt x="746" y="342"/>
                    <a:pt x="746" y="342"/>
                    <a:pt x="746" y="342"/>
                  </a:cubicBezTo>
                  <a:cubicBezTo>
                    <a:pt x="744" y="342"/>
                    <a:pt x="743" y="344"/>
                    <a:pt x="743" y="342"/>
                  </a:cubicBezTo>
                  <a:cubicBezTo>
                    <a:pt x="741" y="342"/>
                    <a:pt x="737" y="345"/>
                    <a:pt x="734" y="349"/>
                  </a:cubicBezTo>
                  <a:close/>
                  <a:moveTo>
                    <a:pt x="807" y="630"/>
                  </a:moveTo>
                  <a:cubicBezTo>
                    <a:pt x="810" y="629"/>
                    <a:pt x="808" y="630"/>
                    <a:pt x="813" y="630"/>
                  </a:cubicBezTo>
                  <a:cubicBezTo>
                    <a:pt x="816" y="629"/>
                    <a:pt x="817" y="625"/>
                    <a:pt x="811" y="625"/>
                  </a:cubicBezTo>
                  <a:cubicBezTo>
                    <a:pt x="805" y="624"/>
                    <a:pt x="802" y="624"/>
                    <a:pt x="802" y="629"/>
                  </a:cubicBezTo>
                  <a:cubicBezTo>
                    <a:pt x="804" y="630"/>
                    <a:pt x="802" y="630"/>
                    <a:pt x="807" y="630"/>
                  </a:cubicBezTo>
                  <a:close/>
                  <a:moveTo>
                    <a:pt x="100" y="619"/>
                  </a:moveTo>
                  <a:cubicBezTo>
                    <a:pt x="102" y="616"/>
                    <a:pt x="106" y="618"/>
                    <a:pt x="106" y="615"/>
                  </a:cubicBezTo>
                  <a:cubicBezTo>
                    <a:pt x="106" y="615"/>
                    <a:pt x="106" y="615"/>
                    <a:pt x="106" y="615"/>
                  </a:cubicBezTo>
                  <a:cubicBezTo>
                    <a:pt x="106" y="615"/>
                    <a:pt x="106" y="615"/>
                    <a:pt x="106" y="613"/>
                  </a:cubicBezTo>
                  <a:cubicBezTo>
                    <a:pt x="105" y="613"/>
                    <a:pt x="105" y="613"/>
                    <a:pt x="105" y="613"/>
                  </a:cubicBezTo>
                  <a:cubicBezTo>
                    <a:pt x="105" y="611"/>
                    <a:pt x="105" y="613"/>
                    <a:pt x="105" y="613"/>
                  </a:cubicBezTo>
                  <a:cubicBezTo>
                    <a:pt x="105" y="611"/>
                    <a:pt x="105" y="610"/>
                    <a:pt x="103" y="610"/>
                  </a:cubicBezTo>
                  <a:cubicBezTo>
                    <a:pt x="103" y="610"/>
                    <a:pt x="100" y="607"/>
                    <a:pt x="99" y="607"/>
                  </a:cubicBezTo>
                  <a:cubicBezTo>
                    <a:pt x="99" y="607"/>
                    <a:pt x="99" y="607"/>
                    <a:pt x="99" y="607"/>
                  </a:cubicBezTo>
                  <a:cubicBezTo>
                    <a:pt x="97" y="607"/>
                    <a:pt x="99" y="610"/>
                    <a:pt x="99" y="610"/>
                  </a:cubicBezTo>
                  <a:cubicBezTo>
                    <a:pt x="99" y="610"/>
                    <a:pt x="97" y="611"/>
                    <a:pt x="97" y="613"/>
                  </a:cubicBezTo>
                  <a:cubicBezTo>
                    <a:pt x="97" y="615"/>
                    <a:pt x="97" y="615"/>
                    <a:pt x="97" y="615"/>
                  </a:cubicBezTo>
                  <a:cubicBezTo>
                    <a:pt x="97" y="615"/>
                    <a:pt x="97" y="615"/>
                    <a:pt x="97" y="615"/>
                  </a:cubicBezTo>
                  <a:cubicBezTo>
                    <a:pt x="97" y="616"/>
                    <a:pt x="97" y="618"/>
                    <a:pt x="97" y="619"/>
                  </a:cubicBezTo>
                  <a:cubicBezTo>
                    <a:pt x="99" y="619"/>
                    <a:pt x="100" y="621"/>
                    <a:pt x="100" y="619"/>
                  </a:cubicBezTo>
                  <a:moveTo>
                    <a:pt x="96" y="601"/>
                  </a:moveTo>
                  <a:cubicBezTo>
                    <a:pt x="94" y="601"/>
                    <a:pt x="94" y="601"/>
                    <a:pt x="94" y="601"/>
                  </a:cubicBezTo>
                  <a:cubicBezTo>
                    <a:pt x="92" y="601"/>
                    <a:pt x="92" y="599"/>
                    <a:pt x="92" y="599"/>
                  </a:cubicBezTo>
                  <a:cubicBezTo>
                    <a:pt x="92" y="599"/>
                    <a:pt x="92" y="599"/>
                    <a:pt x="92" y="599"/>
                  </a:cubicBezTo>
                  <a:cubicBezTo>
                    <a:pt x="91" y="601"/>
                    <a:pt x="91" y="601"/>
                    <a:pt x="91" y="601"/>
                  </a:cubicBezTo>
                  <a:cubicBezTo>
                    <a:pt x="92" y="601"/>
                    <a:pt x="92" y="601"/>
                    <a:pt x="94" y="602"/>
                  </a:cubicBezTo>
                  <a:cubicBezTo>
                    <a:pt x="94" y="602"/>
                    <a:pt x="92" y="604"/>
                    <a:pt x="94" y="604"/>
                  </a:cubicBezTo>
                  <a:cubicBezTo>
                    <a:pt x="94" y="604"/>
                    <a:pt x="99" y="604"/>
                    <a:pt x="96" y="601"/>
                  </a:cubicBezTo>
                  <a:cubicBezTo>
                    <a:pt x="96" y="601"/>
                    <a:pt x="96" y="601"/>
                    <a:pt x="96" y="601"/>
                  </a:cubicBezTo>
                  <a:moveTo>
                    <a:pt x="82" y="593"/>
                  </a:moveTo>
                  <a:cubicBezTo>
                    <a:pt x="82" y="593"/>
                    <a:pt x="80" y="593"/>
                    <a:pt x="80" y="594"/>
                  </a:cubicBezTo>
                  <a:cubicBezTo>
                    <a:pt x="80" y="594"/>
                    <a:pt x="79" y="593"/>
                    <a:pt x="79" y="594"/>
                  </a:cubicBezTo>
                  <a:cubicBezTo>
                    <a:pt x="80" y="599"/>
                    <a:pt x="82" y="596"/>
                    <a:pt x="82" y="596"/>
                  </a:cubicBezTo>
                  <a:cubicBezTo>
                    <a:pt x="82" y="596"/>
                    <a:pt x="82" y="596"/>
                    <a:pt x="82" y="596"/>
                  </a:cubicBezTo>
                  <a:cubicBezTo>
                    <a:pt x="83" y="597"/>
                    <a:pt x="83" y="597"/>
                    <a:pt x="83" y="597"/>
                  </a:cubicBezTo>
                  <a:cubicBezTo>
                    <a:pt x="83" y="596"/>
                    <a:pt x="83" y="596"/>
                    <a:pt x="83" y="596"/>
                  </a:cubicBezTo>
                  <a:cubicBezTo>
                    <a:pt x="83" y="596"/>
                    <a:pt x="83" y="596"/>
                    <a:pt x="83" y="596"/>
                  </a:cubicBezTo>
                  <a:cubicBezTo>
                    <a:pt x="83" y="596"/>
                    <a:pt x="83" y="596"/>
                    <a:pt x="83" y="596"/>
                  </a:cubicBezTo>
                  <a:cubicBezTo>
                    <a:pt x="83" y="594"/>
                    <a:pt x="83" y="596"/>
                    <a:pt x="83" y="596"/>
                  </a:cubicBezTo>
                  <a:cubicBezTo>
                    <a:pt x="82" y="594"/>
                    <a:pt x="82" y="593"/>
                    <a:pt x="82" y="593"/>
                  </a:cubicBezTo>
                  <a:moveTo>
                    <a:pt x="71" y="590"/>
                  </a:moveTo>
                  <a:cubicBezTo>
                    <a:pt x="71" y="585"/>
                    <a:pt x="67" y="588"/>
                    <a:pt x="67" y="590"/>
                  </a:cubicBezTo>
                  <a:cubicBezTo>
                    <a:pt x="67" y="590"/>
                    <a:pt x="71" y="591"/>
                    <a:pt x="71" y="590"/>
                  </a:cubicBezTo>
                  <a:moveTo>
                    <a:pt x="89" y="601"/>
                  </a:moveTo>
                  <a:cubicBezTo>
                    <a:pt x="89" y="602"/>
                    <a:pt x="89" y="604"/>
                    <a:pt x="91" y="602"/>
                  </a:cubicBezTo>
                  <a:cubicBezTo>
                    <a:pt x="91" y="601"/>
                    <a:pt x="91" y="601"/>
                    <a:pt x="91" y="601"/>
                  </a:cubicBezTo>
                  <a:cubicBezTo>
                    <a:pt x="89" y="601"/>
                    <a:pt x="88" y="601"/>
                    <a:pt x="89" y="601"/>
                  </a:cubicBezTo>
                  <a:moveTo>
                    <a:pt x="92" y="604"/>
                  </a:moveTo>
                  <a:cubicBezTo>
                    <a:pt x="94" y="604"/>
                    <a:pt x="92" y="605"/>
                    <a:pt x="91" y="604"/>
                  </a:cubicBezTo>
                  <a:cubicBezTo>
                    <a:pt x="92" y="604"/>
                    <a:pt x="92" y="604"/>
                    <a:pt x="92" y="604"/>
                  </a:cubicBezTo>
                  <a:moveTo>
                    <a:pt x="89" y="597"/>
                  </a:moveTo>
                  <a:cubicBezTo>
                    <a:pt x="88" y="597"/>
                    <a:pt x="88" y="597"/>
                    <a:pt x="86" y="597"/>
                  </a:cubicBezTo>
                  <a:cubicBezTo>
                    <a:pt x="86" y="599"/>
                    <a:pt x="86" y="599"/>
                    <a:pt x="86" y="599"/>
                  </a:cubicBezTo>
                  <a:cubicBezTo>
                    <a:pt x="88" y="599"/>
                    <a:pt x="88" y="599"/>
                    <a:pt x="88" y="599"/>
                  </a:cubicBezTo>
                  <a:cubicBezTo>
                    <a:pt x="89" y="599"/>
                    <a:pt x="89" y="599"/>
                    <a:pt x="89" y="599"/>
                  </a:cubicBezTo>
                  <a:cubicBezTo>
                    <a:pt x="91" y="599"/>
                    <a:pt x="91" y="597"/>
                    <a:pt x="91" y="597"/>
                  </a:cubicBezTo>
                  <a:cubicBezTo>
                    <a:pt x="89" y="597"/>
                    <a:pt x="89" y="597"/>
                    <a:pt x="89" y="597"/>
                  </a:cubicBezTo>
                  <a:cubicBezTo>
                    <a:pt x="89" y="597"/>
                    <a:pt x="89" y="597"/>
                    <a:pt x="89" y="597"/>
                  </a:cubicBezTo>
                  <a:moveTo>
                    <a:pt x="65" y="590"/>
                  </a:moveTo>
                  <a:cubicBezTo>
                    <a:pt x="65" y="590"/>
                    <a:pt x="62" y="591"/>
                    <a:pt x="64" y="591"/>
                  </a:cubicBezTo>
                  <a:cubicBezTo>
                    <a:pt x="65" y="590"/>
                    <a:pt x="65" y="590"/>
                    <a:pt x="65" y="590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10" name="Freeform 290">
              <a:extLst>
                <a:ext uri="{FF2B5EF4-FFF2-40B4-BE49-F238E27FC236}">
                  <a16:creationId xmlns:a16="http://schemas.microsoft.com/office/drawing/2014/main" id="{50BF817D-0009-168D-A9E9-2589B9E838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87478" y="4585480"/>
              <a:ext cx="987954" cy="1230395"/>
            </a:xfrm>
            <a:custGeom>
              <a:avLst/>
              <a:gdLst/>
              <a:ahLst/>
              <a:cxnLst>
                <a:cxn ang="0">
                  <a:pos x="169" y="380"/>
                </a:cxn>
                <a:cxn ang="0">
                  <a:pos x="157" y="368"/>
                </a:cxn>
                <a:cxn ang="0">
                  <a:pos x="145" y="357"/>
                </a:cxn>
                <a:cxn ang="0">
                  <a:pos x="140" y="350"/>
                </a:cxn>
                <a:cxn ang="0">
                  <a:pos x="163" y="325"/>
                </a:cxn>
                <a:cxn ang="0">
                  <a:pos x="159" y="307"/>
                </a:cxn>
                <a:cxn ang="0">
                  <a:pos x="154" y="291"/>
                </a:cxn>
                <a:cxn ang="0">
                  <a:pos x="143" y="273"/>
                </a:cxn>
                <a:cxn ang="0">
                  <a:pos x="134" y="263"/>
                </a:cxn>
                <a:cxn ang="0">
                  <a:pos x="133" y="248"/>
                </a:cxn>
                <a:cxn ang="0">
                  <a:pos x="133" y="224"/>
                </a:cxn>
                <a:cxn ang="0">
                  <a:pos x="118" y="213"/>
                </a:cxn>
                <a:cxn ang="0">
                  <a:pos x="101" y="184"/>
                </a:cxn>
                <a:cxn ang="0">
                  <a:pos x="80" y="171"/>
                </a:cxn>
                <a:cxn ang="0">
                  <a:pos x="58" y="154"/>
                </a:cxn>
                <a:cxn ang="0">
                  <a:pos x="34" y="161"/>
                </a:cxn>
                <a:cxn ang="0">
                  <a:pos x="20" y="148"/>
                </a:cxn>
                <a:cxn ang="0">
                  <a:pos x="10" y="118"/>
                </a:cxn>
                <a:cxn ang="0">
                  <a:pos x="31" y="94"/>
                </a:cxn>
                <a:cxn ang="0">
                  <a:pos x="41" y="70"/>
                </a:cxn>
                <a:cxn ang="0">
                  <a:pos x="37" y="48"/>
                </a:cxn>
                <a:cxn ang="0">
                  <a:pos x="45" y="47"/>
                </a:cxn>
                <a:cxn ang="0">
                  <a:pos x="38" y="42"/>
                </a:cxn>
                <a:cxn ang="0">
                  <a:pos x="52" y="36"/>
                </a:cxn>
                <a:cxn ang="0">
                  <a:pos x="58" y="31"/>
                </a:cxn>
                <a:cxn ang="0">
                  <a:pos x="72" y="45"/>
                </a:cxn>
                <a:cxn ang="0">
                  <a:pos x="87" y="33"/>
                </a:cxn>
                <a:cxn ang="0">
                  <a:pos x="81" y="14"/>
                </a:cxn>
                <a:cxn ang="0">
                  <a:pos x="98" y="13"/>
                </a:cxn>
                <a:cxn ang="0">
                  <a:pos x="115" y="2"/>
                </a:cxn>
                <a:cxn ang="0">
                  <a:pos x="119" y="16"/>
                </a:cxn>
                <a:cxn ang="0">
                  <a:pos x="119" y="33"/>
                </a:cxn>
                <a:cxn ang="0">
                  <a:pos x="131" y="38"/>
                </a:cxn>
                <a:cxn ang="0">
                  <a:pos x="145" y="34"/>
                </a:cxn>
                <a:cxn ang="0">
                  <a:pos x="151" y="30"/>
                </a:cxn>
                <a:cxn ang="0">
                  <a:pos x="160" y="30"/>
                </a:cxn>
                <a:cxn ang="0">
                  <a:pos x="169" y="30"/>
                </a:cxn>
                <a:cxn ang="0">
                  <a:pos x="179" y="20"/>
                </a:cxn>
                <a:cxn ang="0">
                  <a:pos x="185" y="10"/>
                </a:cxn>
                <a:cxn ang="0">
                  <a:pos x="188" y="16"/>
                </a:cxn>
                <a:cxn ang="0">
                  <a:pos x="189" y="28"/>
                </a:cxn>
                <a:cxn ang="0">
                  <a:pos x="192" y="33"/>
                </a:cxn>
                <a:cxn ang="0">
                  <a:pos x="197" y="44"/>
                </a:cxn>
                <a:cxn ang="0">
                  <a:pos x="185" y="59"/>
                </a:cxn>
                <a:cxn ang="0">
                  <a:pos x="191" y="64"/>
                </a:cxn>
                <a:cxn ang="0">
                  <a:pos x="206" y="55"/>
                </a:cxn>
                <a:cxn ang="0">
                  <a:pos x="217" y="59"/>
                </a:cxn>
                <a:cxn ang="0">
                  <a:pos x="235" y="67"/>
                </a:cxn>
                <a:cxn ang="0">
                  <a:pos x="239" y="83"/>
                </a:cxn>
                <a:cxn ang="0">
                  <a:pos x="270" y="80"/>
                </a:cxn>
                <a:cxn ang="0">
                  <a:pos x="297" y="100"/>
                </a:cxn>
                <a:cxn ang="0">
                  <a:pos x="317" y="123"/>
                </a:cxn>
                <a:cxn ang="0">
                  <a:pos x="296" y="168"/>
                </a:cxn>
                <a:cxn ang="0">
                  <a:pos x="284" y="198"/>
                </a:cxn>
                <a:cxn ang="0">
                  <a:pos x="281" y="232"/>
                </a:cxn>
                <a:cxn ang="0">
                  <a:pos x="268" y="268"/>
                </a:cxn>
                <a:cxn ang="0">
                  <a:pos x="250" y="282"/>
                </a:cxn>
                <a:cxn ang="0">
                  <a:pos x="223" y="294"/>
                </a:cxn>
                <a:cxn ang="0">
                  <a:pos x="207" y="336"/>
                </a:cxn>
                <a:cxn ang="0">
                  <a:pos x="186" y="371"/>
                </a:cxn>
                <a:cxn ang="0">
                  <a:pos x="168" y="392"/>
                </a:cxn>
              </a:cxnLst>
              <a:rect l="0" t="0" r="r" b="b"/>
              <a:pathLst>
                <a:path w="319" h="392">
                  <a:moveTo>
                    <a:pt x="168" y="392"/>
                  </a:moveTo>
                  <a:cubicBezTo>
                    <a:pt x="166" y="385"/>
                    <a:pt x="174" y="386"/>
                    <a:pt x="169" y="380"/>
                  </a:cubicBezTo>
                  <a:cubicBezTo>
                    <a:pt x="166" y="375"/>
                    <a:pt x="168" y="375"/>
                    <a:pt x="163" y="374"/>
                  </a:cubicBezTo>
                  <a:cubicBezTo>
                    <a:pt x="160" y="371"/>
                    <a:pt x="162" y="371"/>
                    <a:pt x="157" y="368"/>
                  </a:cubicBezTo>
                  <a:cubicBezTo>
                    <a:pt x="153" y="366"/>
                    <a:pt x="154" y="361"/>
                    <a:pt x="151" y="364"/>
                  </a:cubicBezTo>
                  <a:cubicBezTo>
                    <a:pt x="146" y="366"/>
                    <a:pt x="150" y="361"/>
                    <a:pt x="145" y="357"/>
                  </a:cubicBezTo>
                  <a:cubicBezTo>
                    <a:pt x="139" y="352"/>
                    <a:pt x="139" y="360"/>
                    <a:pt x="136" y="355"/>
                  </a:cubicBezTo>
                  <a:cubicBezTo>
                    <a:pt x="137" y="354"/>
                    <a:pt x="137" y="352"/>
                    <a:pt x="140" y="350"/>
                  </a:cubicBezTo>
                  <a:cubicBezTo>
                    <a:pt x="142" y="350"/>
                    <a:pt x="142" y="347"/>
                    <a:pt x="148" y="340"/>
                  </a:cubicBezTo>
                  <a:cubicBezTo>
                    <a:pt x="153" y="332"/>
                    <a:pt x="159" y="329"/>
                    <a:pt x="163" y="325"/>
                  </a:cubicBezTo>
                  <a:cubicBezTo>
                    <a:pt x="168" y="322"/>
                    <a:pt x="168" y="316"/>
                    <a:pt x="166" y="310"/>
                  </a:cubicBezTo>
                  <a:cubicBezTo>
                    <a:pt x="163" y="302"/>
                    <a:pt x="162" y="308"/>
                    <a:pt x="159" y="307"/>
                  </a:cubicBezTo>
                  <a:cubicBezTo>
                    <a:pt x="162" y="305"/>
                    <a:pt x="163" y="293"/>
                    <a:pt x="160" y="290"/>
                  </a:cubicBezTo>
                  <a:cubicBezTo>
                    <a:pt x="159" y="288"/>
                    <a:pt x="157" y="291"/>
                    <a:pt x="154" y="291"/>
                  </a:cubicBezTo>
                  <a:cubicBezTo>
                    <a:pt x="151" y="291"/>
                    <a:pt x="154" y="288"/>
                    <a:pt x="151" y="276"/>
                  </a:cubicBezTo>
                  <a:cubicBezTo>
                    <a:pt x="150" y="273"/>
                    <a:pt x="145" y="271"/>
                    <a:pt x="143" y="273"/>
                  </a:cubicBezTo>
                  <a:cubicBezTo>
                    <a:pt x="143" y="274"/>
                    <a:pt x="133" y="273"/>
                    <a:pt x="133" y="271"/>
                  </a:cubicBezTo>
                  <a:cubicBezTo>
                    <a:pt x="134" y="268"/>
                    <a:pt x="133" y="268"/>
                    <a:pt x="134" y="263"/>
                  </a:cubicBezTo>
                  <a:cubicBezTo>
                    <a:pt x="136" y="260"/>
                    <a:pt x="131" y="255"/>
                    <a:pt x="131" y="252"/>
                  </a:cubicBezTo>
                  <a:cubicBezTo>
                    <a:pt x="134" y="251"/>
                    <a:pt x="134" y="251"/>
                    <a:pt x="133" y="248"/>
                  </a:cubicBezTo>
                  <a:cubicBezTo>
                    <a:pt x="133" y="246"/>
                    <a:pt x="136" y="243"/>
                    <a:pt x="134" y="240"/>
                  </a:cubicBezTo>
                  <a:cubicBezTo>
                    <a:pt x="134" y="238"/>
                    <a:pt x="140" y="227"/>
                    <a:pt x="133" y="224"/>
                  </a:cubicBezTo>
                  <a:cubicBezTo>
                    <a:pt x="128" y="223"/>
                    <a:pt x="128" y="218"/>
                    <a:pt x="130" y="215"/>
                  </a:cubicBezTo>
                  <a:cubicBezTo>
                    <a:pt x="131" y="212"/>
                    <a:pt x="122" y="213"/>
                    <a:pt x="118" y="213"/>
                  </a:cubicBezTo>
                  <a:cubicBezTo>
                    <a:pt x="113" y="212"/>
                    <a:pt x="116" y="192"/>
                    <a:pt x="111" y="187"/>
                  </a:cubicBezTo>
                  <a:cubicBezTo>
                    <a:pt x="107" y="182"/>
                    <a:pt x="105" y="189"/>
                    <a:pt x="101" y="184"/>
                  </a:cubicBezTo>
                  <a:cubicBezTo>
                    <a:pt x="98" y="181"/>
                    <a:pt x="99" y="184"/>
                    <a:pt x="95" y="179"/>
                  </a:cubicBezTo>
                  <a:cubicBezTo>
                    <a:pt x="89" y="175"/>
                    <a:pt x="86" y="178"/>
                    <a:pt x="80" y="171"/>
                  </a:cubicBezTo>
                  <a:cubicBezTo>
                    <a:pt x="73" y="165"/>
                    <a:pt x="73" y="159"/>
                    <a:pt x="75" y="151"/>
                  </a:cubicBezTo>
                  <a:cubicBezTo>
                    <a:pt x="78" y="145"/>
                    <a:pt x="66" y="148"/>
                    <a:pt x="58" y="154"/>
                  </a:cubicBezTo>
                  <a:cubicBezTo>
                    <a:pt x="49" y="162"/>
                    <a:pt x="51" y="164"/>
                    <a:pt x="41" y="161"/>
                  </a:cubicBezTo>
                  <a:cubicBezTo>
                    <a:pt x="37" y="159"/>
                    <a:pt x="37" y="162"/>
                    <a:pt x="34" y="161"/>
                  </a:cubicBezTo>
                  <a:cubicBezTo>
                    <a:pt x="31" y="161"/>
                    <a:pt x="34" y="143"/>
                    <a:pt x="31" y="148"/>
                  </a:cubicBezTo>
                  <a:cubicBezTo>
                    <a:pt x="29" y="151"/>
                    <a:pt x="19" y="156"/>
                    <a:pt x="20" y="148"/>
                  </a:cubicBezTo>
                  <a:cubicBezTo>
                    <a:pt x="20" y="142"/>
                    <a:pt x="11" y="148"/>
                    <a:pt x="13" y="143"/>
                  </a:cubicBezTo>
                  <a:cubicBezTo>
                    <a:pt x="14" y="139"/>
                    <a:pt x="0" y="126"/>
                    <a:pt x="10" y="118"/>
                  </a:cubicBezTo>
                  <a:cubicBezTo>
                    <a:pt x="16" y="115"/>
                    <a:pt x="13" y="108"/>
                    <a:pt x="17" y="101"/>
                  </a:cubicBezTo>
                  <a:cubicBezTo>
                    <a:pt x="23" y="97"/>
                    <a:pt x="25" y="98"/>
                    <a:pt x="31" y="94"/>
                  </a:cubicBezTo>
                  <a:cubicBezTo>
                    <a:pt x="37" y="90"/>
                    <a:pt x="34" y="97"/>
                    <a:pt x="38" y="94"/>
                  </a:cubicBezTo>
                  <a:cubicBezTo>
                    <a:pt x="38" y="92"/>
                    <a:pt x="40" y="76"/>
                    <a:pt x="41" y="70"/>
                  </a:cubicBezTo>
                  <a:cubicBezTo>
                    <a:pt x="43" y="62"/>
                    <a:pt x="40" y="62"/>
                    <a:pt x="41" y="59"/>
                  </a:cubicBezTo>
                  <a:cubicBezTo>
                    <a:pt x="41" y="56"/>
                    <a:pt x="38" y="61"/>
                    <a:pt x="37" y="48"/>
                  </a:cubicBezTo>
                  <a:cubicBezTo>
                    <a:pt x="37" y="45"/>
                    <a:pt x="40" y="47"/>
                    <a:pt x="41" y="45"/>
                  </a:cubicBezTo>
                  <a:cubicBezTo>
                    <a:pt x="41" y="45"/>
                    <a:pt x="43" y="47"/>
                    <a:pt x="45" y="47"/>
                  </a:cubicBezTo>
                  <a:cubicBezTo>
                    <a:pt x="45" y="48"/>
                    <a:pt x="45" y="42"/>
                    <a:pt x="43" y="42"/>
                  </a:cubicBezTo>
                  <a:cubicBezTo>
                    <a:pt x="40" y="42"/>
                    <a:pt x="38" y="42"/>
                    <a:pt x="38" y="42"/>
                  </a:cubicBezTo>
                  <a:cubicBezTo>
                    <a:pt x="38" y="36"/>
                    <a:pt x="38" y="36"/>
                    <a:pt x="38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1" y="34"/>
                    <a:pt x="51" y="31"/>
                    <a:pt x="54" y="34"/>
                  </a:cubicBezTo>
                  <a:cubicBezTo>
                    <a:pt x="55" y="38"/>
                    <a:pt x="57" y="31"/>
                    <a:pt x="58" y="31"/>
                  </a:cubicBezTo>
                  <a:cubicBezTo>
                    <a:pt x="63" y="38"/>
                    <a:pt x="58" y="42"/>
                    <a:pt x="63" y="41"/>
                  </a:cubicBezTo>
                  <a:cubicBezTo>
                    <a:pt x="66" y="47"/>
                    <a:pt x="69" y="44"/>
                    <a:pt x="72" y="45"/>
                  </a:cubicBezTo>
                  <a:cubicBezTo>
                    <a:pt x="76" y="47"/>
                    <a:pt x="75" y="41"/>
                    <a:pt x="81" y="39"/>
                  </a:cubicBezTo>
                  <a:cubicBezTo>
                    <a:pt x="87" y="39"/>
                    <a:pt x="83" y="34"/>
                    <a:pt x="87" y="33"/>
                  </a:cubicBezTo>
                  <a:cubicBezTo>
                    <a:pt x="92" y="30"/>
                    <a:pt x="90" y="27"/>
                    <a:pt x="87" y="28"/>
                  </a:cubicBezTo>
                  <a:cubicBezTo>
                    <a:pt x="84" y="30"/>
                    <a:pt x="84" y="19"/>
                    <a:pt x="81" y="14"/>
                  </a:cubicBezTo>
                  <a:cubicBezTo>
                    <a:pt x="78" y="10"/>
                    <a:pt x="86" y="13"/>
                    <a:pt x="92" y="16"/>
                  </a:cubicBezTo>
                  <a:cubicBezTo>
                    <a:pt x="99" y="20"/>
                    <a:pt x="93" y="11"/>
                    <a:pt x="98" y="13"/>
                  </a:cubicBezTo>
                  <a:cubicBezTo>
                    <a:pt x="102" y="13"/>
                    <a:pt x="113" y="8"/>
                    <a:pt x="111" y="2"/>
                  </a:cubicBezTo>
                  <a:cubicBezTo>
                    <a:pt x="111" y="2"/>
                    <a:pt x="113" y="2"/>
                    <a:pt x="115" y="2"/>
                  </a:cubicBezTo>
                  <a:cubicBezTo>
                    <a:pt x="116" y="0"/>
                    <a:pt x="118" y="3"/>
                    <a:pt x="116" y="6"/>
                  </a:cubicBezTo>
                  <a:cubicBezTo>
                    <a:pt x="115" y="11"/>
                    <a:pt x="122" y="10"/>
                    <a:pt x="119" y="16"/>
                  </a:cubicBezTo>
                  <a:cubicBezTo>
                    <a:pt x="119" y="19"/>
                    <a:pt x="119" y="19"/>
                    <a:pt x="118" y="25"/>
                  </a:cubicBezTo>
                  <a:cubicBezTo>
                    <a:pt x="116" y="31"/>
                    <a:pt x="119" y="28"/>
                    <a:pt x="119" y="33"/>
                  </a:cubicBezTo>
                  <a:cubicBezTo>
                    <a:pt x="119" y="38"/>
                    <a:pt x="125" y="42"/>
                    <a:pt x="127" y="41"/>
                  </a:cubicBezTo>
                  <a:cubicBezTo>
                    <a:pt x="130" y="39"/>
                    <a:pt x="128" y="38"/>
                    <a:pt x="131" y="38"/>
                  </a:cubicBezTo>
                  <a:cubicBezTo>
                    <a:pt x="134" y="39"/>
                    <a:pt x="136" y="34"/>
                    <a:pt x="139" y="33"/>
                  </a:cubicBezTo>
                  <a:cubicBezTo>
                    <a:pt x="142" y="33"/>
                    <a:pt x="140" y="34"/>
                    <a:pt x="145" y="34"/>
                  </a:cubicBezTo>
                  <a:cubicBezTo>
                    <a:pt x="146" y="33"/>
                    <a:pt x="151" y="38"/>
                    <a:pt x="150" y="33"/>
                  </a:cubicBezTo>
                  <a:cubicBezTo>
                    <a:pt x="148" y="30"/>
                    <a:pt x="148" y="28"/>
                    <a:pt x="151" y="30"/>
                  </a:cubicBezTo>
                  <a:cubicBezTo>
                    <a:pt x="153" y="31"/>
                    <a:pt x="157" y="25"/>
                    <a:pt x="157" y="28"/>
                  </a:cubicBezTo>
                  <a:cubicBezTo>
                    <a:pt x="157" y="30"/>
                    <a:pt x="159" y="28"/>
                    <a:pt x="160" y="30"/>
                  </a:cubicBezTo>
                  <a:cubicBezTo>
                    <a:pt x="162" y="33"/>
                    <a:pt x="163" y="33"/>
                    <a:pt x="165" y="31"/>
                  </a:cubicBezTo>
                  <a:cubicBezTo>
                    <a:pt x="166" y="28"/>
                    <a:pt x="166" y="33"/>
                    <a:pt x="169" y="30"/>
                  </a:cubicBezTo>
                  <a:cubicBezTo>
                    <a:pt x="171" y="28"/>
                    <a:pt x="169" y="31"/>
                    <a:pt x="172" y="31"/>
                  </a:cubicBezTo>
                  <a:cubicBezTo>
                    <a:pt x="175" y="31"/>
                    <a:pt x="177" y="24"/>
                    <a:pt x="179" y="20"/>
                  </a:cubicBezTo>
                  <a:cubicBezTo>
                    <a:pt x="182" y="16"/>
                    <a:pt x="182" y="16"/>
                    <a:pt x="183" y="14"/>
                  </a:cubicBezTo>
                  <a:cubicBezTo>
                    <a:pt x="185" y="11"/>
                    <a:pt x="183" y="11"/>
                    <a:pt x="185" y="10"/>
                  </a:cubicBezTo>
                  <a:cubicBezTo>
                    <a:pt x="185" y="10"/>
                    <a:pt x="186" y="13"/>
                    <a:pt x="186" y="14"/>
                  </a:cubicBezTo>
                  <a:cubicBezTo>
                    <a:pt x="188" y="16"/>
                    <a:pt x="188" y="14"/>
                    <a:pt x="188" y="16"/>
                  </a:cubicBezTo>
                  <a:cubicBezTo>
                    <a:pt x="188" y="19"/>
                    <a:pt x="188" y="24"/>
                    <a:pt x="189" y="25"/>
                  </a:cubicBezTo>
                  <a:cubicBezTo>
                    <a:pt x="189" y="25"/>
                    <a:pt x="189" y="27"/>
                    <a:pt x="189" y="28"/>
                  </a:cubicBezTo>
                  <a:cubicBezTo>
                    <a:pt x="189" y="30"/>
                    <a:pt x="191" y="30"/>
                    <a:pt x="191" y="31"/>
                  </a:cubicBezTo>
                  <a:cubicBezTo>
                    <a:pt x="191" y="33"/>
                    <a:pt x="191" y="31"/>
                    <a:pt x="192" y="33"/>
                  </a:cubicBezTo>
                  <a:cubicBezTo>
                    <a:pt x="192" y="34"/>
                    <a:pt x="192" y="36"/>
                    <a:pt x="194" y="36"/>
                  </a:cubicBezTo>
                  <a:cubicBezTo>
                    <a:pt x="197" y="34"/>
                    <a:pt x="198" y="42"/>
                    <a:pt x="197" y="44"/>
                  </a:cubicBezTo>
                  <a:cubicBezTo>
                    <a:pt x="192" y="44"/>
                    <a:pt x="192" y="52"/>
                    <a:pt x="188" y="53"/>
                  </a:cubicBezTo>
                  <a:cubicBezTo>
                    <a:pt x="183" y="55"/>
                    <a:pt x="186" y="56"/>
                    <a:pt x="185" y="59"/>
                  </a:cubicBezTo>
                  <a:cubicBezTo>
                    <a:pt x="182" y="62"/>
                    <a:pt x="189" y="56"/>
                    <a:pt x="188" y="62"/>
                  </a:cubicBezTo>
                  <a:cubicBezTo>
                    <a:pt x="185" y="67"/>
                    <a:pt x="189" y="59"/>
                    <a:pt x="191" y="64"/>
                  </a:cubicBezTo>
                  <a:cubicBezTo>
                    <a:pt x="191" y="69"/>
                    <a:pt x="188" y="53"/>
                    <a:pt x="195" y="55"/>
                  </a:cubicBezTo>
                  <a:cubicBezTo>
                    <a:pt x="203" y="56"/>
                    <a:pt x="200" y="53"/>
                    <a:pt x="206" y="55"/>
                  </a:cubicBezTo>
                  <a:cubicBezTo>
                    <a:pt x="214" y="58"/>
                    <a:pt x="204" y="62"/>
                    <a:pt x="206" y="67"/>
                  </a:cubicBezTo>
                  <a:cubicBezTo>
                    <a:pt x="207" y="70"/>
                    <a:pt x="209" y="59"/>
                    <a:pt x="217" y="59"/>
                  </a:cubicBezTo>
                  <a:cubicBezTo>
                    <a:pt x="223" y="59"/>
                    <a:pt x="223" y="62"/>
                    <a:pt x="226" y="62"/>
                  </a:cubicBezTo>
                  <a:cubicBezTo>
                    <a:pt x="229" y="62"/>
                    <a:pt x="229" y="66"/>
                    <a:pt x="235" y="67"/>
                  </a:cubicBezTo>
                  <a:cubicBezTo>
                    <a:pt x="241" y="69"/>
                    <a:pt x="238" y="70"/>
                    <a:pt x="241" y="73"/>
                  </a:cubicBezTo>
                  <a:cubicBezTo>
                    <a:pt x="242" y="75"/>
                    <a:pt x="238" y="81"/>
                    <a:pt x="239" y="83"/>
                  </a:cubicBezTo>
                  <a:cubicBezTo>
                    <a:pt x="241" y="84"/>
                    <a:pt x="245" y="75"/>
                    <a:pt x="250" y="76"/>
                  </a:cubicBezTo>
                  <a:cubicBezTo>
                    <a:pt x="255" y="78"/>
                    <a:pt x="261" y="81"/>
                    <a:pt x="270" y="80"/>
                  </a:cubicBezTo>
                  <a:cubicBezTo>
                    <a:pt x="277" y="78"/>
                    <a:pt x="281" y="83"/>
                    <a:pt x="287" y="87"/>
                  </a:cubicBezTo>
                  <a:cubicBezTo>
                    <a:pt x="293" y="94"/>
                    <a:pt x="288" y="94"/>
                    <a:pt x="297" y="100"/>
                  </a:cubicBezTo>
                  <a:cubicBezTo>
                    <a:pt x="306" y="106"/>
                    <a:pt x="306" y="100"/>
                    <a:pt x="311" y="104"/>
                  </a:cubicBezTo>
                  <a:cubicBezTo>
                    <a:pt x="316" y="108"/>
                    <a:pt x="316" y="114"/>
                    <a:pt x="317" y="123"/>
                  </a:cubicBezTo>
                  <a:cubicBezTo>
                    <a:pt x="319" y="133"/>
                    <a:pt x="316" y="137"/>
                    <a:pt x="308" y="148"/>
                  </a:cubicBezTo>
                  <a:cubicBezTo>
                    <a:pt x="302" y="161"/>
                    <a:pt x="300" y="156"/>
                    <a:pt x="296" y="168"/>
                  </a:cubicBezTo>
                  <a:cubicBezTo>
                    <a:pt x="291" y="179"/>
                    <a:pt x="290" y="184"/>
                    <a:pt x="287" y="178"/>
                  </a:cubicBezTo>
                  <a:cubicBezTo>
                    <a:pt x="284" y="171"/>
                    <a:pt x="284" y="192"/>
                    <a:pt x="284" y="198"/>
                  </a:cubicBezTo>
                  <a:cubicBezTo>
                    <a:pt x="282" y="204"/>
                    <a:pt x="287" y="206"/>
                    <a:pt x="284" y="213"/>
                  </a:cubicBezTo>
                  <a:cubicBezTo>
                    <a:pt x="281" y="221"/>
                    <a:pt x="284" y="229"/>
                    <a:pt x="281" y="232"/>
                  </a:cubicBezTo>
                  <a:cubicBezTo>
                    <a:pt x="276" y="234"/>
                    <a:pt x="281" y="240"/>
                    <a:pt x="276" y="249"/>
                  </a:cubicBezTo>
                  <a:cubicBezTo>
                    <a:pt x="271" y="259"/>
                    <a:pt x="265" y="262"/>
                    <a:pt x="268" y="268"/>
                  </a:cubicBezTo>
                  <a:cubicBezTo>
                    <a:pt x="270" y="273"/>
                    <a:pt x="259" y="276"/>
                    <a:pt x="261" y="279"/>
                  </a:cubicBezTo>
                  <a:cubicBezTo>
                    <a:pt x="262" y="282"/>
                    <a:pt x="256" y="280"/>
                    <a:pt x="250" y="282"/>
                  </a:cubicBezTo>
                  <a:cubicBezTo>
                    <a:pt x="242" y="283"/>
                    <a:pt x="247" y="280"/>
                    <a:pt x="241" y="282"/>
                  </a:cubicBezTo>
                  <a:cubicBezTo>
                    <a:pt x="236" y="283"/>
                    <a:pt x="238" y="288"/>
                    <a:pt x="223" y="294"/>
                  </a:cubicBezTo>
                  <a:cubicBezTo>
                    <a:pt x="218" y="296"/>
                    <a:pt x="209" y="304"/>
                    <a:pt x="209" y="311"/>
                  </a:cubicBezTo>
                  <a:cubicBezTo>
                    <a:pt x="207" y="321"/>
                    <a:pt x="210" y="329"/>
                    <a:pt x="207" y="336"/>
                  </a:cubicBezTo>
                  <a:cubicBezTo>
                    <a:pt x="203" y="343"/>
                    <a:pt x="203" y="338"/>
                    <a:pt x="198" y="349"/>
                  </a:cubicBezTo>
                  <a:cubicBezTo>
                    <a:pt x="194" y="358"/>
                    <a:pt x="192" y="366"/>
                    <a:pt x="186" y="371"/>
                  </a:cubicBezTo>
                  <a:cubicBezTo>
                    <a:pt x="179" y="377"/>
                    <a:pt x="179" y="377"/>
                    <a:pt x="175" y="385"/>
                  </a:cubicBezTo>
                  <a:cubicBezTo>
                    <a:pt x="175" y="389"/>
                    <a:pt x="171" y="388"/>
                    <a:pt x="168" y="392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11" name="Freeform 291">
              <a:extLst>
                <a:ext uri="{FF2B5EF4-FFF2-40B4-BE49-F238E27FC236}">
                  <a16:creationId xmlns:a16="http://schemas.microsoft.com/office/drawing/2014/main" id="{062493A3-667D-0E0D-F536-F2479737B94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85996" y="4682617"/>
              <a:ext cx="7980" cy="97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3"/>
                </a:cxn>
                <a:cxn ang="0">
                  <a:pos x="0" y="0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cubicBezTo>
                    <a:pt x="1" y="0"/>
                    <a:pt x="3" y="3"/>
                    <a:pt x="1" y="3"/>
                  </a:cubicBezTo>
                  <a:cubicBezTo>
                    <a:pt x="1" y="3"/>
                    <a:pt x="0" y="2"/>
                    <a:pt x="0" y="0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12" name="Freeform 292">
              <a:extLst>
                <a:ext uri="{FF2B5EF4-FFF2-40B4-BE49-F238E27FC236}">
                  <a16:creationId xmlns:a16="http://schemas.microsoft.com/office/drawing/2014/main" id="{7DBD8BDC-AAB6-8E61-7BD6-006D707164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85996" y="4729566"/>
              <a:ext cx="11172" cy="12952"/>
            </a:xfrm>
            <a:custGeom>
              <a:avLst/>
              <a:gdLst/>
              <a:ahLst/>
              <a:cxnLst>
                <a:cxn ang="0">
                  <a:pos x="3" y="1"/>
                </a:cxn>
                <a:cxn ang="0">
                  <a:pos x="3" y="4"/>
                </a:cxn>
                <a:cxn ang="0">
                  <a:pos x="3" y="1"/>
                </a:cxn>
              </a:cxnLst>
              <a:rect l="0" t="0" r="r" b="b"/>
              <a:pathLst>
                <a:path w="4" h="4">
                  <a:moveTo>
                    <a:pt x="3" y="1"/>
                  </a:moveTo>
                  <a:cubicBezTo>
                    <a:pt x="4" y="0"/>
                    <a:pt x="3" y="3"/>
                    <a:pt x="3" y="4"/>
                  </a:cubicBezTo>
                  <a:cubicBezTo>
                    <a:pt x="1" y="4"/>
                    <a:pt x="0" y="3"/>
                    <a:pt x="3" y="1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13" name="Freeform 293">
              <a:extLst>
                <a:ext uri="{FF2B5EF4-FFF2-40B4-BE49-F238E27FC236}">
                  <a16:creationId xmlns:a16="http://schemas.microsoft.com/office/drawing/2014/main" id="{79FC5A62-50C4-098C-2053-0770804944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79613" y="4732804"/>
              <a:ext cx="7980" cy="14570"/>
            </a:xfrm>
            <a:custGeom>
              <a:avLst/>
              <a:gdLst/>
              <a:ahLst/>
              <a:cxnLst>
                <a:cxn ang="0">
                  <a:pos x="3" y="5"/>
                </a:cxn>
                <a:cxn ang="0">
                  <a:pos x="2" y="2"/>
                </a:cxn>
                <a:cxn ang="0">
                  <a:pos x="3" y="2"/>
                </a:cxn>
                <a:cxn ang="0">
                  <a:pos x="3" y="5"/>
                </a:cxn>
              </a:cxnLst>
              <a:rect l="0" t="0" r="r" b="b"/>
              <a:pathLst>
                <a:path w="3" h="5">
                  <a:moveTo>
                    <a:pt x="3" y="5"/>
                  </a:moveTo>
                  <a:cubicBezTo>
                    <a:pt x="0" y="5"/>
                    <a:pt x="2" y="3"/>
                    <a:pt x="2" y="2"/>
                  </a:cubicBezTo>
                  <a:cubicBezTo>
                    <a:pt x="2" y="2"/>
                    <a:pt x="2" y="0"/>
                    <a:pt x="3" y="2"/>
                  </a:cubicBezTo>
                  <a:cubicBezTo>
                    <a:pt x="3" y="3"/>
                    <a:pt x="3" y="5"/>
                    <a:pt x="3" y="5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14" name="Freeform 294">
              <a:extLst>
                <a:ext uri="{FF2B5EF4-FFF2-40B4-BE49-F238E27FC236}">
                  <a16:creationId xmlns:a16="http://schemas.microsoft.com/office/drawing/2014/main" id="{2D066EA5-C401-8ECB-1E7F-D8F0C357BB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60459" y="4757088"/>
              <a:ext cx="9577" cy="9713"/>
            </a:xfrm>
            <a:custGeom>
              <a:avLst/>
              <a:gdLst/>
              <a:ahLst/>
              <a:cxnLst>
                <a:cxn ang="0">
                  <a:pos x="2" y="3"/>
                </a:cxn>
                <a:cxn ang="0">
                  <a:pos x="2" y="0"/>
                </a:cxn>
                <a:cxn ang="0">
                  <a:pos x="2" y="3"/>
                </a:cxn>
              </a:cxnLst>
              <a:rect l="0" t="0" r="r" b="b"/>
              <a:pathLst>
                <a:path w="3" h="3">
                  <a:moveTo>
                    <a:pt x="2" y="3"/>
                  </a:moveTo>
                  <a:cubicBezTo>
                    <a:pt x="0" y="3"/>
                    <a:pt x="2" y="0"/>
                    <a:pt x="2" y="0"/>
                  </a:cubicBezTo>
                  <a:cubicBezTo>
                    <a:pt x="3" y="0"/>
                    <a:pt x="2" y="3"/>
                    <a:pt x="2" y="3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15" name="Freeform 295">
              <a:extLst>
                <a:ext uri="{FF2B5EF4-FFF2-40B4-BE49-F238E27FC236}">
                  <a16:creationId xmlns:a16="http://schemas.microsoft.com/office/drawing/2014/main" id="{22EEFE47-4ABF-0878-2527-6B48C0CC86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66844" y="4766801"/>
              <a:ext cx="9577" cy="9713"/>
            </a:xfrm>
            <a:custGeom>
              <a:avLst/>
              <a:gdLst/>
              <a:ahLst/>
              <a:cxnLst>
                <a:cxn ang="0">
                  <a:pos x="1" y="3"/>
                </a:cxn>
                <a:cxn ang="0">
                  <a:pos x="3" y="1"/>
                </a:cxn>
                <a:cxn ang="0">
                  <a:pos x="1" y="3"/>
                </a:cxn>
              </a:cxnLst>
              <a:rect l="0" t="0" r="r" b="b"/>
              <a:pathLst>
                <a:path w="3" h="3">
                  <a:moveTo>
                    <a:pt x="1" y="3"/>
                  </a:moveTo>
                  <a:cubicBezTo>
                    <a:pt x="0" y="3"/>
                    <a:pt x="3" y="0"/>
                    <a:pt x="3" y="1"/>
                  </a:cubicBezTo>
                  <a:cubicBezTo>
                    <a:pt x="3" y="1"/>
                    <a:pt x="3" y="3"/>
                    <a:pt x="1" y="3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16" name="Freeform 296">
              <a:extLst>
                <a:ext uri="{FF2B5EF4-FFF2-40B4-BE49-F238E27FC236}">
                  <a16:creationId xmlns:a16="http://schemas.microsoft.com/office/drawing/2014/main" id="{CBB7FB79-B903-853F-7695-343E4D6BE2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66844" y="4760326"/>
              <a:ext cx="9577" cy="6475"/>
            </a:xfrm>
            <a:custGeom>
              <a:avLst/>
              <a:gdLst/>
              <a:ahLst/>
              <a:cxnLst>
                <a:cxn ang="0">
                  <a:pos x="1" y="2"/>
                </a:cxn>
                <a:cxn ang="0">
                  <a:pos x="3" y="0"/>
                </a:cxn>
                <a:cxn ang="0">
                  <a:pos x="1" y="2"/>
                </a:cxn>
              </a:cxnLst>
              <a:rect l="0" t="0" r="r" b="b"/>
              <a:pathLst>
                <a:path w="3" h="2">
                  <a:moveTo>
                    <a:pt x="1" y="2"/>
                  </a:moveTo>
                  <a:cubicBezTo>
                    <a:pt x="0" y="2"/>
                    <a:pt x="1" y="0"/>
                    <a:pt x="3" y="0"/>
                  </a:cubicBezTo>
                  <a:cubicBezTo>
                    <a:pt x="1" y="2"/>
                    <a:pt x="1" y="2"/>
                    <a:pt x="1" y="2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17" name="Freeform 297">
              <a:extLst>
                <a:ext uri="{FF2B5EF4-FFF2-40B4-BE49-F238E27FC236}">
                  <a16:creationId xmlns:a16="http://schemas.microsoft.com/office/drawing/2014/main" id="{AAEC2B03-25B2-E0A6-585B-18378469EB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87593" y="4723090"/>
              <a:ext cx="9577" cy="971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3" y="2"/>
                </a:cxn>
                <a:cxn ang="0">
                  <a:pos x="0" y="2"/>
                </a:cxn>
              </a:cxnLst>
              <a:rect l="0" t="0" r="r" b="b"/>
              <a:pathLst>
                <a:path w="3" h="3">
                  <a:moveTo>
                    <a:pt x="0" y="2"/>
                  </a:moveTo>
                  <a:cubicBezTo>
                    <a:pt x="0" y="2"/>
                    <a:pt x="2" y="0"/>
                    <a:pt x="3" y="2"/>
                  </a:cubicBezTo>
                  <a:cubicBezTo>
                    <a:pt x="3" y="2"/>
                    <a:pt x="0" y="3"/>
                    <a:pt x="0" y="2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18" name="Freeform 298">
              <a:extLst>
                <a:ext uri="{FF2B5EF4-FFF2-40B4-BE49-F238E27FC236}">
                  <a16:creationId xmlns:a16="http://schemas.microsoft.com/office/drawing/2014/main" id="{9F65E23F-B4A4-41D0-7892-37FE5A65AE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79991" y="4452727"/>
              <a:ext cx="151625" cy="79329"/>
            </a:xfrm>
            <a:custGeom>
              <a:avLst/>
              <a:gdLst/>
              <a:ahLst/>
              <a:cxnLst>
                <a:cxn ang="0">
                  <a:pos x="46" y="10"/>
                </a:cxn>
                <a:cxn ang="0">
                  <a:pos x="36" y="2"/>
                </a:cxn>
                <a:cxn ang="0">
                  <a:pos x="31" y="0"/>
                </a:cxn>
                <a:cxn ang="0">
                  <a:pos x="25" y="3"/>
                </a:cxn>
                <a:cxn ang="0">
                  <a:pos x="16" y="10"/>
                </a:cxn>
                <a:cxn ang="0">
                  <a:pos x="13" y="6"/>
                </a:cxn>
                <a:cxn ang="0">
                  <a:pos x="11" y="5"/>
                </a:cxn>
                <a:cxn ang="0">
                  <a:pos x="10" y="6"/>
                </a:cxn>
                <a:cxn ang="0">
                  <a:pos x="8" y="6"/>
                </a:cxn>
                <a:cxn ang="0">
                  <a:pos x="8" y="5"/>
                </a:cxn>
                <a:cxn ang="0">
                  <a:pos x="7" y="3"/>
                </a:cxn>
                <a:cxn ang="0">
                  <a:pos x="5" y="2"/>
                </a:cxn>
                <a:cxn ang="0">
                  <a:pos x="4" y="0"/>
                </a:cxn>
                <a:cxn ang="0">
                  <a:pos x="2" y="6"/>
                </a:cxn>
                <a:cxn ang="0">
                  <a:pos x="4" y="8"/>
                </a:cxn>
                <a:cxn ang="0">
                  <a:pos x="2" y="11"/>
                </a:cxn>
                <a:cxn ang="0">
                  <a:pos x="2" y="16"/>
                </a:cxn>
                <a:cxn ang="0">
                  <a:pos x="4" y="14"/>
                </a:cxn>
                <a:cxn ang="0">
                  <a:pos x="11" y="16"/>
                </a:cxn>
                <a:cxn ang="0">
                  <a:pos x="13" y="17"/>
                </a:cxn>
                <a:cxn ang="0">
                  <a:pos x="14" y="19"/>
                </a:cxn>
                <a:cxn ang="0">
                  <a:pos x="16" y="19"/>
                </a:cxn>
                <a:cxn ang="0">
                  <a:pos x="17" y="19"/>
                </a:cxn>
                <a:cxn ang="0">
                  <a:pos x="19" y="24"/>
                </a:cxn>
                <a:cxn ang="0">
                  <a:pos x="22" y="24"/>
                </a:cxn>
                <a:cxn ang="0">
                  <a:pos x="23" y="22"/>
                </a:cxn>
                <a:cxn ang="0">
                  <a:pos x="25" y="19"/>
                </a:cxn>
                <a:cxn ang="0">
                  <a:pos x="22" y="16"/>
                </a:cxn>
                <a:cxn ang="0">
                  <a:pos x="22" y="14"/>
                </a:cxn>
                <a:cxn ang="0">
                  <a:pos x="28" y="10"/>
                </a:cxn>
                <a:cxn ang="0">
                  <a:pos x="28" y="8"/>
                </a:cxn>
                <a:cxn ang="0">
                  <a:pos x="31" y="6"/>
                </a:cxn>
                <a:cxn ang="0">
                  <a:pos x="37" y="11"/>
                </a:cxn>
                <a:cxn ang="0">
                  <a:pos x="39" y="13"/>
                </a:cxn>
                <a:cxn ang="0">
                  <a:pos x="40" y="13"/>
                </a:cxn>
                <a:cxn ang="0">
                  <a:pos x="39" y="17"/>
                </a:cxn>
                <a:cxn ang="0">
                  <a:pos x="42" y="24"/>
                </a:cxn>
                <a:cxn ang="0">
                  <a:pos x="43" y="19"/>
                </a:cxn>
                <a:cxn ang="0">
                  <a:pos x="46" y="20"/>
                </a:cxn>
                <a:cxn ang="0">
                  <a:pos x="48" y="17"/>
                </a:cxn>
                <a:cxn ang="0">
                  <a:pos x="46" y="10"/>
                </a:cxn>
              </a:cxnLst>
              <a:rect l="0" t="0" r="r" b="b"/>
              <a:pathLst>
                <a:path w="49" h="25">
                  <a:moveTo>
                    <a:pt x="46" y="10"/>
                  </a:moveTo>
                  <a:cubicBezTo>
                    <a:pt x="43" y="6"/>
                    <a:pt x="40" y="2"/>
                    <a:pt x="36" y="2"/>
                  </a:cubicBezTo>
                  <a:cubicBezTo>
                    <a:pt x="31" y="3"/>
                    <a:pt x="36" y="2"/>
                    <a:pt x="31" y="0"/>
                  </a:cubicBezTo>
                  <a:cubicBezTo>
                    <a:pt x="26" y="0"/>
                    <a:pt x="29" y="2"/>
                    <a:pt x="25" y="3"/>
                  </a:cubicBezTo>
                  <a:cubicBezTo>
                    <a:pt x="16" y="8"/>
                    <a:pt x="23" y="6"/>
                    <a:pt x="16" y="10"/>
                  </a:cubicBezTo>
                  <a:cubicBezTo>
                    <a:pt x="14" y="10"/>
                    <a:pt x="13" y="8"/>
                    <a:pt x="13" y="6"/>
                  </a:cubicBezTo>
                  <a:cubicBezTo>
                    <a:pt x="11" y="5"/>
                    <a:pt x="11" y="6"/>
                    <a:pt x="11" y="5"/>
                  </a:cubicBezTo>
                  <a:cubicBezTo>
                    <a:pt x="11" y="5"/>
                    <a:pt x="10" y="5"/>
                    <a:pt x="10" y="6"/>
                  </a:cubicBezTo>
                  <a:cubicBezTo>
                    <a:pt x="10" y="8"/>
                    <a:pt x="8" y="6"/>
                    <a:pt x="8" y="6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3"/>
                    <a:pt x="7" y="5"/>
                    <a:pt x="7" y="3"/>
                  </a:cubicBezTo>
                  <a:cubicBezTo>
                    <a:pt x="7" y="2"/>
                    <a:pt x="7" y="2"/>
                    <a:pt x="5" y="2"/>
                  </a:cubicBezTo>
                  <a:cubicBezTo>
                    <a:pt x="4" y="2"/>
                    <a:pt x="4" y="0"/>
                    <a:pt x="4" y="0"/>
                  </a:cubicBezTo>
                  <a:cubicBezTo>
                    <a:pt x="2" y="0"/>
                    <a:pt x="2" y="3"/>
                    <a:pt x="2" y="6"/>
                  </a:cubicBezTo>
                  <a:cubicBezTo>
                    <a:pt x="2" y="6"/>
                    <a:pt x="5" y="6"/>
                    <a:pt x="4" y="8"/>
                  </a:cubicBezTo>
                  <a:cubicBezTo>
                    <a:pt x="2" y="10"/>
                    <a:pt x="4" y="10"/>
                    <a:pt x="2" y="11"/>
                  </a:cubicBezTo>
                  <a:cubicBezTo>
                    <a:pt x="2" y="13"/>
                    <a:pt x="0" y="13"/>
                    <a:pt x="2" y="16"/>
                  </a:cubicBezTo>
                  <a:cubicBezTo>
                    <a:pt x="2" y="14"/>
                    <a:pt x="4" y="13"/>
                    <a:pt x="4" y="14"/>
                  </a:cubicBezTo>
                  <a:cubicBezTo>
                    <a:pt x="8" y="14"/>
                    <a:pt x="11" y="16"/>
                    <a:pt x="11" y="16"/>
                  </a:cubicBezTo>
                  <a:cubicBezTo>
                    <a:pt x="13" y="14"/>
                    <a:pt x="11" y="16"/>
                    <a:pt x="13" y="17"/>
                  </a:cubicBezTo>
                  <a:cubicBezTo>
                    <a:pt x="13" y="17"/>
                    <a:pt x="13" y="19"/>
                    <a:pt x="14" y="19"/>
                  </a:cubicBezTo>
                  <a:cubicBezTo>
                    <a:pt x="16" y="20"/>
                    <a:pt x="16" y="20"/>
                    <a:pt x="16" y="19"/>
                  </a:cubicBezTo>
                  <a:cubicBezTo>
                    <a:pt x="16" y="17"/>
                    <a:pt x="17" y="17"/>
                    <a:pt x="17" y="19"/>
                  </a:cubicBezTo>
                  <a:cubicBezTo>
                    <a:pt x="17" y="19"/>
                    <a:pt x="19" y="22"/>
                    <a:pt x="19" y="24"/>
                  </a:cubicBezTo>
                  <a:cubicBezTo>
                    <a:pt x="17" y="25"/>
                    <a:pt x="20" y="24"/>
                    <a:pt x="22" y="24"/>
                  </a:cubicBezTo>
                  <a:cubicBezTo>
                    <a:pt x="23" y="24"/>
                    <a:pt x="22" y="22"/>
                    <a:pt x="23" y="22"/>
                  </a:cubicBezTo>
                  <a:cubicBezTo>
                    <a:pt x="25" y="22"/>
                    <a:pt x="26" y="22"/>
                    <a:pt x="25" y="19"/>
                  </a:cubicBezTo>
                  <a:cubicBezTo>
                    <a:pt x="22" y="16"/>
                    <a:pt x="23" y="16"/>
                    <a:pt x="22" y="16"/>
                  </a:cubicBezTo>
                  <a:cubicBezTo>
                    <a:pt x="22" y="16"/>
                    <a:pt x="20" y="14"/>
                    <a:pt x="22" y="14"/>
                  </a:cubicBezTo>
                  <a:cubicBezTo>
                    <a:pt x="26" y="13"/>
                    <a:pt x="26" y="11"/>
                    <a:pt x="28" y="10"/>
                  </a:cubicBezTo>
                  <a:cubicBezTo>
                    <a:pt x="28" y="10"/>
                    <a:pt x="26" y="8"/>
                    <a:pt x="28" y="8"/>
                  </a:cubicBezTo>
                  <a:cubicBezTo>
                    <a:pt x="29" y="8"/>
                    <a:pt x="29" y="6"/>
                    <a:pt x="31" y="6"/>
                  </a:cubicBezTo>
                  <a:cubicBezTo>
                    <a:pt x="34" y="6"/>
                    <a:pt x="37" y="10"/>
                    <a:pt x="37" y="11"/>
                  </a:cubicBezTo>
                  <a:cubicBezTo>
                    <a:pt x="37" y="11"/>
                    <a:pt x="37" y="13"/>
                    <a:pt x="39" y="13"/>
                  </a:cubicBezTo>
                  <a:cubicBezTo>
                    <a:pt x="39" y="11"/>
                    <a:pt x="39" y="13"/>
                    <a:pt x="40" y="13"/>
                  </a:cubicBezTo>
                  <a:cubicBezTo>
                    <a:pt x="40" y="11"/>
                    <a:pt x="37" y="16"/>
                    <a:pt x="39" y="17"/>
                  </a:cubicBezTo>
                  <a:cubicBezTo>
                    <a:pt x="40" y="19"/>
                    <a:pt x="40" y="22"/>
                    <a:pt x="42" y="24"/>
                  </a:cubicBezTo>
                  <a:cubicBezTo>
                    <a:pt x="43" y="20"/>
                    <a:pt x="42" y="22"/>
                    <a:pt x="43" y="19"/>
                  </a:cubicBezTo>
                  <a:cubicBezTo>
                    <a:pt x="43" y="19"/>
                    <a:pt x="45" y="22"/>
                    <a:pt x="46" y="20"/>
                  </a:cubicBezTo>
                  <a:cubicBezTo>
                    <a:pt x="48" y="19"/>
                    <a:pt x="46" y="17"/>
                    <a:pt x="48" y="17"/>
                  </a:cubicBezTo>
                  <a:cubicBezTo>
                    <a:pt x="49" y="17"/>
                    <a:pt x="45" y="13"/>
                    <a:pt x="46" y="10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19" name="Freeform 299">
              <a:extLst>
                <a:ext uri="{FF2B5EF4-FFF2-40B4-BE49-F238E27FC236}">
                  <a16:creationId xmlns:a16="http://schemas.microsoft.com/office/drawing/2014/main" id="{63316185-DF3B-EFCC-E9FA-E8F9B22AF8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5105" y="4512628"/>
              <a:ext cx="7980" cy="16190"/>
            </a:xfrm>
            <a:custGeom>
              <a:avLst/>
              <a:gdLst/>
              <a:ahLst/>
              <a:cxnLst>
                <a:cxn ang="0">
                  <a:pos x="2" y="3"/>
                </a:cxn>
                <a:cxn ang="0">
                  <a:pos x="0" y="2"/>
                </a:cxn>
                <a:cxn ang="0">
                  <a:pos x="2" y="3"/>
                </a:cxn>
                <a:cxn ang="0">
                  <a:pos x="2" y="3"/>
                </a:cxn>
              </a:cxnLst>
              <a:rect l="0" t="0" r="r" b="b"/>
              <a:pathLst>
                <a:path w="3" h="5">
                  <a:moveTo>
                    <a:pt x="2" y="3"/>
                  </a:moveTo>
                  <a:cubicBezTo>
                    <a:pt x="0" y="3"/>
                    <a:pt x="0" y="2"/>
                    <a:pt x="0" y="2"/>
                  </a:cubicBezTo>
                  <a:cubicBezTo>
                    <a:pt x="2" y="0"/>
                    <a:pt x="2" y="2"/>
                    <a:pt x="2" y="3"/>
                  </a:cubicBezTo>
                  <a:cubicBezTo>
                    <a:pt x="3" y="3"/>
                    <a:pt x="3" y="5"/>
                    <a:pt x="2" y="3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20" name="Freeform 300">
              <a:extLst>
                <a:ext uri="{FF2B5EF4-FFF2-40B4-BE49-F238E27FC236}">
                  <a16:creationId xmlns:a16="http://schemas.microsoft.com/office/drawing/2014/main" id="{56A69E08-7259-1ADF-1510-100DA9149F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85331" y="4486724"/>
              <a:ext cx="6384" cy="9713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2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cubicBezTo>
                    <a:pt x="0" y="2"/>
                    <a:pt x="0" y="0"/>
                    <a:pt x="2" y="0"/>
                  </a:cubicBezTo>
                  <a:cubicBezTo>
                    <a:pt x="2" y="2"/>
                    <a:pt x="2" y="3"/>
                    <a:pt x="0" y="3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21" name="Freeform 6">
              <a:extLst>
                <a:ext uri="{FF2B5EF4-FFF2-40B4-BE49-F238E27FC236}">
                  <a16:creationId xmlns:a16="http://schemas.microsoft.com/office/drawing/2014/main" id="{B71EFB77-7264-C419-311F-C99B29D6A5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78882" y="3026743"/>
              <a:ext cx="448292" cy="305283"/>
            </a:xfrm>
            <a:custGeom>
              <a:avLst/>
              <a:gdLst/>
              <a:ahLst/>
              <a:cxnLst>
                <a:cxn ang="0">
                  <a:pos x="14" y="19"/>
                </a:cxn>
                <a:cxn ang="0">
                  <a:pos x="14" y="27"/>
                </a:cxn>
                <a:cxn ang="0">
                  <a:pos x="6" y="41"/>
                </a:cxn>
                <a:cxn ang="0">
                  <a:pos x="3" y="46"/>
                </a:cxn>
                <a:cxn ang="0">
                  <a:pos x="5" y="53"/>
                </a:cxn>
                <a:cxn ang="0">
                  <a:pos x="6" y="55"/>
                </a:cxn>
                <a:cxn ang="0">
                  <a:pos x="12" y="55"/>
                </a:cxn>
                <a:cxn ang="0">
                  <a:pos x="24" y="58"/>
                </a:cxn>
                <a:cxn ang="0">
                  <a:pos x="37" y="52"/>
                </a:cxn>
                <a:cxn ang="0">
                  <a:pos x="52" y="53"/>
                </a:cxn>
                <a:cxn ang="0">
                  <a:pos x="56" y="58"/>
                </a:cxn>
                <a:cxn ang="0">
                  <a:pos x="61" y="67"/>
                </a:cxn>
                <a:cxn ang="0">
                  <a:pos x="62" y="74"/>
                </a:cxn>
                <a:cxn ang="0">
                  <a:pos x="55" y="75"/>
                </a:cxn>
                <a:cxn ang="0">
                  <a:pos x="49" y="84"/>
                </a:cxn>
                <a:cxn ang="0">
                  <a:pos x="56" y="86"/>
                </a:cxn>
                <a:cxn ang="0">
                  <a:pos x="59" y="83"/>
                </a:cxn>
                <a:cxn ang="0">
                  <a:pos x="68" y="74"/>
                </a:cxn>
                <a:cxn ang="0">
                  <a:pos x="78" y="70"/>
                </a:cxn>
                <a:cxn ang="0">
                  <a:pos x="82" y="72"/>
                </a:cxn>
                <a:cxn ang="0">
                  <a:pos x="81" y="77"/>
                </a:cxn>
                <a:cxn ang="0">
                  <a:pos x="91" y="78"/>
                </a:cxn>
                <a:cxn ang="0">
                  <a:pos x="91" y="91"/>
                </a:cxn>
                <a:cxn ang="0">
                  <a:pos x="100" y="92"/>
                </a:cxn>
                <a:cxn ang="0">
                  <a:pos x="113" y="89"/>
                </a:cxn>
                <a:cxn ang="0">
                  <a:pos x="111" y="84"/>
                </a:cxn>
                <a:cxn ang="0">
                  <a:pos x="102" y="75"/>
                </a:cxn>
                <a:cxn ang="0">
                  <a:pos x="111" y="70"/>
                </a:cxn>
                <a:cxn ang="0">
                  <a:pos x="128" y="66"/>
                </a:cxn>
                <a:cxn ang="0">
                  <a:pos x="141" y="55"/>
                </a:cxn>
                <a:cxn ang="0">
                  <a:pos x="141" y="46"/>
                </a:cxn>
                <a:cxn ang="0">
                  <a:pos x="143" y="41"/>
                </a:cxn>
                <a:cxn ang="0">
                  <a:pos x="138" y="35"/>
                </a:cxn>
                <a:cxn ang="0">
                  <a:pos x="125" y="30"/>
                </a:cxn>
                <a:cxn ang="0">
                  <a:pos x="108" y="27"/>
                </a:cxn>
                <a:cxn ang="0">
                  <a:pos x="99" y="16"/>
                </a:cxn>
                <a:cxn ang="0">
                  <a:pos x="97" y="8"/>
                </a:cxn>
                <a:cxn ang="0">
                  <a:pos x="88" y="3"/>
                </a:cxn>
                <a:cxn ang="0">
                  <a:pos x="76" y="5"/>
                </a:cxn>
                <a:cxn ang="0">
                  <a:pos x="65" y="14"/>
                </a:cxn>
                <a:cxn ang="0">
                  <a:pos x="53" y="13"/>
                </a:cxn>
                <a:cxn ang="0">
                  <a:pos x="38" y="10"/>
                </a:cxn>
                <a:cxn ang="0">
                  <a:pos x="15" y="11"/>
                </a:cxn>
              </a:cxnLst>
              <a:rect l="0" t="0" r="r" b="b"/>
              <a:pathLst>
                <a:path w="144" h="98">
                  <a:moveTo>
                    <a:pt x="12" y="13"/>
                  </a:moveTo>
                  <a:cubicBezTo>
                    <a:pt x="14" y="16"/>
                    <a:pt x="11" y="14"/>
                    <a:pt x="14" y="19"/>
                  </a:cubicBezTo>
                  <a:cubicBezTo>
                    <a:pt x="20" y="24"/>
                    <a:pt x="14" y="21"/>
                    <a:pt x="15" y="22"/>
                  </a:cubicBezTo>
                  <a:cubicBezTo>
                    <a:pt x="17" y="24"/>
                    <a:pt x="18" y="25"/>
                    <a:pt x="14" y="27"/>
                  </a:cubicBezTo>
                  <a:cubicBezTo>
                    <a:pt x="12" y="27"/>
                    <a:pt x="8" y="32"/>
                    <a:pt x="6" y="35"/>
                  </a:cubicBezTo>
                  <a:cubicBezTo>
                    <a:pt x="3" y="38"/>
                    <a:pt x="6" y="39"/>
                    <a:pt x="6" y="41"/>
                  </a:cubicBezTo>
                  <a:cubicBezTo>
                    <a:pt x="5" y="42"/>
                    <a:pt x="9" y="44"/>
                    <a:pt x="3" y="42"/>
                  </a:cubicBezTo>
                  <a:cubicBezTo>
                    <a:pt x="5" y="44"/>
                    <a:pt x="3" y="44"/>
                    <a:pt x="3" y="46"/>
                  </a:cubicBezTo>
                  <a:cubicBezTo>
                    <a:pt x="3" y="47"/>
                    <a:pt x="2" y="46"/>
                    <a:pt x="0" y="50"/>
                  </a:cubicBezTo>
                  <a:cubicBezTo>
                    <a:pt x="5" y="52"/>
                    <a:pt x="3" y="55"/>
                    <a:pt x="5" y="53"/>
                  </a:cubicBezTo>
                  <a:cubicBezTo>
                    <a:pt x="6" y="53"/>
                    <a:pt x="6" y="55"/>
                    <a:pt x="6" y="55"/>
                  </a:cubicBezTo>
                  <a:cubicBezTo>
                    <a:pt x="6" y="55"/>
                    <a:pt x="6" y="55"/>
                    <a:pt x="6" y="55"/>
                  </a:cubicBezTo>
                  <a:cubicBezTo>
                    <a:pt x="8" y="55"/>
                    <a:pt x="8" y="56"/>
                    <a:pt x="8" y="55"/>
                  </a:cubicBezTo>
                  <a:cubicBezTo>
                    <a:pt x="9" y="53"/>
                    <a:pt x="9" y="55"/>
                    <a:pt x="12" y="55"/>
                  </a:cubicBezTo>
                  <a:cubicBezTo>
                    <a:pt x="17" y="55"/>
                    <a:pt x="17" y="56"/>
                    <a:pt x="18" y="56"/>
                  </a:cubicBezTo>
                  <a:cubicBezTo>
                    <a:pt x="21" y="55"/>
                    <a:pt x="21" y="60"/>
                    <a:pt x="24" y="58"/>
                  </a:cubicBezTo>
                  <a:cubicBezTo>
                    <a:pt x="26" y="56"/>
                    <a:pt x="24" y="56"/>
                    <a:pt x="29" y="56"/>
                  </a:cubicBezTo>
                  <a:cubicBezTo>
                    <a:pt x="34" y="55"/>
                    <a:pt x="32" y="53"/>
                    <a:pt x="37" y="52"/>
                  </a:cubicBezTo>
                  <a:cubicBezTo>
                    <a:pt x="38" y="50"/>
                    <a:pt x="41" y="50"/>
                    <a:pt x="43" y="50"/>
                  </a:cubicBezTo>
                  <a:cubicBezTo>
                    <a:pt x="44" y="49"/>
                    <a:pt x="50" y="53"/>
                    <a:pt x="52" y="53"/>
                  </a:cubicBezTo>
                  <a:cubicBezTo>
                    <a:pt x="53" y="52"/>
                    <a:pt x="53" y="56"/>
                    <a:pt x="56" y="55"/>
                  </a:cubicBezTo>
                  <a:cubicBezTo>
                    <a:pt x="58" y="55"/>
                    <a:pt x="58" y="56"/>
                    <a:pt x="56" y="58"/>
                  </a:cubicBezTo>
                  <a:cubicBezTo>
                    <a:pt x="55" y="61"/>
                    <a:pt x="58" y="63"/>
                    <a:pt x="59" y="63"/>
                  </a:cubicBezTo>
                  <a:cubicBezTo>
                    <a:pt x="61" y="63"/>
                    <a:pt x="58" y="66"/>
                    <a:pt x="61" y="67"/>
                  </a:cubicBezTo>
                  <a:cubicBezTo>
                    <a:pt x="64" y="69"/>
                    <a:pt x="61" y="72"/>
                    <a:pt x="62" y="74"/>
                  </a:cubicBezTo>
                  <a:cubicBezTo>
                    <a:pt x="65" y="74"/>
                    <a:pt x="62" y="75"/>
                    <a:pt x="62" y="74"/>
                  </a:cubicBezTo>
                  <a:cubicBezTo>
                    <a:pt x="61" y="74"/>
                    <a:pt x="58" y="75"/>
                    <a:pt x="56" y="74"/>
                  </a:cubicBezTo>
                  <a:cubicBezTo>
                    <a:pt x="55" y="72"/>
                    <a:pt x="53" y="74"/>
                    <a:pt x="55" y="75"/>
                  </a:cubicBezTo>
                  <a:cubicBezTo>
                    <a:pt x="56" y="78"/>
                    <a:pt x="50" y="81"/>
                    <a:pt x="52" y="83"/>
                  </a:cubicBezTo>
                  <a:cubicBezTo>
                    <a:pt x="52" y="84"/>
                    <a:pt x="50" y="84"/>
                    <a:pt x="49" y="84"/>
                  </a:cubicBezTo>
                  <a:cubicBezTo>
                    <a:pt x="52" y="88"/>
                    <a:pt x="53" y="88"/>
                    <a:pt x="53" y="88"/>
                  </a:cubicBezTo>
                  <a:cubicBezTo>
                    <a:pt x="53" y="86"/>
                    <a:pt x="55" y="88"/>
                    <a:pt x="56" y="86"/>
                  </a:cubicBezTo>
                  <a:cubicBezTo>
                    <a:pt x="56" y="84"/>
                    <a:pt x="59" y="84"/>
                    <a:pt x="61" y="88"/>
                  </a:cubicBezTo>
                  <a:cubicBezTo>
                    <a:pt x="61" y="84"/>
                    <a:pt x="61" y="86"/>
                    <a:pt x="59" y="83"/>
                  </a:cubicBezTo>
                  <a:cubicBezTo>
                    <a:pt x="59" y="80"/>
                    <a:pt x="61" y="83"/>
                    <a:pt x="64" y="81"/>
                  </a:cubicBezTo>
                  <a:cubicBezTo>
                    <a:pt x="67" y="78"/>
                    <a:pt x="68" y="77"/>
                    <a:pt x="68" y="74"/>
                  </a:cubicBezTo>
                  <a:cubicBezTo>
                    <a:pt x="68" y="70"/>
                    <a:pt x="73" y="72"/>
                    <a:pt x="75" y="70"/>
                  </a:cubicBezTo>
                  <a:cubicBezTo>
                    <a:pt x="76" y="70"/>
                    <a:pt x="78" y="72"/>
                    <a:pt x="78" y="70"/>
                  </a:cubicBezTo>
                  <a:cubicBezTo>
                    <a:pt x="78" y="67"/>
                    <a:pt x="78" y="64"/>
                    <a:pt x="79" y="67"/>
                  </a:cubicBezTo>
                  <a:cubicBezTo>
                    <a:pt x="79" y="70"/>
                    <a:pt x="78" y="72"/>
                    <a:pt x="82" y="72"/>
                  </a:cubicBezTo>
                  <a:cubicBezTo>
                    <a:pt x="79" y="74"/>
                    <a:pt x="76" y="70"/>
                    <a:pt x="76" y="72"/>
                  </a:cubicBezTo>
                  <a:cubicBezTo>
                    <a:pt x="75" y="74"/>
                    <a:pt x="81" y="75"/>
                    <a:pt x="81" y="77"/>
                  </a:cubicBezTo>
                  <a:cubicBezTo>
                    <a:pt x="81" y="78"/>
                    <a:pt x="87" y="77"/>
                    <a:pt x="88" y="77"/>
                  </a:cubicBezTo>
                  <a:cubicBezTo>
                    <a:pt x="90" y="78"/>
                    <a:pt x="91" y="75"/>
                    <a:pt x="91" y="78"/>
                  </a:cubicBezTo>
                  <a:cubicBezTo>
                    <a:pt x="93" y="81"/>
                    <a:pt x="82" y="83"/>
                    <a:pt x="82" y="86"/>
                  </a:cubicBezTo>
                  <a:cubicBezTo>
                    <a:pt x="84" y="88"/>
                    <a:pt x="91" y="86"/>
                    <a:pt x="91" y="91"/>
                  </a:cubicBezTo>
                  <a:cubicBezTo>
                    <a:pt x="91" y="95"/>
                    <a:pt x="88" y="92"/>
                    <a:pt x="91" y="95"/>
                  </a:cubicBezTo>
                  <a:cubicBezTo>
                    <a:pt x="94" y="98"/>
                    <a:pt x="97" y="94"/>
                    <a:pt x="100" y="92"/>
                  </a:cubicBezTo>
                  <a:cubicBezTo>
                    <a:pt x="103" y="91"/>
                    <a:pt x="102" y="94"/>
                    <a:pt x="105" y="91"/>
                  </a:cubicBezTo>
                  <a:cubicBezTo>
                    <a:pt x="108" y="86"/>
                    <a:pt x="108" y="91"/>
                    <a:pt x="113" y="89"/>
                  </a:cubicBezTo>
                  <a:cubicBezTo>
                    <a:pt x="117" y="88"/>
                    <a:pt x="113" y="89"/>
                    <a:pt x="114" y="86"/>
                  </a:cubicBezTo>
                  <a:cubicBezTo>
                    <a:pt x="116" y="84"/>
                    <a:pt x="114" y="83"/>
                    <a:pt x="111" y="84"/>
                  </a:cubicBezTo>
                  <a:cubicBezTo>
                    <a:pt x="106" y="86"/>
                    <a:pt x="106" y="89"/>
                    <a:pt x="103" y="83"/>
                  </a:cubicBezTo>
                  <a:cubicBezTo>
                    <a:pt x="99" y="77"/>
                    <a:pt x="100" y="77"/>
                    <a:pt x="102" y="75"/>
                  </a:cubicBezTo>
                  <a:cubicBezTo>
                    <a:pt x="106" y="74"/>
                    <a:pt x="102" y="78"/>
                    <a:pt x="105" y="77"/>
                  </a:cubicBezTo>
                  <a:cubicBezTo>
                    <a:pt x="106" y="75"/>
                    <a:pt x="110" y="70"/>
                    <a:pt x="111" y="70"/>
                  </a:cubicBezTo>
                  <a:cubicBezTo>
                    <a:pt x="116" y="72"/>
                    <a:pt x="123" y="66"/>
                    <a:pt x="125" y="66"/>
                  </a:cubicBezTo>
                  <a:cubicBezTo>
                    <a:pt x="128" y="66"/>
                    <a:pt x="126" y="67"/>
                    <a:pt x="128" y="66"/>
                  </a:cubicBezTo>
                  <a:cubicBezTo>
                    <a:pt x="126" y="56"/>
                    <a:pt x="132" y="61"/>
                    <a:pt x="132" y="58"/>
                  </a:cubicBezTo>
                  <a:cubicBezTo>
                    <a:pt x="134" y="55"/>
                    <a:pt x="140" y="58"/>
                    <a:pt x="141" y="55"/>
                  </a:cubicBezTo>
                  <a:cubicBezTo>
                    <a:pt x="143" y="53"/>
                    <a:pt x="141" y="50"/>
                    <a:pt x="140" y="49"/>
                  </a:cubicBezTo>
                  <a:cubicBezTo>
                    <a:pt x="138" y="47"/>
                    <a:pt x="140" y="46"/>
                    <a:pt x="141" y="46"/>
                  </a:cubicBezTo>
                  <a:cubicBezTo>
                    <a:pt x="144" y="46"/>
                    <a:pt x="143" y="44"/>
                    <a:pt x="141" y="44"/>
                  </a:cubicBezTo>
                  <a:cubicBezTo>
                    <a:pt x="140" y="44"/>
                    <a:pt x="140" y="42"/>
                    <a:pt x="143" y="41"/>
                  </a:cubicBezTo>
                  <a:cubicBezTo>
                    <a:pt x="144" y="39"/>
                    <a:pt x="143" y="39"/>
                    <a:pt x="143" y="36"/>
                  </a:cubicBezTo>
                  <a:cubicBezTo>
                    <a:pt x="143" y="35"/>
                    <a:pt x="140" y="38"/>
                    <a:pt x="138" y="35"/>
                  </a:cubicBezTo>
                  <a:cubicBezTo>
                    <a:pt x="137" y="32"/>
                    <a:pt x="134" y="35"/>
                    <a:pt x="132" y="33"/>
                  </a:cubicBezTo>
                  <a:cubicBezTo>
                    <a:pt x="129" y="28"/>
                    <a:pt x="128" y="33"/>
                    <a:pt x="125" y="30"/>
                  </a:cubicBezTo>
                  <a:cubicBezTo>
                    <a:pt x="122" y="28"/>
                    <a:pt x="123" y="24"/>
                    <a:pt x="119" y="27"/>
                  </a:cubicBezTo>
                  <a:cubicBezTo>
                    <a:pt x="113" y="30"/>
                    <a:pt x="113" y="25"/>
                    <a:pt x="108" y="27"/>
                  </a:cubicBezTo>
                  <a:cubicBezTo>
                    <a:pt x="105" y="28"/>
                    <a:pt x="108" y="22"/>
                    <a:pt x="105" y="19"/>
                  </a:cubicBezTo>
                  <a:cubicBezTo>
                    <a:pt x="102" y="14"/>
                    <a:pt x="102" y="17"/>
                    <a:pt x="99" y="16"/>
                  </a:cubicBezTo>
                  <a:cubicBezTo>
                    <a:pt x="96" y="16"/>
                    <a:pt x="99" y="16"/>
                    <a:pt x="96" y="13"/>
                  </a:cubicBezTo>
                  <a:cubicBezTo>
                    <a:pt x="94" y="11"/>
                    <a:pt x="100" y="10"/>
                    <a:pt x="97" y="8"/>
                  </a:cubicBezTo>
                  <a:cubicBezTo>
                    <a:pt x="93" y="7"/>
                    <a:pt x="96" y="0"/>
                    <a:pt x="93" y="3"/>
                  </a:cubicBezTo>
                  <a:cubicBezTo>
                    <a:pt x="90" y="5"/>
                    <a:pt x="91" y="0"/>
                    <a:pt x="88" y="3"/>
                  </a:cubicBezTo>
                  <a:cubicBezTo>
                    <a:pt x="85" y="5"/>
                    <a:pt x="82" y="2"/>
                    <a:pt x="82" y="5"/>
                  </a:cubicBezTo>
                  <a:cubicBezTo>
                    <a:pt x="81" y="8"/>
                    <a:pt x="78" y="7"/>
                    <a:pt x="76" y="5"/>
                  </a:cubicBezTo>
                  <a:cubicBezTo>
                    <a:pt x="70" y="5"/>
                    <a:pt x="68" y="8"/>
                    <a:pt x="68" y="13"/>
                  </a:cubicBezTo>
                  <a:cubicBezTo>
                    <a:pt x="68" y="17"/>
                    <a:pt x="67" y="17"/>
                    <a:pt x="65" y="14"/>
                  </a:cubicBezTo>
                  <a:cubicBezTo>
                    <a:pt x="64" y="14"/>
                    <a:pt x="61" y="14"/>
                    <a:pt x="59" y="14"/>
                  </a:cubicBezTo>
                  <a:cubicBezTo>
                    <a:pt x="56" y="16"/>
                    <a:pt x="58" y="10"/>
                    <a:pt x="53" y="13"/>
                  </a:cubicBezTo>
                  <a:cubicBezTo>
                    <a:pt x="50" y="16"/>
                    <a:pt x="55" y="11"/>
                    <a:pt x="46" y="11"/>
                  </a:cubicBezTo>
                  <a:cubicBezTo>
                    <a:pt x="40" y="11"/>
                    <a:pt x="43" y="10"/>
                    <a:pt x="38" y="10"/>
                  </a:cubicBezTo>
                  <a:cubicBezTo>
                    <a:pt x="35" y="11"/>
                    <a:pt x="34" y="7"/>
                    <a:pt x="23" y="8"/>
                  </a:cubicBezTo>
                  <a:cubicBezTo>
                    <a:pt x="14" y="10"/>
                    <a:pt x="18" y="13"/>
                    <a:pt x="15" y="11"/>
                  </a:cubicBezTo>
                  <a:cubicBezTo>
                    <a:pt x="14" y="11"/>
                    <a:pt x="12" y="13"/>
                    <a:pt x="12" y="13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22" name="Freeform 8">
              <a:extLst>
                <a:ext uri="{FF2B5EF4-FFF2-40B4-BE49-F238E27FC236}">
                  <a16:creationId xmlns:a16="http://schemas.microsoft.com/office/drawing/2014/main" id="{AB9C3473-AF13-7F9F-4B56-807A32CF6F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69064" y="2917483"/>
              <a:ext cx="114081" cy="159069"/>
            </a:xfrm>
            <a:custGeom>
              <a:avLst/>
              <a:gdLst/>
              <a:ahLst/>
              <a:cxnLst>
                <a:cxn ang="0">
                  <a:pos x="24" y="9"/>
                </a:cxn>
                <a:cxn ang="0">
                  <a:pos x="22" y="12"/>
                </a:cxn>
                <a:cxn ang="0">
                  <a:pos x="28" y="16"/>
                </a:cxn>
                <a:cxn ang="0">
                  <a:pos x="30" y="14"/>
                </a:cxn>
                <a:cxn ang="0">
                  <a:pos x="31" y="17"/>
                </a:cxn>
                <a:cxn ang="0">
                  <a:pos x="34" y="17"/>
                </a:cxn>
                <a:cxn ang="0">
                  <a:pos x="34" y="19"/>
                </a:cxn>
                <a:cxn ang="0">
                  <a:pos x="36" y="23"/>
                </a:cxn>
                <a:cxn ang="0">
                  <a:pos x="36" y="36"/>
                </a:cxn>
                <a:cxn ang="0">
                  <a:pos x="33" y="40"/>
                </a:cxn>
                <a:cxn ang="0">
                  <a:pos x="28" y="40"/>
                </a:cxn>
                <a:cxn ang="0">
                  <a:pos x="19" y="45"/>
                </a:cxn>
                <a:cxn ang="0">
                  <a:pos x="18" y="47"/>
                </a:cxn>
                <a:cxn ang="0">
                  <a:pos x="7" y="48"/>
                </a:cxn>
                <a:cxn ang="0">
                  <a:pos x="6" y="47"/>
                </a:cxn>
                <a:cxn ang="0">
                  <a:pos x="4" y="44"/>
                </a:cxn>
                <a:cxn ang="0">
                  <a:pos x="3" y="40"/>
                </a:cxn>
                <a:cxn ang="0">
                  <a:pos x="7" y="39"/>
                </a:cxn>
                <a:cxn ang="0">
                  <a:pos x="12" y="36"/>
                </a:cxn>
                <a:cxn ang="0">
                  <a:pos x="13" y="34"/>
                </a:cxn>
                <a:cxn ang="0">
                  <a:pos x="7" y="34"/>
                </a:cxn>
                <a:cxn ang="0">
                  <a:pos x="12" y="30"/>
                </a:cxn>
                <a:cxn ang="0">
                  <a:pos x="10" y="28"/>
                </a:cxn>
                <a:cxn ang="0">
                  <a:pos x="6" y="23"/>
                </a:cxn>
                <a:cxn ang="0">
                  <a:pos x="9" y="20"/>
                </a:cxn>
                <a:cxn ang="0">
                  <a:pos x="6" y="17"/>
                </a:cxn>
                <a:cxn ang="0">
                  <a:pos x="4" y="16"/>
                </a:cxn>
                <a:cxn ang="0">
                  <a:pos x="12" y="16"/>
                </a:cxn>
                <a:cxn ang="0">
                  <a:pos x="15" y="16"/>
                </a:cxn>
                <a:cxn ang="0">
                  <a:pos x="19" y="12"/>
                </a:cxn>
                <a:cxn ang="0">
                  <a:pos x="15" y="11"/>
                </a:cxn>
                <a:cxn ang="0">
                  <a:pos x="18" y="6"/>
                </a:cxn>
                <a:cxn ang="0">
                  <a:pos x="24" y="3"/>
                </a:cxn>
                <a:cxn ang="0">
                  <a:pos x="28" y="1"/>
                </a:cxn>
                <a:cxn ang="0">
                  <a:pos x="28" y="5"/>
                </a:cxn>
                <a:cxn ang="0">
                  <a:pos x="24" y="9"/>
                </a:cxn>
              </a:cxnLst>
              <a:rect l="0" t="0" r="r" b="b"/>
              <a:pathLst>
                <a:path w="37" h="51">
                  <a:moveTo>
                    <a:pt x="24" y="9"/>
                  </a:moveTo>
                  <a:cubicBezTo>
                    <a:pt x="21" y="9"/>
                    <a:pt x="25" y="11"/>
                    <a:pt x="22" y="12"/>
                  </a:cubicBezTo>
                  <a:cubicBezTo>
                    <a:pt x="18" y="14"/>
                    <a:pt x="28" y="19"/>
                    <a:pt x="28" y="16"/>
                  </a:cubicBezTo>
                  <a:cubicBezTo>
                    <a:pt x="28" y="14"/>
                    <a:pt x="30" y="12"/>
                    <a:pt x="30" y="14"/>
                  </a:cubicBezTo>
                  <a:cubicBezTo>
                    <a:pt x="31" y="17"/>
                    <a:pt x="31" y="16"/>
                    <a:pt x="31" y="17"/>
                  </a:cubicBezTo>
                  <a:cubicBezTo>
                    <a:pt x="33" y="19"/>
                    <a:pt x="33" y="17"/>
                    <a:pt x="34" y="17"/>
                  </a:cubicBezTo>
                  <a:cubicBezTo>
                    <a:pt x="36" y="17"/>
                    <a:pt x="36" y="19"/>
                    <a:pt x="34" y="19"/>
                  </a:cubicBezTo>
                  <a:cubicBezTo>
                    <a:pt x="34" y="19"/>
                    <a:pt x="34" y="20"/>
                    <a:pt x="36" y="23"/>
                  </a:cubicBezTo>
                  <a:cubicBezTo>
                    <a:pt x="37" y="26"/>
                    <a:pt x="37" y="31"/>
                    <a:pt x="36" y="36"/>
                  </a:cubicBezTo>
                  <a:cubicBezTo>
                    <a:pt x="33" y="40"/>
                    <a:pt x="36" y="40"/>
                    <a:pt x="33" y="40"/>
                  </a:cubicBezTo>
                  <a:cubicBezTo>
                    <a:pt x="30" y="40"/>
                    <a:pt x="31" y="40"/>
                    <a:pt x="28" y="40"/>
                  </a:cubicBezTo>
                  <a:cubicBezTo>
                    <a:pt x="24" y="42"/>
                    <a:pt x="21" y="47"/>
                    <a:pt x="19" y="45"/>
                  </a:cubicBezTo>
                  <a:cubicBezTo>
                    <a:pt x="19" y="42"/>
                    <a:pt x="19" y="45"/>
                    <a:pt x="18" y="47"/>
                  </a:cubicBezTo>
                  <a:cubicBezTo>
                    <a:pt x="18" y="48"/>
                    <a:pt x="4" y="51"/>
                    <a:pt x="7" y="48"/>
                  </a:cubicBezTo>
                  <a:cubicBezTo>
                    <a:pt x="12" y="44"/>
                    <a:pt x="3" y="50"/>
                    <a:pt x="6" y="47"/>
                  </a:cubicBezTo>
                  <a:cubicBezTo>
                    <a:pt x="7" y="44"/>
                    <a:pt x="0" y="47"/>
                    <a:pt x="4" y="44"/>
                  </a:cubicBezTo>
                  <a:cubicBezTo>
                    <a:pt x="7" y="39"/>
                    <a:pt x="0" y="44"/>
                    <a:pt x="3" y="40"/>
                  </a:cubicBezTo>
                  <a:cubicBezTo>
                    <a:pt x="6" y="37"/>
                    <a:pt x="9" y="40"/>
                    <a:pt x="7" y="39"/>
                  </a:cubicBezTo>
                  <a:cubicBezTo>
                    <a:pt x="6" y="37"/>
                    <a:pt x="7" y="36"/>
                    <a:pt x="12" y="36"/>
                  </a:cubicBezTo>
                  <a:cubicBezTo>
                    <a:pt x="16" y="36"/>
                    <a:pt x="15" y="34"/>
                    <a:pt x="13" y="34"/>
                  </a:cubicBezTo>
                  <a:cubicBezTo>
                    <a:pt x="12" y="34"/>
                    <a:pt x="3" y="37"/>
                    <a:pt x="7" y="34"/>
                  </a:cubicBezTo>
                  <a:cubicBezTo>
                    <a:pt x="12" y="31"/>
                    <a:pt x="7" y="30"/>
                    <a:pt x="12" y="30"/>
                  </a:cubicBezTo>
                  <a:cubicBezTo>
                    <a:pt x="16" y="28"/>
                    <a:pt x="12" y="26"/>
                    <a:pt x="10" y="28"/>
                  </a:cubicBezTo>
                  <a:cubicBezTo>
                    <a:pt x="9" y="28"/>
                    <a:pt x="3" y="25"/>
                    <a:pt x="6" y="23"/>
                  </a:cubicBezTo>
                  <a:cubicBezTo>
                    <a:pt x="7" y="22"/>
                    <a:pt x="6" y="22"/>
                    <a:pt x="9" y="20"/>
                  </a:cubicBezTo>
                  <a:cubicBezTo>
                    <a:pt x="12" y="19"/>
                    <a:pt x="3" y="20"/>
                    <a:pt x="6" y="17"/>
                  </a:cubicBezTo>
                  <a:cubicBezTo>
                    <a:pt x="7" y="16"/>
                    <a:pt x="4" y="17"/>
                    <a:pt x="4" y="16"/>
                  </a:cubicBezTo>
                  <a:cubicBezTo>
                    <a:pt x="6" y="14"/>
                    <a:pt x="9" y="14"/>
                    <a:pt x="12" y="16"/>
                  </a:cubicBezTo>
                  <a:cubicBezTo>
                    <a:pt x="13" y="16"/>
                    <a:pt x="13" y="14"/>
                    <a:pt x="15" y="16"/>
                  </a:cubicBezTo>
                  <a:cubicBezTo>
                    <a:pt x="18" y="16"/>
                    <a:pt x="16" y="14"/>
                    <a:pt x="19" y="12"/>
                  </a:cubicBezTo>
                  <a:cubicBezTo>
                    <a:pt x="22" y="9"/>
                    <a:pt x="16" y="11"/>
                    <a:pt x="15" y="11"/>
                  </a:cubicBezTo>
                  <a:cubicBezTo>
                    <a:pt x="15" y="9"/>
                    <a:pt x="19" y="9"/>
                    <a:pt x="18" y="6"/>
                  </a:cubicBezTo>
                  <a:cubicBezTo>
                    <a:pt x="18" y="5"/>
                    <a:pt x="22" y="3"/>
                    <a:pt x="24" y="3"/>
                  </a:cubicBezTo>
                  <a:cubicBezTo>
                    <a:pt x="27" y="3"/>
                    <a:pt x="25" y="0"/>
                    <a:pt x="28" y="1"/>
                  </a:cubicBezTo>
                  <a:cubicBezTo>
                    <a:pt x="31" y="3"/>
                    <a:pt x="28" y="3"/>
                    <a:pt x="28" y="5"/>
                  </a:cubicBezTo>
                  <a:cubicBezTo>
                    <a:pt x="25" y="6"/>
                    <a:pt x="27" y="9"/>
                    <a:pt x="24" y="9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23" name="Freeform 9">
              <a:extLst>
                <a:ext uri="{FF2B5EF4-FFF2-40B4-BE49-F238E27FC236}">
                  <a16:creationId xmlns:a16="http://schemas.microsoft.com/office/drawing/2014/main" id="{9D5B1CE3-3948-5F07-D6F6-5904957C2A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3337" y="3042809"/>
              <a:ext cx="800177" cy="385621"/>
            </a:xfrm>
            <a:custGeom>
              <a:avLst/>
              <a:gdLst/>
              <a:ahLst/>
              <a:cxnLst>
                <a:cxn ang="0">
                  <a:pos x="230" y="28"/>
                </a:cxn>
                <a:cxn ang="0">
                  <a:pos x="222" y="48"/>
                </a:cxn>
                <a:cxn ang="0">
                  <a:pos x="225" y="53"/>
                </a:cxn>
                <a:cxn ang="0">
                  <a:pos x="234" y="53"/>
                </a:cxn>
                <a:cxn ang="0">
                  <a:pos x="240" y="50"/>
                </a:cxn>
                <a:cxn ang="0">
                  <a:pos x="251" y="56"/>
                </a:cxn>
                <a:cxn ang="0">
                  <a:pos x="255" y="65"/>
                </a:cxn>
                <a:cxn ang="0">
                  <a:pos x="246" y="65"/>
                </a:cxn>
                <a:cxn ang="0">
                  <a:pos x="239" y="65"/>
                </a:cxn>
                <a:cxn ang="0">
                  <a:pos x="228" y="70"/>
                </a:cxn>
                <a:cxn ang="0">
                  <a:pos x="225" y="76"/>
                </a:cxn>
                <a:cxn ang="0">
                  <a:pos x="216" y="80"/>
                </a:cxn>
                <a:cxn ang="0">
                  <a:pos x="207" y="87"/>
                </a:cxn>
                <a:cxn ang="0">
                  <a:pos x="192" y="84"/>
                </a:cxn>
                <a:cxn ang="0">
                  <a:pos x="189" y="92"/>
                </a:cxn>
                <a:cxn ang="0">
                  <a:pos x="192" y="100"/>
                </a:cxn>
                <a:cxn ang="0">
                  <a:pos x="181" y="107"/>
                </a:cxn>
                <a:cxn ang="0">
                  <a:pos x="173" y="114"/>
                </a:cxn>
                <a:cxn ang="0">
                  <a:pos x="169" y="114"/>
                </a:cxn>
                <a:cxn ang="0">
                  <a:pos x="160" y="114"/>
                </a:cxn>
                <a:cxn ang="0">
                  <a:pos x="154" y="115"/>
                </a:cxn>
                <a:cxn ang="0">
                  <a:pos x="138" y="123"/>
                </a:cxn>
                <a:cxn ang="0">
                  <a:pos x="134" y="123"/>
                </a:cxn>
                <a:cxn ang="0">
                  <a:pos x="131" y="120"/>
                </a:cxn>
                <a:cxn ang="0">
                  <a:pos x="117" y="117"/>
                </a:cxn>
                <a:cxn ang="0">
                  <a:pos x="100" y="111"/>
                </a:cxn>
                <a:cxn ang="0">
                  <a:pos x="75" y="111"/>
                </a:cxn>
                <a:cxn ang="0">
                  <a:pos x="69" y="109"/>
                </a:cxn>
                <a:cxn ang="0">
                  <a:pos x="64" y="100"/>
                </a:cxn>
                <a:cxn ang="0">
                  <a:pos x="55" y="92"/>
                </a:cxn>
                <a:cxn ang="0">
                  <a:pos x="38" y="84"/>
                </a:cxn>
                <a:cxn ang="0">
                  <a:pos x="27" y="83"/>
                </a:cxn>
                <a:cxn ang="0">
                  <a:pos x="24" y="76"/>
                </a:cxn>
                <a:cxn ang="0">
                  <a:pos x="26" y="67"/>
                </a:cxn>
                <a:cxn ang="0">
                  <a:pos x="18" y="52"/>
                </a:cxn>
                <a:cxn ang="0">
                  <a:pos x="15" y="50"/>
                </a:cxn>
                <a:cxn ang="0">
                  <a:pos x="9" y="48"/>
                </a:cxn>
                <a:cxn ang="0">
                  <a:pos x="2" y="36"/>
                </a:cxn>
                <a:cxn ang="0">
                  <a:pos x="12" y="31"/>
                </a:cxn>
                <a:cxn ang="0">
                  <a:pos x="21" y="24"/>
                </a:cxn>
                <a:cxn ang="0">
                  <a:pos x="41" y="19"/>
                </a:cxn>
                <a:cxn ang="0">
                  <a:pos x="53" y="22"/>
                </a:cxn>
                <a:cxn ang="0">
                  <a:pos x="84" y="24"/>
                </a:cxn>
                <a:cxn ang="0">
                  <a:pos x="82" y="10"/>
                </a:cxn>
                <a:cxn ang="0">
                  <a:pos x="99" y="5"/>
                </a:cxn>
                <a:cxn ang="0">
                  <a:pos x="116" y="13"/>
                </a:cxn>
                <a:cxn ang="0">
                  <a:pos x="131" y="24"/>
                </a:cxn>
                <a:cxn ang="0">
                  <a:pos x="152" y="25"/>
                </a:cxn>
                <a:cxn ang="0">
                  <a:pos x="170" y="35"/>
                </a:cxn>
                <a:cxn ang="0">
                  <a:pos x="195" y="33"/>
                </a:cxn>
                <a:cxn ang="0">
                  <a:pos x="214" y="24"/>
                </a:cxn>
                <a:cxn ang="0">
                  <a:pos x="230" y="28"/>
                </a:cxn>
              </a:cxnLst>
              <a:rect l="0" t="0" r="r" b="b"/>
              <a:pathLst>
                <a:path w="257" h="124">
                  <a:moveTo>
                    <a:pt x="230" y="28"/>
                  </a:moveTo>
                  <a:cubicBezTo>
                    <a:pt x="219" y="50"/>
                    <a:pt x="225" y="45"/>
                    <a:pt x="222" y="48"/>
                  </a:cubicBezTo>
                  <a:cubicBezTo>
                    <a:pt x="219" y="50"/>
                    <a:pt x="223" y="55"/>
                    <a:pt x="225" y="53"/>
                  </a:cubicBezTo>
                  <a:cubicBezTo>
                    <a:pt x="227" y="52"/>
                    <a:pt x="231" y="52"/>
                    <a:pt x="234" y="53"/>
                  </a:cubicBezTo>
                  <a:cubicBezTo>
                    <a:pt x="237" y="56"/>
                    <a:pt x="234" y="50"/>
                    <a:pt x="240" y="50"/>
                  </a:cubicBezTo>
                  <a:cubicBezTo>
                    <a:pt x="246" y="50"/>
                    <a:pt x="248" y="53"/>
                    <a:pt x="251" y="56"/>
                  </a:cubicBezTo>
                  <a:cubicBezTo>
                    <a:pt x="254" y="59"/>
                    <a:pt x="257" y="64"/>
                    <a:pt x="255" y="65"/>
                  </a:cubicBezTo>
                  <a:cubicBezTo>
                    <a:pt x="252" y="67"/>
                    <a:pt x="248" y="64"/>
                    <a:pt x="246" y="65"/>
                  </a:cubicBezTo>
                  <a:cubicBezTo>
                    <a:pt x="245" y="67"/>
                    <a:pt x="243" y="64"/>
                    <a:pt x="239" y="65"/>
                  </a:cubicBezTo>
                  <a:cubicBezTo>
                    <a:pt x="236" y="69"/>
                    <a:pt x="231" y="67"/>
                    <a:pt x="228" y="70"/>
                  </a:cubicBezTo>
                  <a:cubicBezTo>
                    <a:pt x="225" y="75"/>
                    <a:pt x="228" y="75"/>
                    <a:pt x="225" y="76"/>
                  </a:cubicBezTo>
                  <a:cubicBezTo>
                    <a:pt x="222" y="80"/>
                    <a:pt x="219" y="81"/>
                    <a:pt x="216" y="80"/>
                  </a:cubicBezTo>
                  <a:cubicBezTo>
                    <a:pt x="211" y="80"/>
                    <a:pt x="213" y="84"/>
                    <a:pt x="207" y="87"/>
                  </a:cubicBezTo>
                  <a:cubicBezTo>
                    <a:pt x="199" y="90"/>
                    <a:pt x="196" y="83"/>
                    <a:pt x="192" y="84"/>
                  </a:cubicBezTo>
                  <a:cubicBezTo>
                    <a:pt x="189" y="84"/>
                    <a:pt x="189" y="87"/>
                    <a:pt x="189" y="92"/>
                  </a:cubicBezTo>
                  <a:cubicBezTo>
                    <a:pt x="189" y="95"/>
                    <a:pt x="195" y="98"/>
                    <a:pt x="192" y="100"/>
                  </a:cubicBezTo>
                  <a:cubicBezTo>
                    <a:pt x="187" y="103"/>
                    <a:pt x="185" y="103"/>
                    <a:pt x="181" y="107"/>
                  </a:cubicBezTo>
                  <a:cubicBezTo>
                    <a:pt x="178" y="112"/>
                    <a:pt x="175" y="111"/>
                    <a:pt x="173" y="114"/>
                  </a:cubicBezTo>
                  <a:cubicBezTo>
                    <a:pt x="172" y="115"/>
                    <a:pt x="170" y="112"/>
                    <a:pt x="169" y="114"/>
                  </a:cubicBezTo>
                  <a:cubicBezTo>
                    <a:pt x="166" y="115"/>
                    <a:pt x="166" y="114"/>
                    <a:pt x="160" y="114"/>
                  </a:cubicBezTo>
                  <a:cubicBezTo>
                    <a:pt x="155" y="114"/>
                    <a:pt x="158" y="112"/>
                    <a:pt x="154" y="115"/>
                  </a:cubicBezTo>
                  <a:cubicBezTo>
                    <a:pt x="151" y="118"/>
                    <a:pt x="151" y="115"/>
                    <a:pt x="138" y="123"/>
                  </a:cubicBezTo>
                  <a:cubicBezTo>
                    <a:pt x="137" y="124"/>
                    <a:pt x="137" y="121"/>
                    <a:pt x="134" y="123"/>
                  </a:cubicBezTo>
                  <a:cubicBezTo>
                    <a:pt x="132" y="123"/>
                    <a:pt x="135" y="118"/>
                    <a:pt x="131" y="120"/>
                  </a:cubicBezTo>
                  <a:cubicBezTo>
                    <a:pt x="126" y="123"/>
                    <a:pt x="120" y="117"/>
                    <a:pt x="117" y="117"/>
                  </a:cubicBezTo>
                  <a:cubicBezTo>
                    <a:pt x="114" y="117"/>
                    <a:pt x="111" y="111"/>
                    <a:pt x="100" y="111"/>
                  </a:cubicBezTo>
                  <a:cubicBezTo>
                    <a:pt x="90" y="112"/>
                    <a:pt x="88" y="112"/>
                    <a:pt x="75" y="111"/>
                  </a:cubicBezTo>
                  <a:cubicBezTo>
                    <a:pt x="72" y="109"/>
                    <a:pt x="69" y="112"/>
                    <a:pt x="69" y="109"/>
                  </a:cubicBezTo>
                  <a:cubicBezTo>
                    <a:pt x="67" y="104"/>
                    <a:pt x="65" y="107"/>
                    <a:pt x="64" y="100"/>
                  </a:cubicBezTo>
                  <a:cubicBezTo>
                    <a:pt x="62" y="93"/>
                    <a:pt x="64" y="100"/>
                    <a:pt x="55" y="92"/>
                  </a:cubicBezTo>
                  <a:cubicBezTo>
                    <a:pt x="47" y="84"/>
                    <a:pt x="43" y="84"/>
                    <a:pt x="38" y="84"/>
                  </a:cubicBezTo>
                  <a:cubicBezTo>
                    <a:pt x="34" y="84"/>
                    <a:pt x="31" y="83"/>
                    <a:pt x="27" y="83"/>
                  </a:cubicBezTo>
                  <a:cubicBezTo>
                    <a:pt x="23" y="83"/>
                    <a:pt x="23" y="78"/>
                    <a:pt x="24" y="76"/>
                  </a:cubicBezTo>
                  <a:cubicBezTo>
                    <a:pt x="27" y="72"/>
                    <a:pt x="24" y="73"/>
                    <a:pt x="26" y="67"/>
                  </a:cubicBezTo>
                  <a:cubicBezTo>
                    <a:pt x="27" y="61"/>
                    <a:pt x="20" y="55"/>
                    <a:pt x="18" y="52"/>
                  </a:cubicBezTo>
                  <a:cubicBezTo>
                    <a:pt x="18" y="50"/>
                    <a:pt x="17" y="53"/>
                    <a:pt x="15" y="50"/>
                  </a:cubicBezTo>
                  <a:cubicBezTo>
                    <a:pt x="14" y="47"/>
                    <a:pt x="12" y="52"/>
                    <a:pt x="9" y="48"/>
                  </a:cubicBezTo>
                  <a:cubicBezTo>
                    <a:pt x="5" y="47"/>
                    <a:pt x="0" y="41"/>
                    <a:pt x="2" y="36"/>
                  </a:cubicBezTo>
                  <a:cubicBezTo>
                    <a:pt x="6" y="30"/>
                    <a:pt x="5" y="35"/>
                    <a:pt x="12" y="31"/>
                  </a:cubicBezTo>
                  <a:cubicBezTo>
                    <a:pt x="18" y="30"/>
                    <a:pt x="12" y="28"/>
                    <a:pt x="21" y="24"/>
                  </a:cubicBezTo>
                  <a:cubicBezTo>
                    <a:pt x="31" y="19"/>
                    <a:pt x="37" y="16"/>
                    <a:pt x="41" y="19"/>
                  </a:cubicBezTo>
                  <a:cubicBezTo>
                    <a:pt x="46" y="22"/>
                    <a:pt x="52" y="16"/>
                    <a:pt x="53" y="22"/>
                  </a:cubicBezTo>
                  <a:cubicBezTo>
                    <a:pt x="55" y="27"/>
                    <a:pt x="81" y="31"/>
                    <a:pt x="84" y="24"/>
                  </a:cubicBezTo>
                  <a:cubicBezTo>
                    <a:pt x="85" y="17"/>
                    <a:pt x="76" y="17"/>
                    <a:pt x="82" y="10"/>
                  </a:cubicBezTo>
                  <a:cubicBezTo>
                    <a:pt x="88" y="0"/>
                    <a:pt x="85" y="0"/>
                    <a:pt x="99" y="5"/>
                  </a:cubicBezTo>
                  <a:cubicBezTo>
                    <a:pt x="111" y="11"/>
                    <a:pt x="116" y="5"/>
                    <a:pt x="116" y="13"/>
                  </a:cubicBezTo>
                  <a:cubicBezTo>
                    <a:pt x="116" y="21"/>
                    <a:pt x="123" y="27"/>
                    <a:pt x="131" y="24"/>
                  </a:cubicBezTo>
                  <a:cubicBezTo>
                    <a:pt x="140" y="21"/>
                    <a:pt x="141" y="21"/>
                    <a:pt x="152" y="25"/>
                  </a:cubicBezTo>
                  <a:cubicBezTo>
                    <a:pt x="163" y="28"/>
                    <a:pt x="157" y="31"/>
                    <a:pt x="170" y="35"/>
                  </a:cubicBezTo>
                  <a:cubicBezTo>
                    <a:pt x="190" y="39"/>
                    <a:pt x="182" y="31"/>
                    <a:pt x="195" y="33"/>
                  </a:cubicBezTo>
                  <a:cubicBezTo>
                    <a:pt x="207" y="33"/>
                    <a:pt x="204" y="17"/>
                    <a:pt x="214" y="24"/>
                  </a:cubicBezTo>
                  <a:cubicBezTo>
                    <a:pt x="223" y="30"/>
                    <a:pt x="223" y="24"/>
                    <a:pt x="230" y="28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24" name="Freeform 10">
              <a:extLst>
                <a:ext uri="{FF2B5EF4-FFF2-40B4-BE49-F238E27FC236}">
                  <a16:creationId xmlns:a16="http://schemas.microsoft.com/office/drawing/2014/main" id="{7A89EEF8-DF01-9611-4510-8AB47FC336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46631" y="2989787"/>
              <a:ext cx="1528049" cy="1142400"/>
            </a:xfrm>
            <a:custGeom>
              <a:avLst/>
              <a:gdLst/>
              <a:ahLst/>
              <a:cxnLst>
                <a:cxn ang="0">
                  <a:pos x="441" y="136"/>
                </a:cxn>
                <a:cxn ang="0">
                  <a:pos x="427" y="142"/>
                </a:cxn>
                <a:cxn ang="0">
                  <a:pos x="414" y="150"/>
                </a:cxn>
                <a:cxn ang="0">
                  <a:pos x="398" y="160"/>
                </a:cxn>
                <a:cxn ang="0">
                  <a:pos x="383" y="171"/>
                </a:cxn>
                <a:cxn ang="0">
                  <a:pos x="382" y="160"/>
                </a:cxn>
                <a:cxn ang="0">
                  <a:pos x="376" y="151"/>
                </a:cxn>
                <a:cxn ang="0">
                  <a:pos x="351" y="168"/>
                </a:cxn>
                <a:cxn ang="0">
                  <a:pos x="365" y="190"/>
                </a:cxn>
                <a:cxn ang="0">
                  <a:pos x="383" y="187"/>
                </a:cxn>
                <a:cxn ang="0">
                  <a:pos x="385" y="193"/>
                </a:cxn>
                <a:cxn ang="0">
                  <a:pos x="371" y="204"/>
                </a:cxn>
                <a:cxn ang="0">
                  <a:pos x="379" y="240"/>
                </a:cxn>
                <a:cxn ang="0">
                  <a:pos x="371" y="246"/>
                </a:cxn>
                <a:cxn ang="0">
                  <a:pos x="383" y="257"/>
                </a:cxn>
                <a:cxn ang="0">
                  <a:pos x="386" y="268"/>
                </a:cxn>
                <a:cxn ang="0">
                  <a:pos x="380" y="285"/>
                </a:cxn>
                <a:cxn ang="0">
                  <a:pos x="368" y="300"/>
                </a:cxn>
                <a:cxn ang="0">
                  <a:pos x="365" y="313"/>
                </a:cxn>
                <a:cxn ang="0">
                  <a:pos x="357" y="322"/>
                </a:cxn>
                <a:cxn ang="0">
                  <a:pos x="345" y="333"/>
                </a:cxn>
                <a:cxn ang="0">
                  <a:pos x="335" y="342"/>
                </a:cxn>
                <a:cxn ang="0">
                  <a:pos x="325" y="345"/>
                </a:cxn>
                <a:cxn ang="0">
                  <a:pos x="316" y="347"/>
                </a:cxn>
                <a:cxn ang="0">
                  <a:pos x="303" y="353"/>
                </a:cxn>
                <a:cxn ang="0">
                  <a:pos x="290" y="364"/>
                </a:cxn>
                <a:cxn ang="0">
                  <a:pos x="287" y="353"/>
                </a:cxn>
                <a:cxn ang="0">
                  <a:pos x="277" y="353"/>
                </a:cxn>
                <a:cxn ang="0">
                  <a:pos x="265" y="342"/>
                </a:cxn>
                <a:cxn ang="0">
                  <a:pos x="245" y="341"/>
                </a:cxn>
                <a:cxn ang="0">
                  <a:pos x="233" y="341"/>
                </a:cxn>
                <a:cxn ang="0">
                  <a:pos x="220" y="353"/>
                </a:cxn>
                <a:cxn ang="0">
                  <a:pos x="205" y="345"/>
                </a:cxn>
                <a:cxn ang="0">
                  <a:pos x="195" y="328"/>
                </a:cxn>
                <a:cxn ang="0">
                  <a:pos x="201" y="310"/>
                </a:cxn>
                <a:cxn ang="0">
                  <a:pos x="190" y="285"/>
                </a:cxn>
                <a:cxn ang="0">
                  <a:pos x="176" y="274"/>
                </a:cxn>
                <a:cxn ang="0">
                  <a:pos x="144" y="289"/>
                </a:cxn>
                <a:cxn ang="0">
                  <a:pos x="126" y="289"/>
                </a:cxn>
                <a:cxn ang="0">
                  <a:pos x="105" y="286"/>
                </a:cxn>
                <a:cxn ang="0">
                  <a:pos x="93" y="280"/>
                </a:cxn>
                <a:cxn ang="0">
                  <a:pos x="67" y="261"/>
                </a:cxn>
                <a:cxn ang="0">
                  <a:pos x="41" y="241"/>
                </a:cxn>
                <a:cxn ang="0">
                  <a:pos x="47" y="223"/>
                </a:cxn>
                <a:cxn ang="0">
                  <a:pos x="45" y="202"/>
                </a:cxn>
                <a:cxn ang="0">
                  <a:pos x="21" y="196"/>
                </a:cxn>
                <a:cxn ang="0">
                  <a:pos x="12" y="179"/>
                </a:cxn>
                <a:cxn ang="0">
                  <a:pos x="7" y="157"/>
                </a:cxn>
                <a:cxn ang="0">
                  <a:pos x="39" y="143"/>
                </a:cxn>
                <a:cxn ang="0">
                  <a:pos x="56" y="106"/>
                </a:cxn>
                <a:cxn ang="0">
                  <a:pos x="76" y="78"/>
                </a:cxn>
                <a:cxn ang="0">
                  <a:pos x="111" y="55"/>
                </a:cxn>
                <a:cxn ang="0">
                  <a:pos x="140" y="84"/>
                </a:cxn>
                <a:cxn ang="0">
                  <a:pos x="178" y="117"/>
                </a:cxn>
                <a:cxn ang="0">
                  <a:pos x="245" y="137"/>
                </a:cxn>
                <a:cxn ang="0">
                  <a:pos x="283" y="131"/>
                </a:cxn>
                <a:cxn ang="0">
                  <a:pos x="306" y="101"/>
                </a:cxn>
                <a:cxn ang="0">
                  <a:pos x="353" y="83"/>
                </a:cxn>
                <a:cxn ang="0">
                  <a:pos x="348" y="70"/>
                </a:cxn>
                <a:cxn ang="0">
                  <a:pos x="373" y="24"/>
                </a:cxn>
                <a:cxn ang="0">
                  <a:pos x="441" y="50"/>
                </a:cxn>
                <a:cxn ang="0">
                  <a:pos x="481" y="64"/>
                </a:cxn>
                <a:cxn ang="0">
                  <a:pos x="458" y="123"/>
                </a:cxn>
              </a:cxnLst>
              <a:rect l="0" t="0" r="r" b="b"/>
              <a:pathLst>
                <a:path w="490" h="367">
                  <a:moveTo>
                    <a:pt x="453" y="131"/>
                  </a:moveTo>
                  <a:cubicBezTo>
                    <a:pt x="453" y="128"/>
                    <a:pt x="453" y="131"/>
                    <a:pt x="452" y="129"/>
                  </a:cubicBezTo>
                  <a:cubicBezTo>
                    <a:pt x="450" y="128"/>
                    <a:pt x="452" y="126"/>
                    <a:pt x="449" y="125"/>
                  </a:cubicBezTo>
                  <a:cubicBezTo>
                    <a:pt x="446" y="125"/>
                    <a:pt x="449" y="132"/>
                    <a:pt x="446" y="131"/>
                  </a:cubicBezTo>
                  <a:cubicBezTo>
                    <a:pt x="443" y="131"/>
                    <a:pt x="444" y="134"/>
                    <a:pt x="441" y="136"/>
                  </a:cubicBezTo>
                  <a:cubicBezTo>
                    <a:pt x="440" y="137"/>
                    <a:pt x="441" y="136"/>
                    <a:pt x="438" y="136"/>
                  </a:cubicBezTo>
                  <a:cubicBezTo>
                    <a:pt x="436" y="137"/>
                    <a:pt x="433" y="134"/>
                    <a:pt x="433" y="137"/>
                  </a:cubicBezTo>
                  <a:cubicBezTo>
                    <a:pt x="433" y="140"/>
                    <a:pt x="436" y="140"/>
                    <a:pt x="435" y="142"/>
                  </a:cubicBezTo>
                  <a:cubicBezTo>
                    <a:pt x="433" y="143"/>
                    <a:pt x="433" y="142"/>
                    <a:pt x="432" y="142"/>
                  </a:cubicBezTo>
                  <a:cubicBezTo>
                    <a:pt x="430" y="143"/>
                    <a:pt x="429" y="142"/>
                    <a:pt x="427" y="142"/>
                  </a:cubicBezTo>
                  <a:cubicBezTo>
                    <a:pt x="426" y="142"/>
                    <a:pt x="426" y="137"/>
                    <a:pt x="424" y="139"/>
                  </a:cubicBezTo>
                  <a:cubicBezTo>
                    <a:pt x="423" y="140"/>
                    <a:pt x="424" y="139"/>
                    <a:pt x="423" y="140"/>
                  </a:cubicBezTo>
                  <a:cubicBezTo>
                    <a:pt x="421" y="142"/>
                    <a:pt x="423" y="142"/>
                    <a:pt x="421" y="143"/>
                  </a:cubicBezTo>
                  <a:cubicBezTo>
                    <a:pt x="420" y="145"/>
                    <a:pt x="418" y="148"/>
                    <a:pt x="417" y="148"/>
                  </a:cubicBezTo>
                  <a:cubicBezTo>
                    <a:pt x="414" y="148"/>
                    <a:pt x="415" y="150"/>
                    <a:pt x="414" y="150"/>
                  </a:cubicBezTo>
                  <a:cubicBezTo>
                    <a:pt x="412" y="150"/>
                    <a:pt x="414" y="151"/>
                    <a:pt x="412" y="151"/>
                  </a:cubicBezTo>
                  <a:cubicBezTo>
                    <a:pt x="409" y="153"/>
                    <a:pt x="411" y="153"/>
                    <a:pt x="409" y="153"/>
                  </a:cubicBezTo>
                  <a:cubicBezTo>
                    <a:pt x="408" y="153"/>
                    <a:pt x="406" y="156"/>
                    <a:pt x="405" y="157"/>
                  </a:cubicBezTo>
                  <a:cubicBezTo>
                    <a:pt x="405" y="159"/>
                    <a:pt x="405" y="159"/>
                    <a:pt x="405" y="159"/>
                  </a:cubicBezTo>
                  <a:cubicBezTo>
                    <a:pt x="401" y="162"/>
                    <a:pt x="400" y="159"/>
                    <a:pt x="398" y="160"/>
                  </a:cubicBezTo>
                  <a:cubicBezTo>
                    <a:pt x="397" y="162"/>
                    <a:pt x="397" y="159"/>
                    <a:pt x="395" y="162"/>
                  </a:cubicBezTo>
                  <a:cubicBezTo>
                    <a:pt x="395" y="164"/>
                    <a:pt x="392" y="162"/>
                    <a:pt x="391" y="164"/>
                  </a:cubicBezTo>
                  <a:cubicBezTo>
                    <a:pt x="389" y="165"/>
                    <a:pt x="388" y="165"/>
                    <a:pt x="386" y="168"/>
                  </a:cubicBezTo>
                  <a:cubicBezTo>
                    <a:pt x="386" y="171"/>
                    <a:pt x="383" y="170"/>
                    <a:pt x="383" y="170"/>
                  </a:cubicBezTo>
                  <a:cubicBezTo>
                    <a:pt x="383" y="170"/>
                    <a:pt x="385" y="171"/>
                    <a:pt x="383" y="171"/>
                  </a:cubicBezTo>
                  <a:cubicBezTo>
                    <a:pt x="380" y="171"/>
                    <a:pt x="379" y="174"/>
                    <a:pt x="379" y="171"/>
                  </a:cubicBezTo>
                  <a:cubicBezTo>
                    <a:pt x="379" y="168"/>
                    <a:pt x="379" y="171"/>
                    <a:pt x="380" y="170"/>
                  </a:cubicBezTo>
                  <a:cubicBezTo>
                    <a:pt x="382" y="167"/>
                    <a:pt x="382" y="170"/>
                    <a:pt x="383" y="168"/>
                  </a:cubicBezTo>
                  <a:cubicBezTo>
                    <a:pt x="383" y="165"/>
                    <a:pt x="380" y="164"/>
                    <a:pt x="380" y="164"/>
                  </a:cubicBezTo>
                  <a:cubicBezTo>
                    <a:pt x="379" y="164"/>
                    <a:pt x="382" y="162"/>
                    <a:pt x="382" y="160"/>
                  </a:cubicBezTo>
                  <a:cubicBezTo>
                    <a:pt x="380" y="160"/>
                    <a:pt x="383" y="160"/>
                    <a:pt x="386" y="156"/>
                  </a:cubicBezTo>
                  <a:cubicBezTo>
                    <a:pt x="388" y="153"/>
                    <a:pt x="388" y="153"/>
                    <a:pt x="386" y="151"/>
                  </a:cubicBezTo>
                  <a:cubicBezTo>
                    <a:pt x="383" y="148"/>
                    <a:pt x="385" y="148"/>
                    <a:pt x="383" y="148"/>
                  </a:cubicBezTo>
                  <a:cubicBezTo>
                    <a:pt x="382" y="150"/>
                    <a:pt x="380" y="146"/>
                    <a:pt x="379" y="148"/>
                  </a:cubicBezTo>
                  <a:cubicBezTo>
                    <a:pt x="376" y="150"/>
                    <a:pt x="379" y="150"/>
                    <a:pt x="376" y="151"/>
                  </a:cubicBezTo>
                  <a:cubicBezTo>
                    <a:pt x="374" y="154"/>
                    <a:pt x="376" y="156"/>
                    <a:pt x="373" y="156"/>
                  </a:cubicBezTo>
                  <a:cubicBezTo>
                    <a:pt x="371" y="157"/>
                    <a:pt x="363" y="160"/>
                    <a:pt x="363" y="164"/>
                  </a:cubicBezTo>
                  <a:cubicBezTo>
                    <a:pt x="363" y="167"/>
                    <a:pt x="362" y="168"/>
                    <a:pt x="359" y="168"/>
                  </a:cubicBezTo>
                  <a:cubicBezTo>
                    <a:pt x="357" y="167"/>
                    <a:pt x="357" y="171"/>
                    <a:pt x="356" y="168"/>
                  </a:cubicBezTo>
                  <a:cubicBezTo>
                    <a:pt x="354" y="167"/>
                    <a:pt x="351" y="167"/>
                    <a:pt x="351" y="168"/>
                  </a:cubicBezTo>
                  <a:cubicBezTo>
                    <a:pt x="351" y="170"/>
                    <a:pt x="350" y="171"/>
                    <a:pt x="351" y="174"/>
                  </a:cubicBezTo>
                  <a:cubicBezTo>
                    <a:pt x="351" y="178"/>
                    <a:pt x="353" y="178"/>
                    <a:pt x="354" y="178"/>
                  </a:cubicBezTo>
                  <a:cubicBezTo>
                    <a:pt x="354" y="179"/>
                    <a:pt x="357" y="179"/>
                    <a:pt x="359" y="179"/>
                  </a:cubicBezTo>
                  <a:cubicBezTo>
                    <a:pt x="360" y="178"/>
                    <a:pt x="363" y="182"/>
                    <a:pt x="362" y="184"/>
                  </a:cubicBezTo>
                  <a:cubicBezTo>
                    <a:pt x="360" y="185"/>
                    <a:pt x="362" y="190"/>
                    <a:pt x="365" y="190"/>
                  </a:cubicBezTo>
                  <a:cubicBezTo>
                    <a:pt x="370" y="190"/>
                    <a:pt x="370" y="190"/>
                    <a:pt x="370" y="188"/>
                  </a:cubicBezTo>
                  <a:cubicBezTo>
                    <a:pt x="368" y="187"/>
                    <a:pt x="371" y="187"/>
                    <a:pt x="373" y="185"/>
                  </a:cubicBezTo>
                  <a:cubicBezTo>
                    <a:pt x="373" y="182"/>
                    <a:pt x="377" y="182"/>
                    <a:pt x="379" y="184"/>
                  </a:cubicBezTo>
                  <a:cubicBezTo>
                    <a:pt x="379" y="184"/>
                    <a:pt x="379" y="185"/>
                    <a:pt x="380" y="185"/>
                  </a:cubicBezTo>
                  <a:cubicBezTo>
                    <a:pt x="382" y="184"/>
                    <a:pt x="380" y="185"/>
                    <a:pt x="383" y="187"/>
                  </a:cubicBezTo>
                  <a:cubicBezTo>
                    <a:pt x="388" y="187"/>
                    <a:pt x="385" y="184"/>
                    <a:pt x="388" y="185"/>
                  </a:cubicBezTo>
                  <a:cubicBezTo>
                    <a:pt x="388" y="187"/>
                    <a:pt x="392" y="187"/>
                    <a:pt x="391" y="188"/>
                  </a:cubicBezTo>
                  <a:cubicBezTo>
                    <a:pt x="388" y="192"/>
                    <a:pt x="392" y="192"/>
                    <a:pt x="389" y="193"/>
                  </a:cubicBezTo>
                  <a:cubicBezTo>
                    <a:pt x="386" y="195"/>
                    <a:pt x="388" y="192"/>
                    <a:pt x="386" y="192"/>
                  </a:cubicBezTo>
                  <a:cubicBezTo>
                    <a:pt x="385" y="193"/>
                    <a:pt x="386" y="190"/>
                    <a:pt x="385" y="193"/>
                  </a:cubicBezTo>
                  <a:cubicBezTo>
                    <a:pt x="382" y="195"/>
                    <a:pt x="382" y="193"/>
                    <a:pt x="380" y="195"/>
                  </a:cubicBezTo>
                  <a:cubicBezTo>
                    <a:pt x="377" y="196"/>
                    <a:pt x="377" y="198"/>
                    <a:pt x="377" y="198"/>
                  </a:cubicBezTo>
                  <a:cubicBezTo>
                    <a:pt x="376" y="198"/>
                    <a:pt x="376" y="201"/>
                    <a:pt x="374" y="201"/>
                  </a:cubicBezTo>
                  <a:cubicBezTo>
                    <a:pt x="371" y="202"/>
                    <a:pt x="373" y="199"/>
                    <a:pt x="371" y="199"/>
                  </a:cubicBezTo>
                  <a:cubicBezTo>
                    <a:pt x="370" y="201"/>
                    <a:pt x="373" y="202"/>
                    <a:pt x="371" y="204"/>
                  </a:cubicBezTo>
                  <a:cubicBezTo>
                    <a:pt x="370" y="204"/>
                    <a:pt x="371" y="206"/>
                    <a:pt x="368" y="206"/>
                  </a:cubicBezTo>
                  <a:cubicBezTo>
                    <a:pt x="366" y="207"/>
                    <a:pt x="360" y="216"/>
                    <a:pt x="363" y="215"/>
                  </a:cubicBezTo>
                  <a:cubicBezTo>
                    <a:pt x="368" y="215"/>
                    <a:pt x="365" y="218"/>
                    <a:pt x="370" y="220"/>
                  </a:cubicBezTo>
                  <a:cubicBezTo>
                    <a:pt x="374" y="221"/>
                    <a:pt x="373" y="227"/>
                    <a:pt x="376" y="232"/>
                  </a:cubicBezTo>
                  <a:cubicBezTo>
                    <a:pt x="379" y="237"/>
                    <a:pt x="376" y="237"/>
                    <a:pt x="379" y="240"/>
                  </a:cubicBezTo>
                  <a:cubicBezTo>
                    <a:pt x="382" y="241"/>
                    <a:pt x="380" y="241"/>
                    <a:pt x="382" y="244"/>
                  </a:cubicBezTo>
                  <a:cubicBezTo>
                    <a:pt x="385" y="246"/>
                    <a:pt x="386" y="249"/>
                    <a:pt x="383" y="247"/>
                  </a:cubicBezTo>
                  <a:cubicBezTo>
                    <a:pt x="379" y="246"/>
                    <a:pt x="379" y="247"/>
                    <a:pt x="377" y="246"/>
                  </a:cubicBezTo>
                  <a:cubicBezTo>
                    <a:pt x="376" y="246"/>
                    <a:pt x="377" y="244"/>
                    <a:pt x="376" y="244"/>
                  </a:cubicBezTo>
                  <a:cubicBezTo>
                    <a:pt x="374" y="243"/>
                    <a:pt x="373" y="246"/>
                    <a:pt x="371" y="246"/>
                  </a:cubicBezTo>
                  <a:cubicBezTo>
                    <a:pt x="370" y="244"/>
                    <a:pt x="368" y="240"/>
                    <a:pt x="368" y="241"/>
                  </a:cubicBezTo>
                  <a:cubicBezTo>
                    <a:pt x="366" y="243"/>
                    <a:pt x="371" y="247"/>
                    <a:pt x="374" y="244"/>
                  </a:cubicBezTo>
                  <a:cubicBezTo>
                    <a:pt x="374" y="244"/>
                    <a:pt x="377" y="246"/>
                    <a:pt x="376" y="246"/>
                  </a:cubicBezTo>
                  <a:cubicBezTo>
                    <a:pt x="376" y="247"/>
                    <a:pt x="377" y="247"/>
                    <a:pt x="380" y="251"/>
                  </a:cubicBezTo>
                  <a:cubicBezTo>
                    <a:pt x="383" y="254"/>
                    <a:pt x="386" y="257"/>
                    <a:pt x="383" y="257"/>
                  </a:cubicBezTo>
                  <a:cubicBezTo>
                    <a:pt x="382" y="257"/>
                    <a:pt x="377" y="260"/>
                    <a:pt x="377" y="261"/>
                  </a:cubicBezTo>
                  <a:cubicBezTo>
                    <a:pt x="377" y="263"/>
                    <a:pt x="374" y="260"/>
                    <a:pt x="373" y="263"/>
                  </a:cubicBezTo>
                  <a:cubicBezTo>
                    <a:pt x="373" y="265"/>
                    <a:pt x="374" y="261"/>
                    <a:pt x="374" y="263"/>
                  </a:cubicBezTo>
                  <a:cubicBezTo>
                    <a:pt x="376" y="268"/>
                    <a:pt x="379" y="260"/>
                    <a:pt x="382" y="265"/>
                  </a:cubicBezTo>
                  <a:cubicBezTo>
                    <a:pt x="385" y="268"/>
                    <a:pt x="388" y="266"/>
                    <a:pt x="386" y="268"/>
                  </a:cubicBezTo>
                  <a:cubicBezTo>
                    <a:pt x="382" y="271"/>
                    <a:pt x="385" y="268"/>
                    <a:pt x="385" y="272"/>
                  </a:cubicBezTo>
                  <a:cubicBezTo>
                    <a:pt x="386" y="277"/>
                    <a:pt x="380" y="274"/>
                    <a:pt x="383" y="275"/>
                  </a:cubicBezTo>
                  <a:cubicBezTo>
                    <a:pt x="385" y="277"/>
                    <a:pt x="382" y="277"/>
                    <a:pt x="383" y="279"/>
                  </a:cubicBezTo>
                  <a:cubicBezTo>
                    <a:pt x="383" y="280"/>
                    <a:pt x="380" y="279"/>
                    <a:pt x="382" y="282"/>
                  </a:cubicBezTo>
                  <a:cubicBezTo>
                    <a:pt x="383" y="285"/>
                    <a:pt x="382" y="283"/>
                    <a:pt x="380" y="285"/>
                  </a:cubicBezTo>
                  <a:cubicBezTo>
                    <a:pt x="380" y="286"/>
                    <a:pt x="380" y="280"/>
                    <a:pt x="379" y="285"/>
                  </a:cubicBezTo>
                  <a:cubicBezTo>
                    <a:pt x="377" y="289"/>
                    <a:pt x="374" y="289"/>
                    <a:pt x="374" y="291"/>
                  </a:cubicBezTo>
                  <a:cubicBezTo>
                    <a:pt x="376" y="293"/>
                    <a:pt x="373" y="297"/>
                    <a:pt x="371" y="299"/>
                  </a:cubicBezTo>
                  <a:cubicBezTo>
                    <a:pt x="370" y="299"/>
                    <a:pt x="373" y="300"/>
                    <a:pt x="370" y="302"/>
                  </a:cubicBezTo>
                  <a:cubicBezTo>
                    <a:pt x="368" y="302"/>
                    <a:pt x="370" y="299"/>
                    <a:pt x="368" y="300"/>
                  </a:cubicBezTo>
                  <a:cubicBezTo>
                    <a:pt x="365" y="300"/>
                    <a:pt x="368" y="300"/>
                    <a:pt x="368" y="302"/>
                  </a:cubicBezTo>
                  <a:cubicBezTo>
                    <a:pt x="370" y="305"/>
                    <a:pt x="371" y="303"/>
                    <a:pt x="368" y="303"/>
                  </a:cubicBezTo>
                  <a:cubicBezTo>
                    <a:pt x="366" y="305"/>
                    <a:pt x="365" y="308"/>
                    <a:pt x="366" y="307"/>
                  </a:cubicBezTo>
                  <a:cubicBezTo>
                    <a:pt x="370" y="307"/>
                    <a:pt x="365" y="310"/>
                    <a:pt x="366" y="313"/>
                  </a:cubicBezTo>
                  <a:cubicBezTo>
                    <a:pt x="368" y="314"/>
                    <a:pt x="366" y="316"/>
                    <a:pt x="365" y="313"/>
                  </a:cubicBezTo>
                  <a:cubicBezTo>
                    <a:pt x="363" y="311"/>
                    <a:pt x="362" y="313"/>
                    <a:pt x="363" y="314"/>
                  </a:cubicBezTo>
                  <a:cubicBezTo>
                    <a:pt x="363" y="314"/>
                    <a:pt x="366" y="314"/>
                    <a:pt x="363" y="316"/>
                  </a:cubicBezTo>
                  <a:cubicBezTo>
                    <a:pt x="362" y="317"/>
                    <a:pt x="362" y="314"/>
                    <a:pt x="360" y="316"/>
                  </a:cubicBezTo>
                  <a:cubicBezTo>
                    <a:pt x="360" y="317"/>
                    <a:pt x="363" y="317"/>
                    <a:pt x="362" y="319"/>
                  </a:cubicBezTo>
                  <a:cubicBezTo>
                    <a:pt x="359" y="320"/>
                    <a:pt x="359" y="324"/>
                    <a:pt x="357" y="322"/>
                  </a:cubicBezTo>
                  <a:cubicBezTo>
                    <a:pt x="356" y="320"/>
                    <a:pt x="356" y="324"/>
                    <a:pt x="356" y="322"/>
                  </a:cubicBezTo>
                  <a:cubicBezTo>
                    <a:pt x="354" y="320"/>
                    <a:pt x="354" y="324"/>
                    <a:pt x="354" y="324"/>
                  </a:cubicBezTo>
                  <a:cubicBezTo>
                    <a:pt x="356" y="325"/>
                    <a:pt x="353" y="328"/>
                    <a:pt x="351" y="330"/>
                  </a:cubicBezTo>
                  <a:cubicBezTo>
                    <a:pt x="350" y="331"/>
                    <a:pt x="351" y="328"/>
                    <a:pt x="348" y="330"/>
                  </a:cubicBezTo>
                  <a:cubicBezTo>
                    <a:pt x="347" y="333"/>
                    <a:pt x="347" y="330"/>
                    <a:pt x="345" y="333"/>
                  </a:cubicBezTo>
                  <a:cubicBezTo>
                    <a:pt x="344" y="335"/>
                    <a:pt x="342" y="335"/>
                    <a:pt x="344" y="335"/>
                  </a:cubicBezTo>
                  <a:cubicBezTo>
                    <a:pt x="345" y="336"/>
                    <a:pt x="342" y="336"/>
                    <a:pt x="342" y="338"/>
                  </a:cubicBezTo>
                  <a:cubicBezTo>
                    <a:pt x="342" y="339"/>
                    <a:pt x="341" y="339"/>
                    <a:pt x="338" y="341"/>
                  </a:cubicBezTo>
                  <a:cubicBezTo>
                    <a:pt x="336" y="342"/>
                    <a:pt x="336" y="339"/>
                    <a:pt x="335" y="339"/>
                  </a:cubicBezTo>
                  <a:cubicBezTo>
                    <a:pt x="335" y="339"/>
                    <a:pt x="336" y="342"/>
                    <a:pt x="335" y="342"/>
                  </a:cubicBezTo>
                  <a:cubicBezTo>
                    <a:pt x="333" y="341"/>
                    <a:pt x="331" y="339"/>
                    <a:pt x="330" y="342"/>
                  </a:cubicBezTo>
                  <a:cubicBezTo>
                    <a:pt x="328" y="344"/>
                    <a:pt x="328" y="339"/>
                    <a:pt x="327" y="341"/>
                  </a:cubicBezTo>
                  <a:cubicBezTo>
                    <a:pt x="325" y="341"/>
                    <a:pt x="328" y="342"/>
                    <a:pt x="327" y="344"/>
                  </a:cubicBezTo>
                  <a:cubicBezTo>
                    <a:pt x="325" y="344"/>
                    <a:pt x="325" y="341"/>
                    <a:pt x="325" y="342"/>
                  </a:cubicBezTo>
                  <a:cubicBezTo>
                    <a:pt x="324" y="344"/>
                    <a:pt x="325" y="344"/>
                    <a:pt x="325" y="345"/>
                  </a:cubicBezTo>
                  <a:cubicBezTo>
                    <a:pt x="324" y="345"/>
                    <a:pt x="324" y="345"/>
                    <a:pt x="322" y="345"/>
                  </a:cubicBezTo>
                  <a:cubicBezTo>
                    <a:pt x="321" y="344"/>
                    <a:pt x="322" y="344"/>
                    <a:pt x="321" y="342"/>
                  </a:cubicBezTo>
                  <a:cubicBezTo>
                    <a:pt x="319" y="341"/>
                    <a:pt x="319" y="338"/>
                    <a:pt x="318" y="339"/>
                  </a:cubicBezTo>
                  <a:cubicBezTo>
                    <a:pt x="318" y="339"/>
                    <a:pt x="319" y="344"/>
                    <a:pt x="319" y="345"/>
                  </a:cubicBezTo>
                  <a:cubicBezTo>
                    <a:pt x="318" y="348"/>
                    <a:pt x="318" y="345"/>
                    <a:pt x="316" y="347"/>
                  </a:cubicBezTo>
                  <a:cubicBezTo>
                    <a:pt x="316" y="348"/>
                    <a:pt x="315" y="345"/>
                    <a:pt x="315" y="348"/>
                  </a:cubicBezTo>
                  <a:cubicBezTo>
                    <a:pt x="315" y="352"/>
                    <a:pt x="313" y="347"/>
                    <a:pt x="312" y="350"/>
                  </a:cubicBezTo>
                  <a:cubicBezTo>
                    <a:pt x="310" y="352"/>
                    <a:pt x="310" y="348"/>
                    <a:pt x="309" y="350"/>
                  </a:cubicBezTo>
                  <a:cubicBezTo>
                    <a:pt x="307" y="353"/>
                    <a:pt x="309" y="352"/>
                    <a:pt x="307" y="350"/>
                  </a:cubicBezTo>
                  <a:cubicBezTo>
                    <a:pt x="304" y="350"/>
                    <a:pt x="307" y="352"/>
                    <a:pt x="303" y="353"/>
                  </a:cubicBezTo>
                  <a:cubicBezTo>
                    <a:pt x="298" y="355"/>
                    <a:pt x="300" y="353"/>
                    <a:pt x="296" y="355"/>
                  </a:cubicBezTo>
                  <a:cubicBezTo>
                    <a:pt x="293" y="356"/>
                    <a:pt x="292" y="358"/>
                    <a:pt x="292" y="359"/>
                  </a:cubicBezTo>
                  <a:cubicBezTo>
                    <a:pt x="292" y="361"/>
                    <a:pt x="293" y="358"/>
                    <a:pt x="293" y="361"/>
                  </a:cubicBezTo>
                  <a:cubicBezTo>
                    <a:pt x="293" y="364"/>
                    <a:pt x="296" y="364"/>
                    <a:pt x="292" y="366"/>
                  </a:cubicBezTo>
                  <a:cubicBezTo>
                    <a:pt x="289" y="367"/>
                    <a:pt x="290" y="366"/>
                    <a:pt x="290" y="364"/>
                  </a:cubicBezTo>
                  <a:cubicBezTo>
                    <a:pt x="289" y="363"/>
                    <a:pt x="287" y="363"/>
                    <a:pt x="289" y="361"/>
                  </a:cubicBezTo>
                  <a:cubicBezTo>
                    <a:pt x="289" y="359"/>
                    <a:pt x="287" y="361"/>
                    <a:pt x="287" y="358"/>
                  </a:cubicBezTo>
                  <a:cubicBezTo>
                    <a:pt x="289" y="355"/>
                    <a:pt x="290" y="355"/>
                    <a:pt x="289" y="353"/>
                  </a:cubicBezTo>
                  <a:cubicBezTo>
                    <a:pt x="289" y="353"/>
                    <a:pt x="289" y="355"/>
                    <a:pt x="287" y="353"/>
                  </a:cubicBezTo>
                  <a:cubicBezTo>
                    <a:pt x="286" y="350"/>
                    <a:pt x="286" y="352"/>
                    <a:pt x="287" y="353"/>
                  </a:cubicBezTo>
                  <a:cubicBezTo>
                    <a:pt x="287" y="355"/>
                    <a:pt x="286" y="353"/>
                    <a:pt x="284" y="355"/>
                  </a:cubicBezTo>
                  <a:cubicBezTo>
                    <a:pt x="281" y="355"/>
                    <a:pt x="286" y="352"/>
                    <a:pt x="283" y="352"/>
                  </a:cubicBezTo>
                  <a:cubicBezTo>
                    <a:pt x="280" y="352"/>
                    <a:pt x="280" y="348"/>
                    <a:pt x="278" y="350"/>
                  </a:cubicBezTo>
                  <a:cubicBezTo>
                    <a:pt x="278" y="352"/>
                    <a:pt x="280" y="352"/>
                    <a:pt x="278" y="353"/>
                  </a:cubicBezTo>
                  <a:cubicBezTo>
                    <a:pt x="278" y="353"/>
                    <a:pt x="277" y="350"/>
                    <a:pt x="277" y="353"/>
                  </a:cubicBezTo>
                  <a:cubicBezTo>
                    <a:pt x="277" y="355"/>
                    <a:pt x="275" y="353"/>
                    <a:pt x="275" y="353"/>
                  </a:cubicBezTo>
                  <a:cubicBezTo>
                    <a:pt x="272" y="352"/>
                    <a:pt x="271" y="353"/>
                    <a:pt x="269" y="352"/>
                  </a:cubicBezTo>
                  <a:cubicBezTo>
                    <a:pt x="269" y="350"/>
                    <a:pt x="268" y="352"/>
                    <a:pt x="268" y="350"/>
                  </a:cubicBezTo>
                  <a:cubicBezTo>
                    <a:pt x="266" y="347"/>
                    <a:pt x="265" y="348"/>
                    <a:pt x="265" y="347"/>
                  </a:cubicBezTo>
                  <a:cubicBezTo>
                    <a:pt x="265" y="344"/>
                    <a:pt x="262" y="345"/>
                    <a:pt x="265" y="342"/>
                  </a:cubicBezTo>
                  <a:cubicBezTo>
                    <a:pt x="266" y="339"/>
                    <a:pt x="265" y="339"/>
                    <a:pt x="263" y="339"/>
                  </a:cubicBezTo>
                  <a:cubicBezTo>
                    <a:pt x="260" y="341"/>
                    <a:pt x="262" y="338"/>
                    <a:pt x="258" y="339"/>
                  </a:cubicBezTo>
                  <a:cubicBezTo>
                    <a:pt x="255" y="339"/>
                    <a:pt x="254" y="333"/>
                    <a:pt x="252" y="335"/>
                  </a:cubicBezTo>
                  <a:cubicBezTo>
                    <a:pt x="251" y="338"/>
                    <a:pt x="249" y="336"/>
                    <a:pt x="249" y="338"/>
                  </a:cubicBezTo>
                  <a:cubicBezTo>
                    <a:pt x="251" y="339"/>
                    <a:pt x="246" y="342"/>
                    <a:pt x="245" y="341"/>
                  </a:cubicBezTo>
                  <a:cubicBezTo>
                    <a:pt x="245" y="339"/>
                    <a:pt x="243" y="339"/>
                    <a:pt x="243" y="342"/>
                  </a:cubicBezTo>
                  <a:cubicBezTo>
                    <a:pt x="243" y="345"/>
                    <a:pt x="242" y="342"/>
                    <a:pt x="240" y="341"/>
                  </a:cubicBezTo>
                  <a:cubicBezTo>
                    <a:pt x="240" y="341"/>
                    <a:pt x="240" y="342"/>
                    <a:pt x="239" y="341"/>
                  </a:cubicBezTo>
                  <a:cubicBezTo>
                    <a:pt x="237" y="338"/>
                    <a:pt x="237" y="344"/>
                    <a:pt x="236" y="344"/>
                  </a:cubicBezTo>
                  <a:cubicBezTo>
                    <a:pt x="234" y="344"/>
                    <a:pt x="236" y="342"/>
                    <a:pt x="233" y="341"/>
                  </a:cubicBezTo>
                  <a:cubicBezTo>
                    <a:pt x="230" y="339"/>
                    <a:pt x="231" y="344"/>
                    <a:pt x="228" y="344"/>
                  </a:cubicBezTo>
                  <a:cubicBezTo>
                    <a:pt x="227" y="344"/>
                    <a:pt x="222" y="344"/>
                    <a:pt x="225" y="348"/>
                  </a:cubicBezTo>
                  <a:cubicBezTo>
                    <a:pt x="227" y="355"/>
                    <a:pt x="225" y="353"/>
                    <a:pt x="225" y="355"/>
                  </a:cubicBezTo>
                  <a:cubicBezTo>
                    <a:pt x="227" y="356"/>
                    <a:pt x="225" y="358"/>
                    <a:pt x="225" y="356"/>
                  </a:cubicBezTo>
                  <a:cubicBezTo>
                    <a:pt x="223" y="355"/>
                    <a:pt x="222" y="359"/>
                    <a:pt x="220" y="353"/>
                  </a:cubicBezTo>
                  <a:cubicBezTo>
                    <a:pt x="220" y="352"/>
                    <a:pt x="220" y="348"/>
                    <a:pt x="217" y="352"/>
                  </a:cubicBezTo>
                  <a:cubicBezTo>
                    <a:pt x="214" y="356"/>
                    <a:pt x="214" y="353"/>
                    <a:pt x="213" y="353"/>
                  </a:cubicBezTo>
                  <a:cubicBezTo>
                    <a:pt x="211" y="355"/>
                    <a:pt x="213" y="352"/>
                    <a:pt x="211" y="352"/>
                  </a:cubicBezTo>
                  <a:cubicBezTo>
                    <a:pt x="210" y="350"/>
                    <a:pt x="211" y="348"/>
                    <a:pt x="210" y="347"/>
                  </a:cubicBezTo>
                  <a:cubicBezTo>
                    <a:pt x="208" y="347"/>
                    <a:pt x="204" y="348"/>
                    <a:pt x="205" y="345"/>
                  </a:cubicBezTo>
                  <a:cubicBezTo>
                    <a:pt x="207" y="341"/>
                    <a:pt x="205" y="342"/>
                    <a:pt x="205" y="339"/>
                  </a:cubicBezTo>
                  <a:cubicBezTo>
                    <a:pt x="207" y="338"/>
                    <a:pt x="210" y="338"/>
                    <a:pt x="205" y="338"/>
                  </a:cubicBezTo>
                  <a:cubicBezTo>
                    <a:pt x="201" y="338"/>
                    <a:pt x="202" y="335"/>
                    <a:pt x="201" y="331"/>
                  </a:cubicBezTo>
                  <a:cubicBezTo>
                    <a:pt x="199" y="328"/>
                    <a:pt x="204" y="325"/>
                    <a:pt x="201" y="327"/>
                  </a:cubicBezTo>
                  <a:cubicBezTo>
                    <a:pt x="199" y="328"/>
                    <a:pt x="198" y="325"/>
                    <a:pt x="195" y="328"/>
                  </a:cubicBezTo>
                  <a:cubicBezTo>
                    <a:pt x="192" y="330"/>
                    <a:pt x="192" y="328"/>
                    <a:pt x="193" y="327"/>
                  </a:cubicBezTo>
                  <a:cubicBezTo>
                    <a:pt x="195" y="325"/>
                    <a:pt x="188" y="322"/>
                    <a:pt x="193" y="320"/>
                  </a:cubicBezTo>
                  <a:cubicBezTo>
                    <a:pt x="195" y="319"/>
                    <a:pt x="192" y="316"/>
                    <a:pt x="195" y="314"/>
                  </a:cubicBezTo>
                  <a:cubicBezTo>
                    <a:pt x="198" y="314"/>
                    <a:pt x="196" y="311"/>
                    <a:pt x="198" y="311"/>
                  </a:cubicBezTo>
                  <a:cubicBezTo>
                    <a:pt x="199" y="313"/>
                    <a:pt x="198" y="310"/>
                    <a:pt x="201" y="310"/>
                  </a:cubicBezTo>
                  <a:cubicBezTo>
                    <a:pt x="202" y="310"/>
                    <a:pt x="199" y="307"/>
                    <a:pt x="201" y="302"/>
                  </a:cubicBezTo>
                  <a:cubicBezTo>
                    <a:pt x="202" y="297"/>
                    <a:pt x="199" y="296"/>
                    <a:pt x="201" y="294"/>
                  </a:cubicBezTo>
                  <a:cubicBezTo>
                    <a:pt x="202" y="293"/>
                    <a:pt x="201" y="289"/>
                    <a:pt x="199" y="291"/>
                  </a:cubicBezTo>
                  <a:cubicBezTo>
                    <a:pt x="196" y="293"/>
                    <a:pt x="199" y="286"/>
                    <a:pt x="195" y="283"/>
                  </a:cubicBezTo>
                  <a:cubicBezTo>
                    <a:pt x="190" y="279"/>
                    <a:pt x="192" y="283"/>
                    <a:pt x="190" y="285"/>
                  </a:cubicBezTo>
                  <a:cubicBezTo>
                    <a:pt x="188" y="283"/>
                    <a:pt x="188" y="282"/>
                    <a:pt x="184" y="283"/>
                  </a:cubicBezTo>
                  <a:cubicBezTo>
                    <a:pt x="178" y="283"/>
                    <a:pt x="185" y="282"/>
                    <a:pt x="184" y="277"/>
                  </a:cubicBezTo>
                  <a:cubicBezTo>
                    <a:pt x="184" y="274"/>
                    <a:pt x="179" y="279"/>
                    <a:pt x="182" y="275"/>
                  </a:cubicBezTo>
                  <a:cubicBezTo>
                    <a:pt x="184" y="272"/>
                    <a:pt x="182" y="275"/>
                    <a:pt x="181" y="272"/>
                  </a:cubicBezTo>
                  <a:cubicBezTo>
                    <a:pt x="181" y="271"/>
                    <a:pt x="176" y="272"/>
                    <a:pt x="176" y="274"/>
                  </a:cubicBezTo>
                  <a:cubicBezTo>
                    <a:pt x="175" y="275"/>
                    <a:pt x="173" y="275"/>
                    <a:pt x="170" y="274"/>
                  </a:cubicBezTo>
                  <a:cubicBezTo>
                    <a:pt x="169" y="272"/>
                    <a:pt x="167" y="274"/>
                    <a:pt x="164" y="277"/>
                  </a:cubicBezTo>
                  <a:cubicBezTo>
                    <a:pt x="161" y="280"/>
                    <a:pt x="158" y="279"/>
                    <a:pt x="157" y="282"/>
                  </a:cubicBezTo>
                  <a:cubicBezTo>
                    <a:pt x="157" y="285"/>
                    <a:pt x="153" y="283"/>
                    <a:pt x="153" y="286"/>
                  </a:cubicBezTo>
                  <a:cubicBezTo>
                    <a:pt x="153" y="288"/>
                    <a:pt x="150" y="289"/>
                    <a:pt x="144" y="289"/>
                  </a:cubicBezTo>
                  <a:cubicBezTo>
                    <a:pt x="146" y="286"/>
                    <a:pt x="144" y="286"/>
                    <a:pt x="143" y="286"/>
                  </a:cubicBezTo>
                  <a:cubicBezTo>
                    <a:pt x="141" y="285"/>
                    <a:pt x="141" y="288"/>
                    <a:pt x="140" y="286"/>
                  </a:cubicBezTo>
                  <a:cubicBezTo>
                    <a:pt x="138" y="285"/>
                    <a:pt x="134" y="286"/>
                    <a:pt x="135" y="285"/>
                  </a:cubicBezTo>
                  <a:cubicBezTo>
                    <a:pt x="137" y="283"/>
                    <a:pt x="131" y="282"/>
                    <a:pt x="129" y="286"/>
                  </a:cubicBezTo>
                  <a:cubicBezTo>
                    <a:pt x="128" y="289"/>
                    <a:pt x="126" y="286"/>
                    <a:pt x="126" y="289"/>
                  </a:cubicBezTo>
                  <a:cubicBezTo>
                    <a:pt x="125" y="293"/>
                    <a:pt x="125" y="291"/>
                    <a:pt x="123" y="294"/>
                  </a:cubicBezTo>
                  <a:cubicBezTo>
                    <a:pt x="122" y="289"/>
                    <a:pt x="128" y="282"/>
                    <a:pt x="117" y="288"/>
                  </a:cubicBezTo>
                  <a:cubicBezTo>
                    <a:pt x="117" y="288"/>
                    <a:pt x="115" y="288"/>
                    <a:pt x="114" y="288"/>
                  </a:cubicBezTo>
                  <a:cubicBezTo>
                    <a:pt x="114" y="289"/>
                    <a:pt x="114" y="288"/>
                    <a:pt x="111" y="288"/>
                  </a:cubicBezTo>
                  <a:cubicBezTo>
                    <a:pt x="109" y="289"/>
                    <a:pt x="106" y="283"/>
                    <a:pt x="105" y="286"/>
                  </a:cubicBezTo>
                  <a:cubicBezTo>
                    <a:pt x="105" y="288"/>
                    <a:pt x="103" y="288"/>
                    <a:pt x="102" y="286"/>
                  </a:cubicBezTo>
                  <a:cubicBezTo>
                    <a:pt x="100" y="283"/>
                    <a:pt x="102" y="288"/>
                    <a:pt x="100" y="288"/>
                  </a:cubicBezTo>
                  <a:cubicBezTo>
                    <a:pt x="99" y="288"/>
                    <a:pt x="99" y="283"/>
                    <a:pt x="97" y="283"/>
                  </a:cubicBezTo>
                  <a:cubicBezTo>
                    <a:pt x="94" y="283"/>
                    <a:pt x="93" y="285"/>
                    <a:pt x="94" y="282"/>
                  </a:cubicBezTo>
                  <a:cubicBezTo>
                    <a:pt x="94" y="280"/>
                    <a:pt x="94" y="280"/>
                    <a:pt x="93" y="280"/>
                  </a:cubicBezTo>
                  <a:cubicBezTo>
                    <a:pt x="91" y="282"/>
                    <a:pt x="87" y="279"/>
                    <a:pt x="87" y="275"/>
                  </a:cubicBezTo>
                  <a:cubicBezTo>
                    <a:pt x="87" y="272"/>
                    <a:pt x="85" y="274"/>
                    <a:pt x="82" y="274"/>
                  </a:cubicBezTo>
                  <a:cubicBezTo>
                    <a:pt x="80" y="275"/>
                    <a:pt x="79" y="269"/>
                    <a:pt x="77" y="269"/>
                  </a:cubicBezTo>
                  <a:cubicBezTo>
                    <a:pt x="74" y="269"/>
                    <a:pt x="74" y="266"/>
                    <a:pt x="71" y="266"/>
                  </a:cubicBezTo>
                  <a:cubicBezTo>
                    <a:pt x="68" y="265"/>
                    <a:pt x="73" y="263"/>
                    <a:pt x="67" y="261"/>
                  </a:cubicBezTo>
                  <a:cubicBezTo>
                    <a:pt x="62" y="260"/>
                    <a:pt x="64" y="269"/>
                    <a:pt x="61" y="263"/>
                  </a:cubicBezTo>
                  <a:cubicBezTo>
                    <a:pt x="61" y="261"/>
                    <a:pt x="56" y="260"/>
                    <a:pt x="53" y="257"/>
                  </a:cubicBezTo>
                  <a:cubicBezTo>
                    <a:pt x="50" y="254"/>
                    <a:pt x="50" y="258"/>
                    <a:pt x="47" y="252"/>
                  </a:cubicBezTo>
                  <a:cubicBezTo>
                    <a:pt x="45" y="249"/>
                    <a:pt x="42" y="255"/>
                    <a:pt x="42" y="251"/>
                  </a:cubicBezTo>
                  <a:cubicBezTo>
                    <a:pt x="44" y="246"/>
                    <a:pt x="42" y="243"/>
                    <a:pt x="41" y="241"/>
                  </a:cubicBezTo>
                  <a:cubicBezTo>
                    <a:pt x="39" y="238"/>
                    <a:pt x="42" y="238"/>
                    <a:pt x="44" y="240"/>
                  </a:cubicBezTo>
                  <a:cubicBezTo>
                    <a:pt x="45" y="243"/>
                    <a:pt x="45" y="240"/>
                    <a:pt x="47" y="240"/>
                  </a:cubicBezTo>
                  <a:cubicBezTo>
                    <a:pt x="52" y="238"/>
                    <a:pt x="47" y="235"/>
                    <a:pt x="48" y="234"/>
                  </a:cubicBezTo>
                  <a:cubicBezTo>
                    <a:pt x="48" y="232"/>
                    <a:pt x="42" y="232"/>
                    <a:pt x="44" y="227"/>
                  </a:cubicBezTo>
                  <a:cubicBezTo>
                    <a:pt x="45" y="226"/>
                    <a:pt x="41" y="224"/>
                    <a:pt x="47" y="223"/>
                  </a:cubicBezTo>
                  <a:cubicBezTo>
                    <a:pt x="52" y="223"/>
                    <a:pt x="47" y="221"/>
                    <a:pt x="53" y="216"/>
                  </a:cubicBezTo>
                  <a:cubicBezTo>
                    <a:pt x="56" y="213"/>
                    <a:pt x="53" y="213"/>
                    <a:pt x="55" y="210"/>
                  </a:cubicBezTo>
                  <a:cubicBezTo>
                    <a:pt x="58" y="207"/>
                    <a:pt x="55" y="206"/>
                    <a:pt x="55" y="207"/>
                  </a:cubicBezTo>
                  <a:cubicBezTo>
                    <a:pt x="53" y="210"/>
                    <a:pt x="53" y="206"/>
                    <a:pt x="52" y="207"/>
                  </a:cubicBezTo>
                  <a:cubicBezTo>
                    <a:pt x="50" y="207"/>
                    <a:pt x="52" y="202"/>
                    <a:pt x="45" y="202"/>
                  </a:cubicBezTo>
                  <a:cubicBezTo>
                    <a:pt x="39" y="204"/>
                    <a:pt x="41" y="206"/>
                    <a:pt x="36" y="207"/>
                  </a:cubicBezTo>
                  <a:cubicBezTo>
                    <a:pt x="35" y="207"/>
                    <a:pt x="35" y="207"/>
                    <a:pt x="35" y="207"/>
                  </a:cubicBezTo>
                  <a:cubicBezTo>
                    <a:pt x="32" y="207"/>
                    <a:pt x="27" y="206"/>
                    <a:pt x="26" y="204"/>
                  </a:cubicBezTo>
                  <a:cubicBezTo>
                    <a:pt x="26" y="202"/>
                    <a:pt x="24" y="206"/>
                    <a:pt x="21" y="202"/>
                  </a:cubicBezTo>
                  <a:cubicBezTo>
                    <a:pt x="20" y="199"/>
                    <a:pt x="23" y="201"/>
                    <a:pt x="21" y="196"/>
                  </a:cubicBezTo>
                  <a:cubicBezTo>
                    <a:pt x="18" y="192"/>
                    <a:pt x="17" y="196"/>
                    <a:pt x="17" y="193"/>
                  </a:cubicBezTo>
                  <a:cubicBezTo>
                    <a:pt x="15" y="190"/>
                    <a:pt x="12" y="193"/>
                    <a:pt x="9" y="190"/>
                  </a:cubicBezTo>
                  <a:cubicBezTo>
                    <a:pt x="7" y="190"/>
                    <a:pt x="7" y="188"/>
                    <a:pt x="10" y="188"/>
                  </a:cubicBezTo>
                  <a:cubicBezTo>
                    <a:pt x="13" y="188"/>
                    <a:pt x="15" y="187"/>
                    <a:pt x="13" y="185"/>
                  </a:cubicBezTo>
                  <a:cubicBezTo>
                    <a:pt x="10" y="184"/>
                    <a:pt x="13" y="181"/>
                    <a:pt x="12" y="179"/>
                  </a:cubicBezTo>
                  <a:cubicBezTo>
                    <a:pt x="10" y="178"/>
                    <a:pt x="12" y="176"/>
                    <a:pt x="12" y="174"/>
                  </a:cubicBezTo>
                  <a:cubicBezTo>
                    <a:pt x="10" y="173"/>
                    <a:pt x="6" y="171"/>
                    <a:pt x="6" y="174"/>
                  </a:cubicBezTo>
                  <a:cubicBezTo>
                    <a:pt x="6" y="176"/>
                    <a:pt x="3" y="173"/>
                    <a:pt x="4" y="170"/>
                  </a:cubicBezTo>
                  <a:cubicBezTo>
                    <a:pt x="4" y="168"/>
                    <a:pt x="1" y="168"/>
                    <a:pt x="3" y="165"/>
                  </a:cubicBezTo>
                  <a:cubicBezTo>
                    <a:pt x="9" y="164"/>
                    <a:pt x="0" y="159"/>
                    <a:pt x="7" y="157"/>
                  </a:cubicBezTo>
                  <a:cubicBezTo>
                    <a:pt x="13" y="156"/>
                    <a:pt x="10" y="153"/>
                    <a:pt x="13" y="153"/>
                  </a:cubicBezTo>
                  <a:cubicBezTo>
                    <a:pt x="18" y="154"/>
                    <a:pt x="17" y="148"/>
                    <a:pt x="18" y="153"/>
                  </a:cubicBezTo>
                  <a:cubicBezTo>
                    <a:pt x="20" y="157"/>
                    <a:pt x="21" y="153"/>
                    <a:pt x="23" y="154"/>
                  </a:cubicBezTo>
                  <a:cubicBezTo>
                    <a:pt x="26" y="156"/>
                    <a:pt x="26" y="153"/>
                    <a:pt x="27" y="148"/>
                  </a:cubicBezTo>
                  <a:cubicBezTo>
                    <a:pt x="29" y="145"/>
                    <a:pt x="38" y="150"/>
                    <a:pt x="39" y="143"/>
                  </a:cubicBezTo>
                  <a:cubicBezTo>
                    <a:pt x="41" y="140"/>
                    <a:pt x="48" y="139"/>
                    <a:pt x="52" y="137"/>
                  </a:cubicBezTo>
                  <a:cubicBezTo>
                    <a:pt x="53" y="136"/>
                    <a:pt x="53" y="137"/>
                    <a:pt x="56" y="134"/>
                  </a:cubicBezTo>
                  <a:cubicBezTo>
                    <a:pt x="56" y="132"/>
                    <a:pt x="53" y="128"/>
                    <a:pt x="56" y="126"/>
                  </a:cubicBezTo>
                  <a:cubicBezTo>
                    <a:pt x="59" y="126"/>
                    <a:pt x="55" y="125"/>
                    <a:pt x="58" y="123"/>
                  </a:cubicBezTo>
                  <a:cubicBezTo>
                    <a:pt x="62" y="122"/>
                    <a:pt x="55" y="109"/>
                    <a:pt x="56" y="106"/>
                  </a:cubicBezTo>
                  <a:cubicBezTo>
                    <a:pt x="58" y="103"/>
                    <a:pt x="47" y="103"/>
                    <a:pt x="55" y="101"/>
                  </a:cubicBezTo>
                  <a:cubicBezTo>
                    <a:pt x="59" y="100"/>
                    <a:pt x="65" y="98"/>
                    <a:pt x="67" y="98"/>
                  </a:cubicBezTo>
                  <a:cubicBezTo>
                    <a:pt x="70" y="100"/>
                    <a:pt x="73" y="101"/>
                    <a:pt x="74" y="98"/>
                  </a:cubicBezTo>
                  <a:cubicBezTo>
                    <a:pt x="74" y="95"/>
                    <a:pt x="70" y="97"/>
                    <a:pt x="71" y="94"/>
                  </a:cubicBezTo>
                  <a:cubicBezTo>
                    <a:pt x="74" y="91"/>
                    <a:pt x="76" y="81"/>
                    <a:pt x="76" y="78"/>
                  </a:cubicBezTo>
                  <a:cubicBezTo>
                    <a:pt x="77" y="73"/>
                    <a:pt x="82" y="80"/>
                    <a:pt x="87" y="80"/>
                  </a:cubicBezTo>
                  <a:cubicBezTo>
                    <a:pt x="91" y="78"/>
                    <a:pt x="90" y="81"/>
                    <a:pt x="93" y="80"/>
                  </a:cubicBezTo>
                  <a:cubicBezTo>
                    <a:pt x="97" y="78"/>
                    <a:pt x="99" y="76"/>
                    <a:pt x="97" y="73"/>
                  </a:cubicBezTo>
                  <a:cubicBezTo>
                    <a:pt x="96" y="70"/>
                    <a:pt x="94" y="64"/>
                    <a:pt x="103" y="61"/>
                  </a:cubicBezTo>
                  <a:cubicBezTo>
                    <a:pt x="111" y="59"/>
                    <a:pt x="102" y="53"/>
                    <a:pt x="111" y="55"/>
                  </a:cubicBezTo>
                  <a:cubicBezTo>
                    <a:pt x="115" y="53"/>
                    <a:pt x="115" y="53"/>
                    <a:pt x="115" y="53"/>
                  </a:cubicBezTo>
                  <a:cubicBezTo>
                    <a:pt x="114" y="58"/>
                    <a:pt x="118" y="64"/>
                    <a:pt x="123" y="66"/>
                  </a:cubicBezTo>
                  <a:cubicBezTo>
                    <a:pt x="126" y="69"/>
                    <a:pt x="128" y="64"/>
                    <a:pt x="129" y="67"/>
                  </a:cubicBezTo>
                  <a:cubicBezTo>
                    <a:pt x="131" y="70"/>
                    <a:pt x="132" y="67"/>
                    <a:pt x="132" y="69"/>
                  </a:cubicBezTo>
                  <a:cubicBezTo>
                    <a:pt x="134" y="72"/>
                    <a:pt x="141" y="78"/>
                    <a:pt x="140" y="84"/>
                  </a:cubicBezTo>
                  <a:cubicBezTo>
                    <a:pt x="138" y="91"/>
                    <a:pt x="141" y="89"/>
                    <a:pt x="138" y="94"/>
                  </a:cubicBezTo>
                  <a:cubicBezTo>
                    <a:pt x="137" y="95"/>
                    <a:pt x="137" y="100"/>
                    <a:pt x="141" y="100"/>
                  </a:cubicBezTo>
                  <a:cubicBezTo>
                    <a:pt x="144" y="100"/>
                    <a:pt x="147" y="101"/>
                    <a:pt x="152" y="101"/>
                  </a:cubicBezTo>
                  <a:cubicBezTo>
                    <a:pt x="157" y="101"/>
                    <a:pt x="161" y="101"/>
                    <a:pt x="169" y="109"/>
                  </a:cubicBezTo>
                  <a:cubicBezTo>
                    <a:pt x="178" y="117"/>
                    <a:pt x="176" y="111"/>
                    <a:pt x="178" y="117"/>
                  </a:cubicBezTo>
                  <a:cubicBezTo>
                    <a:pt x="179" y="125"/>
                    <a:pt x="181" y="122"/>
                    <a:pt x="182" y="126"/>
                  </a:cubicBezTo>
                  <a:cubicBezTo>
                    <a:pt x="182" y="129"/>
                    <a:pt x="185" y="126"/>
                    <a:pt x="188" y="128"/>
                  </a:cubicBezTo>
                  <a:cubicBezTo>
                    <a:pt x="202" y="129"/>
                    <a:pt x="204" y="129"/>
                    <a:pt x="214" y="128"/>
                  </a:cubicBezTo>
                  <a:cubicBezTo>
                    <a:pt x="225" y="128"/>
                    <a:pt x="228" y="134"/>
                    <a:pt x="231" y="134"/>
                  </a:cubicBezTo>
                  <a:cubicBezTo>
                    <a:pt x="234" y="134"/>
                    <a:pt x="240" y="140"/>
                    <a:pt x="245" y="137"/>
                  </a:cubicBezTo>
                  <a:cubicBezTo>
                    <a:pt x="249" y="136"/>
                    <a:pt x="246" y="140"/>
                    <a:pt x="248" y="140"/>
                  </a:cubicBezTo>
                  <a:cubicBezTo>
                    <a:pt x="251" y="139"/>
                    <a:pt x="251" y="142"/>
                    <a:pt x="252" y="140"/>
                  </a:cubicBezTo>
                  <a:cubicBezTo>
                    <a:pt x="265" y="132"/>
                    <a:pt x="265" y="136"/>
                    <a:pt x="268" y="132"/>
                  </a:cubicBezTo>
                  <a:cubicBezTo>
                    <a:pt x="272" y="129"/>
                    <a:pt x="269" y="131"/>
                    <a:pt x="274" y="131"/>
                  </a:cubicBezTo>
                  <a:cubicBezTo>
                    <a:pt x="280" y="131"/>
                    <a:pt x="280" y="132"/>
                    <a:pt x="283" y="131"/>
                  </a:cubicBezTo>
                  <a:cubicBezTo>
                    <a:pt x="284" y="129"/>
                    <a:pt x="286" y="132"/>
                    <a:pt x="287" y="131"/>
                  </a:cubicBezTo>
                  <a:cubicBezTo>
                    <a:pt x="289" y="128"/>
                    <a:pt x="292" y="129"/>
                    <a:pt x="295" y="125"/>
                  </a:cubicBezTo>
                  <a:cubicBezTo>
                    <a:pt x="300" y="120"/>
                    <a:pt x="301" y="120"/>
                    <a:pt x="306" y="117"/>
                  </a:cubicBezTo>
                  <a:cubicBezTo>
                    <a:pt x="309" y="115"/>
                    <a:pt x="303" y="112"/>
                    <a:pt x="303" y="109"/>
                  </a:cubicBezTo>
                  <a:cubicBezTo>
                    <a:pt x="303" y="104"/>
                    <a:pt x="303" y="101"/>
                    <a:pt x="306" y="101"/>
                  </a:cubicBezTo>
                  <a:cubicBezTo>
                    <a:pt x="310" y="100"/>
                    <a:pt x="313" y="108"/>
                    <a:pt x="321" y="104"/>
                  </a:cubicBezTo>
                  <a:cubicBezTo>
                    <a:pt x="327" y="101"/>
                    <a:pt x="325" y="97"/>
                    <a:pt x="330" y="97"/>
                  </a:cubicBezTo>
                  <a:cubicBezTo>
                    <a:pt x="333" y="98"/>
                    <a:pt x="336" y="97"/>
                    <a:pt x="339" y="94"/>
                  </a:cubicBezTo>
                  <a:cubicBezTo>
                    <a:pt x="342" y="92"/>
                    <a:pt x="339" y="92"/>
                    <a:pt x="342" y="87"/>
                  </a:cubicBezTo>
                  <a:cubicBezTo>
                    <a:pt x="345" y="84"/>
                    <a:pt x="350" y="86"/>
                    <a:pt x="353" y="83"/>
                  </a:cubicBezTo>
                  <a:cubicBezTo>
                    <a:pt x="357" y="81"/>
                    <a:pt x="359" y="84"/>
                    <a:pt x="360" y="83"/>
                  </a:cubicBezTo>
                  <a:cubicBezTo>
                    <a:pt x="362" y="81"/>
                    <a:pt x="366" y="84"/>
                    <a:pt x="370" y="83"/>
                  </a:cubicBezTo>
                  <a:cubicBezTo>
                    <a:pt x="371" y="81"/>
                    <a:pt x="368" y="76"/>
                    <a:pt x="365" y="73"/>
                  </a:cubicBezTo>
                  <a:cubicBezTo>
                    <a:pt x="362" y="70"/>
                    <a:pt x="360" y="67"/>
                    <a:pt x="354" y="67"/>
                  </a:cubicBezTo>
                  <a:cubicBezTo>
                    <a:pt x="348" y="67"/>
                    <a:pt x="351" y="73"/>
                    <a:pt x="348" y="70"/>
                  </a:cubicBezTo>
                  <a:cubicBezTo>
                    <a:pt x="345" y="69"/>
                    <a:pt x="341" y="69"/>
                    <a:pt x="339" y="70"/>
                  </a:cubicBezTo>
                  <a:cubicBezTo>
                    <a:pt x="338" y="72"/>
                    <a:pt x="333" y="67"/>
                    <a:pt x="336" y="66"/>
                  </a:cubicBezTo>
                  <a:cubicBezTo>
                    <a:pt x="339" y="63"/>
                    <a:pt x="333" y="67"/>
                    <a:pt x="344" y="46"/>
                  </a:cubicBezTo>
                  <a:cubicBezTo>
                    <a:pt x="351" y="50"/>
                    <a:pt x="354" y="50"/>
                    <a:pt x="360" y="44"/>
                  </a:cubicBezTo>
                  <a:cubicBezTo>
                    <a:pt x="366" y="38"/>
                    <a:pt x="365" y="33"/>
                    <a:pt x="373" y="24"/>
                  </a:cubicBezTo>
                  <a:cubicBezTo>
                    <a:pt x="379" y="16"/>
                    <a:pt x="376" y="13"/>
                    <a:pt x="371" y="13"/>
                  </a:cubicBezTo>
                  <a:cubicBezTo>
                    <a:pt x="366" y="13"/>
                    <a:pt x="373" y="3"/>
                    <a:pt x="388" y="2"/>
                  </a:cubicBezTo>
                  <a:cubicBezTo>
                    <a:pt x="401" y="0"/>
                    <a:pt x="406" y="5"/>
                    <a:pt x="411" y="5"/>
                  </a:cubicBezTo>
                  <a:cubicBezTo>
                    <a:pt x="415" y="5"/>
                    <a:pt x="424" y="18"/>
                    <a:pt x="427" y="33"/>
                  </a:cubicBezTo>
                  <a:cubicBezTo>
                    <a:pt x="429" y="50"/>
                    <a:pt x="432" y="49"/>
                    <a:pt x="441" y="50"/>
                  </a:cubicBezTo>
                  <a:cubicBezTo>
                    <a:pt x="450" y="52"/>
                    <a:pt x="447" y="56"/>
                    <a:pt x="452" y="56"/>
                  </a:cubicBezTo>
                  <a:cubicBezTo>
                    <a:pt x="456" y="58"/>
                    <a:pt x="452" y="61"/>
                    <a:pt x="455" y="63"/>
                  </a:cubicBezTo>
                  <a:cubicBezTo>
                    <a:pt x="458" y="64"/>
                    <a:pt x="452" y="66"/>
                    <a:pt x="456" y="69"/>
                  </a:cubicBezTo>
                  <a:cubicBezTo>
                    <a:pt x="461" y="73"/>
                    <a:pt x="467" y="72"/>
                    <a:pt x="471" y="67"/>
                  </a:cubicBezTo>
                  <a:cubicBezTo>
                    <a:pt x="476" y="64"/>
                    <a:pt x="476" y="69"/>
                    <a:pt x="481" y="64"/>
                  </a:cubicBezTo>
                  <a:cubicBezTo>
                    <a:pt x="485" y="59"/>
                    <a:pt x="490" y="67"/>
                    <a:pt x="485" y="73"/>
                  </a:cubicBezTo>
                  <a:cubicBezTo>
                    <a:pt x="481" y="81"/>
                    <a:pt x="478" y="104"/>
                    <a:pt x="471" y="101"/>
                  </a:cubicBezTo>
                  <a:cubicBezTo>
                    <a:pt x="465" y="98"/>
                    <a:pt x="464" y="97"/>
                    <a:pt x="462" y="100"/>
                  </a:cubicBezTo>
                  <a:cubicBezTo>
                    <a:pt x="461" y="104"/>
                    <a:pt x="455" y="100"/>
                    <a:pt x="458" y="106"/>
                  </a:cubicBezTo>
                  <a:cubicBezTo>
                    <a:pt x="459" y="112"/>
                    <a:pt x="461" y="119"/>
                    <a:pt x="458" y="123"/>
                  </a:cubicBezTo>
                  <a:cubicBezTo>
                    <a:pt x="456" y="129"/>
                    <a:pt x="455" y="123"/>
                    <a:pt x="453" y="129"/>
                  </a:cubicBezTo>
                  <a:cubicBezTo>
                    <a:pt x="453" y="131"/>
                    <a:pt x="453" y="131"/>
                    <a:pt x="453" y="131"/>
                  </a:cubicBezTo>
                  <a:close/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25" name="Freeform 11">
              <a:extLst>
                <a:ext uri="{FF2B5EF4-FFF2-40B4-BE49-F238E27FC236}">
                  <a16:creationId xmlns:a16="http://schemas.microsoft.com/office/drawing/2014/main" id="{8486171B-DB97-2FFC-A20B-DCD060FB56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544329" y="5833737"/>
              <a:ext cx="305289" cy="427396"/>
            </a:xfrm>
            <a:custGeom>
              <a:avLst/>
              <a:gdLst/>
              <a:ahLst/>
              <a:cxnLst>
                <a:cxn ang="0">
                  <a:pos x="47" y="68"/>
                </a:cxn>
                <a:cxn ang="0">
                  <a:pos x="53" y="68"/>
                </a:cxn>
                <a:cxn ang="0">
                  <a:pos x="53" y="70"/>
                </a:cxn>
                <a:cxn ang="0">
                  <a:pos x="56" y="74"/>
                </a:cxn>
                <a:cxn ang="0">
                  <a:pos x="62" y="76"/>
                </a:cxn>
                <a:cxn ang="0">
                  <a:pos x="62" y="82"/>
                </a:cxn>
                <a:cxn ang="0">
                  <a:pos x="53" y="95"/>
                </a:cxn>
                <a:cxn ang="0">
                  <a:pos x="53" y="101"/>
                </a:cxn>
                <a:cxn ang="0">
                  <a:pos x="51" y="104"/>
                </a:cxn>
                <a:cxn ang="0">
                  <a:pos x="39" y="113"/>
                </a:cxn>
                <a:cxn ang="0">
                  <a:pos x="36" y="126"/>
                </a:cxn>
                <a:cxn ang="0">
                  <a:pos x="30" y="132"/>
                </a:cxn>
                <a:cxn ang="0">
                  <a:pos x="18" y="135"/>
                </a:cxn>
                <a:cxn ang="0">
                  <a:pos x="13" y="132"/>
                </a:cxn>
                <a:cxn ang="0">
                  <a:pos x="9" y="130"/>
                </a:cxn>
                <a:cxn ang="0">
                  <a:pos x="1" y="129"/>
                </a:cxn>
                <a:cxn ang="0">
                  <a:pos x="4" y="124"/>
                </a:cxn>
                <a:cxn ang="0">
                  <a:pos x="9" y="115"/>
                </a:cxn>
                <a:cxn ang="0">
                  <a:pos x="19" y="105"/>
                </a:cxn>
                <a:cxn ang="0">
                  <a:pos x="24" y="101"/>
                </a:cxn>
                <a:cxn ang="0">
                  <a:pos x="35" y="95"/>
                </a:cxn>
                <a:cxn ang="0">
                  <a:pos x="44" y="79"/>
                </a:cxn>
                <a:cxn ang="0">
                  <a:pos x="47" y="68"/>
                </a:cxn>
                <a:cxn ang="0">
                  <a:pos x="74" y="78"/>
                </a:cxn>
                <a:cxn ang="0">
                  <a:pos x="85" y="56"/>
                </a:cxn>
                <a:cxn ang="0">
                  <a:pos x="91" y="53"/>
                </a:cxn>
                <a:cxn ang="0">
                  <a:pos x="94" y="47"/>
                </a:cxn>
                <a:cxn ang="0">
                  <a:pos x="97" y="37"/>
                </a:cxn>
                <a:cxn ang="0">
                  <a:pos x="91" y="36"/>
                </a:cxn>
                <a:cxn ang="0">
                  <a:pos x="80" y="36"/>
                </a:cxn>
                <a:cxn ang="0">
                  <a:pos x="74" y="23"/>
                </a:cxn>
                <a:cxn ang="0">
                  <a:pos x="74" y="28"/>
                </a:cxn>
                <a:cxn ang="0">
                  <a:pos x="68" y="22"/>
                </a:cxn>
                <a:cxn ang="0">
                  <a:pos x="65" y="16"/>
                </a:cxn>
                <a:cxn ang="0">
                  <a:pos x="63" y="9"/>
                </a:cxn>
                <a:cxn ang="0">
                  <a:pos x="57" y="5"/>
                </a:cxn>
                <a:cxn ang="0">
                  <a:pos x="51" y="0"/>
                </a:cxn>
                <a:cxn ang="0">
                  <a:pos x="53" y="5"/>
                </a:cxn>
                <a:cxn ang="0">
                  <a:pos x="56" y="9"/>
                </a:cxn>
                <a:cxn ang="0">
                  <a:pos x="62" y="20"/>
                </a:cxn>
                <a:cxn ang="0">
                  <a:pos x="63" y="23"/>
                </a:cxn>
                <a:cxn ang="0">
                  <a:pos x="66" y="31"/>
                </a:cxn>
                <a:cxn ang="0">
                  <a:pos x="66" y="43"/>
                </a:cxn>
                <a:cxn ang="0">
                  <a:pos x="59" y="53"/>
                </a:cxn>
                <a:cxn ang="0">
                  <a:pos x="68" y="60"/>
                </a:cxn>
                <a:cxn ang="0">
                  <a:pos x="68" y="73"/>
                </a:cxn>
                <a:cxn ang="0">
                  <a:pos x="68" y="76"/>
                </a:cxn>
                <a:cxn ang="0">
                  <a:pos x="74" y="78"/>
                </a:cxn>
              </a:cxnLst>
              <a:rect l="0" t="0" r="r" b="b"/>
              <a:pathLst>
                <a:path w="98" h="137">
                  <a:moveTo>
                    <a:pt x="47" y="68"/>
                  </a:moveTo>
                  <a:cubicBezTo>
                    <a:pt x="51" y="64"/>
                    <a:pt x="54" y="67"/>
                    <a:pt x="53" y="68"/>
                  </a:cubicBezTo>
                  <a:cubicBezTo>
                    <a:pt x="50" y="68"/>
                    <a:pt x="51" y="70"/>
                    <a:pt x="53" y="70"/>
                  </a:cubicBezTo>
                  <a:cubicBezTo>
                    <a:pt x="54" y="70"/>
                    <a:pt x="51" y="79"/>
                    <a:pt x="56" y="74"/>
                  </a:cubicBezTo>
                  <a:cubicBezTo>
                    <a:pt x="62" y="70"/>
                    <a:pt x="65" y="71"/>
                    <a:pt x="62" y="76"/>
                  </a:cubicBezTo>
                  <a:cubicBezTo>
                    <a:pt x="60" y="79"/>
                    <a:pt x="66" y="78"/>
                    <a:pt x="62" y="82"/>
                  </a:cubicBezTo>
                  <a:cubicBezTo>
                    <a:pt x="57" y="88"/>
                    <a:pt x="56" y="95"/>
                    <a:pt x="53" y="95"/>
                  </a:cubicBezTo>
                  <a:cubicBezTo>
                    <a:pt x="51" y="95"/>
                    <a:pt x="50" y="101"/>
                    <a:pt x="53" y="101"/>
                  </a:cubicBezTo>
                  <a:cubicBezTo>
                    <a:pt x="56" y="102"/>
                    <a:pt x="54" y="105"/>
                    <a:pt x="51" y="104"/>
                  </a:cubicBezTo>
                  <a:cubicBezTo>
                    <a:pt x="50" y="104"/>
                    <a:pt x="39" y="105"/>
                    <a:pt x="39" y="113"/>
                  </a:cubicBezTo>
                  <a:cubicBezTo>
                    <a:pt x="39" y="120"/>
                    <a:pt x="33" y="123"/>
                    <a:pt x="36" y="126"/>
                  </a:cubicBezTo>
                  <a:cubicBezTo>
                    <a:pt x="38" y="129"/>
                    <a:pt x="33" y="126"/>
                    <a:pt x="30" y="132"/>
                  </a:cubicBezTo>
                  <a:cubicBezTo>
                    <a:pt x="25" y="137"/>
                    <a:pt x="22" y="137"/>
                    <a:pt x="18" y="135"/>
                  </a:cubicBezTo>
                  <a:cubicBezTo>
                    <a:pt x="13" y="135"/>
                    <a:pt x="16" y="132"/>
                    <a:pt x="13" y="132"/>
                  </a:cubicBezTo>
                  <a:cubicBezTo>
                    <a:pt x="10" y="133"/>
                    <a:pt x="12" y="129"/>
                    <a:pt x="9" y="130"/>
                  </a:cubicBezTo>
                  <a:cubicBezTo>
                    <a:pt x="6" y="133"/>
                    <a:pt x="3" y="132"/>
                    <a:pt x="1" y="129"/>
                  </a:cubicBezTo>
                  <a:cubicBezTo>
                    <a:pt x="0" y="126"/>
                    <a:pt x="6" y="127"/>
                    <a:pt x="4" y="124"/>
                  </a:cubicBezTo>
                  <a:cubicBezTo>
                    <a:pt x="3" y="121"/>
                    <a:pt x="6" y="118"/>
                    <a:pt x="9" y="115"/>
                  </a:cubicBezTo>
                  <a:cubicBezTo>
                    <a:pt x="13" y="112"/>
                    <a:pt x="15" y="105"/>
                    <a:pt x="19" y="105"/>
                  </a:cubicBezTo>
                  <a:cubicBezTo>
                    <a:pt x="22" y="105"/>
                    <a:pt x="22" y="102"/>
                    <a:pt x="24" y="101"/>
                  </a:cubicBezTo>
                  <a:cubicBezTo>
                    <a:pt x="27" y="101"/>
                    <a:pt x="30" y="96"/>
                    <a:pt x="35" y="95"/>
                  </a:cubicBezTo>
                  <a:cubicBezTo>
                    <a:pt x="38" y="92"/>
                    <a:pt x="39" y="81"/>
                    <a:pt x="44" y="79"/>
                  </a:cubicBezTo>
                  <a:cubicBezTo>
                    <a:pt x="48" y="78"/>
                    <a:pt x="44" y="71"/>
                    <a:pt x="47" y="68"/>
                  </a:cubicBezTo>
                  <a:close/>
                  <a:moveTo>
                    <a:pt x="74" y="78"/>
                  </a:moveTo>
                  <a:cubicBezTo>
                    <a:pt x="76" y="76"/>
                    <a:pt x="88" y="59"/>
                    <a:pt x="85" y="56"/>
                  </a:cubicBezTo>
                  <a:cubicBezTo>
                    <a:pt x="83" y="54"/>
                    <a:pt x="86" y="48"/>
                    <a:pt x="91" y="53"/>
                  </a:cubicBezTo>
                  <a:cubicBezTo>
                    <a:pt x="95" y="56"/>
                    <a:pt x="89" y="47"/>
                    <a:pt x="94" y="47"/>
                  </a:cubicBezTo>
                  <a:cubicBezTo>
                    <a:pt x="97" y="45"/>
                    <a:pt x="95" y="39"/>
                    <a:pt x="97" y="37"/>
                  </a:cubicBezTo>
                  <a:cubicBezTo>
                    <a:pt x="98" y="34"/>
                    <a:pt x="92" y="33"/>
                    <a:pt x="91" y="36"/>
                  </a:cubicBezTo>
                  <a:cubicBezTo>
                    <a:pt x="89" y="40"/>
                    <a:pt x="85" y="39"/>
                    <a:pt x="80" y="36"/>
                  </a:cubicBezTo>
                  <a:cubicBezTo>
                    <a:pt x="76" y="33"/>
                    <a:pt x="77" y="26"/>
                    <a:pt x="74" y="23"/>
                  </a:cubicBezTo>
                  <a:cubicBezTo>
                    <a:pt x="71" y="19"/>
                    <a:pt x="71" y="23"/>
                    <a:pt x="74" y="28"/>
                  </a:cubicBezTo>
                  <a:cubicBezTo>
                    <a:pt x="76" y="33"/>
                    <a:pt x="66" y="26"/>
                    <a:pt x="68" y="22"/>
                  </a:cubicBezTo>
                  <a:cubicBezTo>
                    <a:pt x="68" y="19"/>
                    <a:pt x="65" y="19"/>
                    <a:pt x="65" y="16"/>
                  </a:cubicBezTo>
                  <a:cubicBezTo>
                    <a:pt x="65" y="12"/>
                    <a:pt x="65" y="12"/>
                    <a:pt x="63" y="9"/>
                  </a:cubicBezTo>
                  <a:cubicBezTo>
                    <a:pt x="62" y="6"/>
                    <a:pt x="60" y="6"/>
                    <a:pt x="57" y="5"/>
                  </a:cubicBezTo>
                  <a:cubicBezTo>
                    <a:pt x="54" y="5"/>
                    <a:pt x="56" y="0"/>
                    <a:pt x="51" y="0"/>
                  </a:cubicBezTo>
                  <a:cubicBezTo>
                    <a:pt x="48" y="0"/>
                    <a:pt x="50" y="0"/>
                    <a:pt x="53" y="5"/>
                  </a:cubicBezTo>
                  <a:cubicBezTo>
                    <a:pt x="56" y="8"/>
                    <a:pt x="53" y="6"/>
                    <a:pt x="56" y="9"/>
                  </a:cubicBezTo>
                  <a:cubicBezTo>
                    <a:pt x="57" y="14"/>
                    <a:pt x="60" y="23"/>
                    <a:pt x="62" y="20"/>
                  </a:cubicBezTo>
                  <a:cubicBezTo>
                    <a:pt x="63" y="17"/>
                    <a:pt x="65" y="25"/>
                    <a:pt x="63" y="23"/>
                  </a:cubicBezTo>
                  <a:cubicBezTo>
                    <a:pt x="62" y="22"/>
                    <a:pt x="62" y="23"/>
                    <a:pt x="66" y="31"/>
                  </a:cubicBezTo>
                  <a:cubicBezTo>
                    <a:pt x="70" y="39"/>
                    <a:pt x="66" y="39"/>
                    <a:pt x="66" y="43"/>
                  </a:cubicBezTo>
                  <a:cubicBezTo>
                    <a:pt x="66" y="50"/>
                    <a:pt x="60" y="50"/>
                    <a:pt x="59" y="53"/>
                  </a:cubicBezTo>
                  <a:cubicBezTo>
                    <a:pt x="59" y="56"/>
                    <a:pt x="65" y="59"/>
                    <a:pt x="68" y="60"/>
                  </a:cubicBezTo>
                  <a:cubicBezTo>
                    <a:pt x="73" y="62"/>
                    <a:pt x="70" y="71"/>
                    <a:pt x="68" y="73"/>
                  </a:cubicBezTo>
                  <a:cubicBezTo>
                    <a:pt x="66" y="74"/>
                    <a:pt x="63" y="74"/>
                    <a:pt x="68" y="76"/>
                  </a:cubicBezTo>
                  <a:cubicBezTo>
                    <a:pt x="71" y="76"/>
                    <a:pt x="70" y="81"/>
                    <a:pt x="74" y="78"/>
                  </a:cubicBezTo>
                  <a:close/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26" name="Freeform 13">
              <a:extLst>
                <a:ext uri="{FF2B5EF4-FFF2-40B4-BE49-F238E27FC236}">
                  <a16:creationId xmlns:a16="http://schemas.microsoft.com/office/drawing/2014/main" id="{10A47E6F-A213-BA6A-D862-EB50308A90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99478" y="5107486"/>
              <a:ext cx="186387" cy="443464"/>
            </a:xfrm>
            <a:custGeom>
              <a:avLst/>
              <a:gdLst/>
              <a:ahLst/>
              <a:cxnLst>
                <a:cxn ang="0">
                  <a:pos x="46" y="12"/>
                </a:cxn>
                <a:cxn ang="0">
                  <a:pos x="48" y="4"/>
                </a:cxn>
                <a:cxn ang="0">
                  <a:pos x="54" y="11"/>
                </a:cxn>
                <a:cxn ang="0">
                  <a:pos x="58" y="32"/>
                </a:cxn>
                <a:cxn ang="0">
                  <a:pos x="55" y="42"/>
                </a:cxn>
                <a:cxn ang="0">
                  <a:pos x="52" y="43"/>
                </a:cxn>
                <a:cxn ang="0">
                  <a:pos x="54" y="51"/>
                </a:cxn>
                <a:cxn ang="0">
                  <a:pos x="51" y="59"/>
                </a:cxn>
                <a:cxn ang="0">
                  <a:pos x="45" y="83"/>
                </a:cxn>
                <a:cxn ang="0">
                  <a:pos x="29" y="135"/>
                </a:cxn>
                <a:cxn ang="0">
                  <a:pos x="16" y="138"/>
                </a:cxn>
                <a:cxn ang="0">
                  <a:pos x="7" y="130"/>
                </a:cxn>
                <a:cxn ang="0">
                  <a:pos x="5" y="116"/>
                </a:cxn>
                <a:cxn ang="0">
                  <a:pos x="2" y="101"/>
                </a:cxn>
                <a:cxn ang="0">
                  <a:pos x="7" y="93"/>
                </a:cxn>
                <a:cxn ang="0">
                  <a:pos x="11" y="80"/>
                </a:cxn>
                <a:cxn ang="0">
                  <a:pos x="10" y="71"/>
                </a:cxn>
                <a:cxn ang="0">
                  <a:pos x="8" y="63"/>
                </a:cxn>
                <a:cxn ang="0">
                  <a:pos x="10" y="53"/>
                </a:cxn>
                <a:cxn ang="0">
                  <a:pos x="13" y="45"/>
                </a:cxn>
                <a:cxn ang="0">
                  <a:pos x="19" y="42"/>
                </a:cxn>
                <a:cxn ang="0">
                  <a:pos x="32" y="31"/>
                </a:cxn>
                <a:cxn ang="0">
                  <a:pos x="39" y="21"/>
                </a:cxn>
                <a:cxn ang="0">
                  <a:pos x="46" y="12"/>
                </a:cxn>
              </a:cxnLst>
              <a:rect l="0" t="0" r="r" b="b"/>
              <a:pathLst>
                <a:path w="60" h="142">
                  <a:moveTo>
                    <a:pt x="46" y="12"/>
                  </a:moveTo>
                  <a:cubicBezTo>
                    <a:pt x="46" y="6"/>
                    <a:pt x="46" y="8"/>
                    <a:pt x="48" y="4"/>
                  </a:cubicBezTo>
                  <a:cubicBezTo>
                    <a:pt x="51" y="0"/>
                    <a:pt x="51" y="9"/>
                    <a:pt x="54" y="11"/>
                  </a:cubicBezTo>
                  <a:cubicBezTo>
                    <a:pt x="57" y="12"/>
                    <a:pt x="57" y="29"/>
                    <a:pt x="58" y="32"/>
                  </a:cubicBezTo>
                  <a:cubicBezTo>
                    <a:pt x="60" y="37"/>
                    <a:pt x="57" y="45"/>
                    <a:pt x="55" y="42"/>
                  </a:cubicBezTo>
                  <a:cubicBezTo>
                    <a:pt x="52" y="34"/>
                    <a:pt x="51" y="39"/>
                    <a:pt x="52" y="43"/>
                  </a:cubicBezTo>
                  <a:cubicBezTo>
                    <a:pt x="55" y="46"/>
                    <a:pt x="52" y="46"/>
                    <a:pt x="54" y="51"/>
                  </a:cubicBezTo>
                  <a:cubicBezTo>
                    <a:pt x="54" y="54"/>
                    <a:pt x="49" y="51"/>
                    <a:pt x="51" y="59"/>
                  </a:cubicBezTo>
                  <a:cubicBezTo>
                    <a:pt x="52" y="66"/>
                    <a:pt x="49" y="68"/>
                    <a:pt x="45" y="83"/>
                  </a:cubicBezTo>
                  <a:cubicBezTo>
                    <a:pt x="40" y="105"/>
                    <a:pt x="34" y="135"/>
                    <a:pt x="29" y="135"/>
                  </a:cubicBezTo>
                  <a:cubicBezTo>
                    <a:pt x="26" y="135"/>
                    <a:pt x="19" y="142"/>
                    <a:pt x="16" y="138"/>
                  </a:cubicBezTo>
                  <a:cubicBezTo>
                    <a:pt x="13" y="135"/>
                    <a:pt x="10" y="138"/>
                    <a:pt x="7" y="130"/>
                  </a:cubicBezTo>
                  <a:cubicBezTo>
                    <a:pt x="2" y="121"/>
                    <a:pt x="7" y="119"/>
                    <a:pt x="5" y="116"/>
                  </a:cubicBezTo>
                  <a:cubicBezTo>
                    <a:pt x="2" y="111"/>
                    <a:pt x="0" y="110"/>
                    <a:pt x="2" y="101"/>
                  </a:cubicBezTo>
                  <a:cubicBezTo>
                    <a:pt x="3" y="93"/>
                    <a:pt x="5" y="99"/>
                    <a:pt x="7" y="93"/>
                  </a:cubicBezTo>
                  <a:cubicBezTo>
                    <a:pt x="8" y="88"/>
                    <a:pt x="13" y="87"/>
                    <a:pt x="11" y="80"/>
                  </a:cubicBezTo>
                  <a:cubicBezTo>
                    <a:pt x="10" y="74"/>
                    <a:pt x="8" y="74"/>
                    <a:pt x="10" y="71"/>
                  </a:cubicBezTo>
                  <a:cubicBezTo>
                    <a:pt x="10" y="68"/>
                    <a:pt x="7" y="68"/>
                    <a:pt x="8" y="63"/>
                  </a:cubicBezTo>
                  <a:cubicBezTo>
                    <a:pt x="10" y="57"/>
                    <a:pt x="5" y="60"/>
                    <a:pt x="10" y="53"/>
                  </a:cubicBezTo>
                  <a:cubicBezTo>
                    <a:pt x="13" y="45"/>
                    <a:pt x="8" y="43"/>
                    <a:pt x="13" y="45"/>
                  </a:cubicBezTo>
                  <a:cubicBezTo>
                    <a:pt x="17" y="45"/>
                    <a:pt x="14" y="42"/>
                    <a:pt x="19" y="42"/>
                  </a:cubicBezTo>
                  <a:cubicBezTo>
                    <a:pt x="29" y="40"/>
                    <a:pt x="26" y="37"/>
                    <a:pt x="32" y="31"/>
                  </a:cubicBezTo>
                  <a:cubicBezTo>
                    <a:pt x="39" y="25"/>
                    <a:pt x="40" y="25"/>
                    <a:pt x="39" y="21"/>
                  </a:cubicBezTo>
                  <a:cubicBezTo>
                    <a:pt x="36" y="17"/>
                    <a:pt x="45" y="23"/>
                    <a:pt x="46" y="12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27" name="Freeform 42">
              <a:extLst>
                <a:ext uri="{FF2B5EF4-FFF2-40B4-BE49-F238E27FC236}">
                  <a16:creationId xmlns:a16="http://schemas.microsoft.com/office/drawing/2014/main" id="{5EC88C4D-FD50-AD3E-EF06-A122E2B728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5704" y="3799590"/>
              <a:ext cx="212095" cy="139788"/>
            </a:xfrm>
            <a:custGeom>
              <a:avLst/>
              <a:gdLst/>
              <a:ahLst/>
              <a:cxnLst>
                <a:cxn ang="0">
                  <a:pos x="9" y="3"/>
                </a:cxn>
                <a:cxn ang="0">
                  <a:pos x="3" y="11"/>
                </a:cxn>
                <a:cxn ang="0">
                  <a:pos x="3" y="16"/>
                </a:cxn>
                <a:cxn ang="0">
                  <a:pos x="6" y="20"/>
                </a:cxn>
                <a:cxn ang="0">
                  <a:pos x="14" y="27"/>
                </a:cxn>
                <a:cxn ang="0">
                  <a:pos x="20" y="30"/>
                </a:cxn>
                <a:cxn ang="0">
                  <a:pos x="23" y="31"/>
                </a:cxn>
                <a:cxn ang="0">
                  <a:pos x="32" y="33"/>
                </a:cxn>
                <a:cxn ang="0">
                  <a:pos x="37" y="33"/>
                </a:cxn>
                <a:cxn ang="0">
                  <a:pos x="40" y="37"/>
                </a:cxn>
                <a:cxn ang="0">
                  <a:pos x="45" y="39"/>
                </a:cxn>
                <a:cxn ang="0">
                  <a:pos x="49" y="40"/>
                </a:cxn>
                <a:cxn ang="0">
                  <a:pos x="57" y="42"/>
                </a:cxn>
                <a:cxn ang="0">
                  <a:pos x="62" y="44"/>
                </a:cxn>
                <a:cxn ang="0">
                  <a:pos x="66" y="42"/>
                </a:cxn>
                <a:cxn ang="0">
                  <a:pos x="66" y="33"/>
                </a:cxn>
                <a:cxn ang="0">
                  <a:pos x="66" y="28"/>
                </a:cxn>
                <a:cxn ang="0">
                  <a:pos x="63" y="28"/>
                </a:cxn>
                <a:cxn ang="0">
                  <a:pos x="60" y="28"/>
                </a:cxn>
                <a:cxn ang="0">
                  <a:pos x="54" y="27"/>
                </a:cxn>
                <a:cxn ang="0">
                  <a:pos x="51" y="27"/>
                </a:cxn>
                <a:cxn ang="0">
                  <a:pos x="49" y="28"/>
                </a:cxn>
                <a:cxn ang="0">
                  <a:pos x="46" y="23"/>
                </a:cxn>
                <a:cxn ang="0">
                  <a:pos x="43" y="22"/>
                </a:cxn>
                <a:cxn ang="0">
                  <a:pos x="42" y="20"/>
                </a:cxn>
                <a:cxn ang="0">
                  <a:pos x="35" y="16"/>
                </a:cxn>
                <a:cxn ang="0">
                  <a:pos x="31" y="14"/>
                </a:cxn>
                <a:cxn ang="0">
                  <a:pos x="26" y="9"/>
                </a:cxn>
                <a:cxn ang="0">
                  <a:pos x="20" y="6"/>
                </a:cxn>
                <a:cxn ang="0">
                  <a:pos x="15" y="2"/>
                </a:cxn>
                <a:cxn ang="0">
                  <a:pos x="9" y="3"/>
                </a:cxn>
              </a:cxnLst>
              <a:rect l="0" t="0" r="r" b="b"/>
              <a:pathLst>
                <a:path w="68" h="45">
                  <a:moveTo>
                    <a:pt x="9" y="3"/>
                  </a:moveTo>
                  <a:cubicBezTo>
                    <a:pt x="2" y="8"/>
                    <a:pt x="6" y="9"/>
                    <a:pt x="3" y="11"/>
                  </a:cubicBezTo>
                  <a:cubicBezTo>
                    <a:pt x="2" y="14"/>
                    <a:pt x="5" y="14"/>
                    <a:pt x="3" y="16"/>
                  </a:cubicBezTo>
                  <a:cubicBezTo>
                    <a:pt x="0" y="17"/>
                    <a:pt x="5" y="22"/>
                    <a:pt x="6" y="20"/>
                  </a:cubicBezTo>
                  <a:cubicBezTo>
                    <a:pt x="6" y="17"/>
                    <a:pt x="11" y="23"/>
                    <a:pt x="14" y="27"/>
                  </a:cubicBezTo>
                  <a:cubicBezTo>
                    <a:pt x="19" y="30"/>
                    <a:pt x="15" y="25"/>
                    <a:pt x="20" y="30"/>
                  </a:cubicBezTo>
                  <a:cubicBezTo>
                    <a:pt x="23" y="33"/>
                    <a:pt x="22" y="28"/>
                    <a:pt x="23" y="31"/>
                  </a:cubicBezTo>
                  <a:cubicBezTo>
                    <a:pt x="25" y="34"/>
                    <a:pt x="29" y="31"/>
                    <a:pt x="32" y="33"/>
                  </a:cubicBezTo>
                  <a:cubicBezTo>
                    <a:pt x="34" y="34"/>
                    <a:pt x="32" y="31"/>
                    <a:pt x="37" y="33"/>
                  </a:cubicBezTo>
                  <a:cubicBezTo>
                    <a:pt x="42" y="36"/>
                    <a:pt x="37" y="37"/>
                    <a:pt x="40" y="37"/>
                  </a:cubicBezTo>
                  <a:cubicBezTo>
                    <a:pt x="45" y="39"/>
                    <a:pt x="42" y="40"/>
                    <a:pt x="45" y="39"/>
                  </a:cubicBezTo>
                  <a:cubicBezTo>
                    <a:pt x="48" y="37"/>
                    <a:pt x="46" y="42"/>
                    <a:pt x="49" y="40"/>
                  </a:cubicBezTo>
                  <a:cubicBezTo>
                    <a:pt x="52" y="39"/>
                    <a:pt x="54" y="45"/>
                    <a:pt x="57" y="42"/>
                  </a:cubicBezTo>
                  <a:cubicBezTo>
                    <a:pt x="60" y="40"/>
                    <a:pt x="57" y="45"/>
                    <a:pt x="62" y="44"/>
                  </a:cubicBezTo>
                  <a:cubicBezTo>
                    <a:pt x="66" y="42"/>
                    <a:pt x="65" y="45"/>
                    <a:pt x="66" y="42"/>
                  </a:cubicBezTo>
                  <a:cubicBezTo>
                    <a:pt x="68" y="37"/>
                    <a:pt x="65" y="37"/>
                    <a:pt x="66" y="33"/>
                  </a:cubicBezTo>
                  <a:cubicBezTo>
                    <a:pt x="68" y="28"/>
                    <a:pt x="68" y="30"/>
                    <a:pt x="66" y="28"/>
                  </a:cubicBezTo>
                  <a:cubicBezTo>
                    <a:pt x="66" y="28"/>
                    <a:pt x="65" y="28"/>
                    <a:pt x="63" y="28"/>
                  </a:cubicBezTo>
                  <a:cubicBezTo>
                    <a:pt x="63" y="30"/>
                    <a:pt x="63" y="28"/>
                    <a:pt x="60" y="28"/>
                  </a:cubicBezTo>
                  <a:cubicBezTo>
                    <a:pt x="58" y="30"/>
                    <a:pt x="55" y="23"/>
                    <a:pt x="54" y="27"/>
                  </a:cubicBezTo>
                  <a:cubicBezTo>
                    <a:pt x="54" y="28"/>
                    <a:pt x="52" y="28"/>
                    <a:pt x="51" y="27"/>
                  </a:cubicBezTo>
                  <a:cubicBezTo>
                    <a:pt x="49" y="23"/>
                    <a:pt x="51" y="28"/>
                    <a:pt x="49" y="28"/>
                  </a:cubicBezTo>
                  <a:cubicBezTo>
                    <a:pt x="48" y="28"/>
                    <a:pt x="48" y="23"/>
                    <a:pt x="46" y="23"/>
                  </a:cubicBezTo>
                  <a:cubicBezTo>
                    <a:pt x="43" y="23"/>
                    <a:pt x="42" y="25"/>
                    <a:pt x="43" y="22"/>
                  </a:cubicBezTo>
                  <a:cubicBezTo>
                    <a:pt x="43" y="20"/>
                    <a:pt x="43" y="20"/>
                    <a:pt x="42" y="20"/>
                  </a:cubicBezTo>
                  <a:cubicBezTo>
                    <a:pt x="40" y="22"/>
                    <a:pt x="35" y="19"/>
                    <a:pt x="35" y="16"/>
                  </a:cubicBezTo>
                  <a:cubicBezTo>
                    <a:pt x="35" y="12"/>
                    <a:pt x="34" y="14"/>
                    <a:pt x="31" y="14"/>
                  </a:cubicBezTo>
                  <a:cubicBezTo>
                    <a:pt x="29" y="16"/>
                    <a:pt x="28" y="9"/>
                    <a:pt x="26" y="9"/>
                  </a:cubicBezTo>
                  <a:cubicBezTo>
                    <a:pt x="23" y="9"/>
                    <a:pt x="23" y="6"/>
                    <a:pt x="20" y="6"/>
                  </a:cubicBezTo>
                  <a:cubicBezTo>
                    <a:pt x="17" y="5"/>
                    <a:pt x="22" y="3"/>
                    <a:pt x="15" y="2"/>
                  </a:cubicBezTo>
                  <a:cubicBezTo>
                    <a:pt x="11" y="0"/>
                    <a:pt x="12" y="9"/>
                    <a:pt x="9" y="3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28" name="Freeform 43">
              <a:extLst>
                <a:ext uri="{FF2B5EF4-FFF2-40B4-BE49-F238E27FC236}">
                  <a16:creationId xmlns:a16="http://schemas.microsoft.com/office/drawing/2014/main" id="{9578B34D-921B-29D8-EC0E-77C757A8B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21012" y="3868680"/>
              <a:ext cx="93193" cy="61056"/>
            </a:xfrm>
            <a:custGeom>
              <a:avLst/>
              <a:gdLst/>
              <a:ahLst/>
              <a:cxnLst>
                <a:cxn ang="0">
                  <a:pos x="3" y="12"/>
                </a:cxn>
                <a:cxn ang="0">
                  <a:pos x="6" y="17"/>
                </a:cxn>
                <a:cxn ang="0">
                  <a:pos x="14" y="17"/>
                </a:cxn>
                <a:cxn ang="0">
                  <a:pos x="21" y="17"/>
                </a:cxn>
                <a:cxn ang="0">
                  <a:pos x="26" y="17"/>
                </a:cxn>
                <a:cxn ang="0">
                  <a:pos x="29" y="15"/>
                </a:cxn>
                <a:cxn ang="0">
                  <a:pos x="27" y="11"/>
                </a:cxn>
                <a:cxn ang="0">
                  <a:pos x="24" y="8"/>
                </a:cxn>
                <a:cxn ang="0">
                  <a:pos x="23" y="4"/>
                </a:cxn>
                <a:cxn ang="0">
                  <a:pos x="20" y="4"/>
                </a:cxn>
                <a:cxn ang="0">
                  <a:pos x="15" y="3"/>
                </a:cxn>
                <a:cxn ang="0">
                  <a:pos x="9" y="4"/>
                </a:cxn>
                <a:cxn ang="0">
                  <a:pos x="6" y="8"/>
                </a:cxn>
                <a:cxn ang="0">
                  <a:pos x="3" y="12"/>
                </a:cxn>
              </a:cxnLst>
              <a:rect l="0" t="0" r="r" b="b"/>
              <a:pathLst>
                <a:path w="30" h="20">
                  <a:moveTo>
                    <a:pt x="3" y="12"/>
                  </a:moveTo>
                  <a:cubicBezTo>
                    <a:pt x="0" y="14"/>
                    <a:pt x="5" y="17"/>
                    <a:pt x="6" y="17"/>
                  </a:cubicBezTo>
                  <a:cubicBezTo>
                    <a:pt x="9" y="15"/>
                    <a:pt x="9" y="20"/>
                    <a:pt x="14" y="17"/>
                  </a:cubicBezTo>
                  <a:cubicBezTo>
                    <a:pt x="18" y="15"/>
                    <a:pt x="17" y="20"/>
                    <a:pt x="21" y="17"/>
                  </a:cubicBezTo>
                  <a:cubicBezTo>
                    <a:pt x="26" y="15"/>
                    <a:pt x="24" y="19"/>
                    <a:pt x="26" y="17"/>
                  </a:cubicBezTo>
                  <a:cubicBezTo>
                    <a:pt x="27" y="15"/>
                    <a:pt x="29" y="19"/>
                    <a:pt x="29" y="15"/>
                  </a:cubicBezTo>
                  <a:cubicBezTo>
                    <a:pt x="27" y="12"/>
                    <a:pt x="30" y="9"/>
                    <a:pt x="27" y="11"/>
                  </a:cubicBezTo>
                  <a:cubicBezTo>
                    <a:pt x="24" y="11"/>
                    <a:pt x="24" y="8"/>
                    <a:pt x="24" y="8"/>
                  </a:cubicBezTo>
                  <a:cubicBezTo>
                    <a:pt x="26" y="4"/>
                    <a:pt x="24" y="4"/>
                    <a:pt x="23" y="4"/>
                  </a:cubicBezTo>
                  <a:cubicBezTo>
                    <a:pt x="21" y="3"/>
                    <a:pt x="21" y="6"/>
                    <a:pt x="20" y="4"/>
                  </a:cubicBezTo>
                  <a:cubicBezTo>
                    <a:pt x="18" y="3"/>
                    <a:pt x="14" y="4"/>
                    <a:pt x="15" y="3"/>
                  </a:cubicBezTo>
                  <a:cubicBezTo>
                    <a:pt x="17" y="1"/>
                    <a:pt x="11" y="0"/>
                    <a:pt x="9" y="4"/>
                  </a:cubicBezTo>
                  <a:cubicBezTo>
                    <a:pt x="8" y="8"/>
                    <a:pt x="6" y="4"/>
                    <a:pt x="6" y="8"/>
                  </a:cubicBezTo>
                  <a:cubicBezTo>
                    <a:pt x="5" y="11"/>
                    <a:pt x="5" y="9"/>
                    <a:pt x="3" y="12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29" name="Freeform 44">
              <a:extLst>
                <a:ext uri="{FF2B5EF4-FFF2-40B4-BE49-F238E27FC236}">
                  <a16:creationId xmlns:a16="http://schemas.microsoft.com/office/drawing/2014/main" id="{18BDD823-79B7-3186-E806-B24E7AD579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3337" y="3926523"/>
              <a:ext cx="120509" cy="197631"/>
            </a:xfrm>
            <a:custGeom>
              <a:avLst/>
              <a:gdLst/>
              <a:ahLst/>
              <a:cxnLst>
                <a:cxn ang="0">
                  <a:pos x="9" y="41"/>
                </a:cxn>
                <a:cxn ang="0">
                  <a:pos x="9" y="35"/>
                </a:cxn>
                <a:cxn ang="0">
                  <a:pos x="8" y="31"/>
                </a:cxn>
                <a:cxn ang="0">
                  <a:pos x="8" y="26"/>
                </a:cxn>
                <a:cxn ang="0">
                  <a:pos x="3" y="20"/>
                </a:cxn>
                <a:cxn ang="0">
                  <a:pos x="6" y="15"/>
                </a:cxn>
                <a:cxn ang="0">
                  <a:pos x="9" y="13"/>
                </a:cxn>
                <a:cxn ang="0">
                  <a:pos x="8" y="12"/>
                </a:cxn>
                <a:cxn ang="0">
                  <a:pos x="3" y="9"/>
                </a:cxn>
                <a:cxn ang="0">
                  <a:pos x="6" y="3"/>
                </a:cxn>
                <a:cxn ang="0">
                  <a:pos x="6" y="1"/>
                </a:cxn>
                <a:cxn ang="0">
                  <a:pos x="11" y="3"/>
                </a:cxn>
                <a:cxn ang="0">
                  <a:pos x="15" y="6"/>
                </a:cxn>
                <a:cxn ang="0">
                  <a:pos x="17" y="13"/>
                </a:cxn>
                <a:cxn ang="0">
                  <a:pos x="38" y="17"/>
                </a:cxn>
                <a:cxn ang="0">
                  <a:pos x="35" y="20"/>
                </a:cxn>
                <a:cxn ang="0">
                  <a:pos x="27" y="31"/>
                </a:cxn>
                <a:cxn ang="0">
                  <a:pos x="33" y="32"/>
                </a:cxn>
                <a:cxn ang="0">
                  <a:pos x="36" y="32"/>
                </a:cxn>
                <a:cxn ang="0">
                  <a:pos x="38" y="48"/>
                </a:cxn>
                <a:cxn ang="0">
                  <a:pos x="35" y="57"/>
                </a:cxn>
                <a:cxn ang="0">
                  <a:pos x="35" y="57"/>
                </a:cxn>
                <a:cxn ang="0">
                  <a:pos x="33" y="52"/>
                </a:cxn>
                <a:cxn ang="0">
                  <a:pos x="33" y="48"/>
                </a:cxn>
                <a:cxn ang="0">
                  <a:pos x="29" y="40"/>
                </a:cxn>
                <a:cxn ang="0">
                  <a:pos x="24" y="38"/>
                </a:cxn>
                <a:cxn ang="0">
                  <a:pos x="23" y="32"/>
                </a:cxn>
                <a:cxn ang="0">
                  <a:pos x="21" y="34"/>
                </a:cxn>
                <a:cxn ang="0">
                  <a:pos x="23" y="41"/>
                </a:cxn>
                <a:cxn ang="0">
                  <a:pos x="18" y="49"/>
                </a:cxn>
                <a:cxn ang="0">
                  <a:pos x="15" y="49"/>
                </a:cxn>
                <a:cxn ang="0">
                  <a:pos x="11" y="48"/>
                </a:cxn>
                <a:cxn ang="0">
                  <a:pos x="9" y="41"/>
                </a:cxn>
              </a:cxnLst>
              <a:rect l="0" t="0" r="r" b="b"/>
              <a:pathLst>
                <a:path w="39" h="63">
                  <a:moveTo>
                    <a:pt x="9" y="41"/>
                  </a:moveTo>
                  <a:cubicBezTo>
                    <a:pt x="9" y="35"/>
                    <a:pt x="11" y="35"/>
                    <a:pt x="9" y="35"/>
                  </a:cubicBezTo>
                  <a:cubicBezTo>
                    <a:pt x="6" y="35"/>
                    <a:pt x="9" y="34"/>
                    <a:pt x="8" y="31"/>
                  </a:cubicBezTo>
                  <a:cubicBezTo>
                    <a:pt x="5" y="29"/>
                    <a:pt x="9" y="31"/>
                    <a:pt x="8" y="26"/>
                  </a:cubicBezTo>
                  <a:cubicBezTo>
                    <a:pt x="8" y="21"/>
                    <a:pt x="2" y="24"/>
                    <a:pt x="3" y="20"/>
                  </a:cubicBezTo>
                  <a:cubicBezTo>
                    <a:pt x="3" y="15"/>
                    <a:pt x="6" y="20"/>
                    <a:pt x="6" y="15"/>
                  </a:cubicBezTo>
                  <a:cubicBezTo>
                    <a:pt x="5" y="12"/>
                    <a:pt x="12" y="17"/>
                    <a:pt x="9" y="13"/>
                  </a:cubicBezTo>
                  <a:cubicBezTo>
                    <a:pt x="9" y="12"/>
                    <a:pt x="9" y="12"/>
                    <a:pt x="8" y="12"/>
                  </a:cubicBezTo>
                  <a:cubicBezTo>
                    <a:pt x="6" y="12"/>
                    <a:pt x="6" y="9"/>
                    <a:pt x="3" y="9"/>
                  </a:cubicBezTo>
                  <a:cubicBezTo>
                    <a:pt x="0" y="7"/>
                    <a:pt x="8" y="3"/>
                    <a:pt x="6" y="3"/>
                  </a:cubicBezTo>
                  <a:cubicBezTo>
                    <a:pt x="5" y="1"/>
                    <a:pt x="5" y="0"/>
                    <a:pt x="6" y="1"/>
                  </a:cubicBezTo>
                  <a:cubicBezTo>
                    <a:pt x="8" y="1"/>
                    <a:pt x="6" y="6"/>
                    <a:pt x="11" y="3"/>
                  </a:cubicBezTo>
                  <a:cubicBezTo>
                    <a:pt x="12" y="3"/>
                    <a:pt x="14" y="10"/>
                    <a:pt x="15" y="6"/>
                  </a:cubicBezTo>
                  <a:cubicBezTo>
                    <a:pt x="17" y="3"/>
                    <a:pt x="17" y="9"/>
                    <a:pt x="17" y="13"/>
                  </a:cubicBezTo>
                  <a:cubicBezTo>
                    <a:pt x="17" y="17"/>
                    <a:pt x="35" y="13"/>
                    <a:pt x="38" y="17"/>
                  </a:cubicBezTo>
                  <a:cubicBezTo>
                    <a:pt x="39" y="20"/>
                    <a:pt x="35" y="15"/>
                    <a:pt x="35" y="20"/>
                  </a:cubicBezTo>
                  <a:cubicBezTo>
                    <a:pt x="35" y="26"/>
                    <a:pt x="26" y="24"/>
                    <a:pt x="27" y="31"/>
                  </a:cubicBezTo>
                  <a:cubicBezTo>
                    <a:pt x="29" y="38"/>
                    <a:pt x="32" y="40"/>
                    <a:pt x="33" y="32"/>
                  </a:cubicBezTo>
                  <a:cubicBezTo>
                    <a:pt x="33" y="29"/>
                    <a:pt x="36" y="29"/>
                    <a:pt x="36" y="32"/>
                  </a:cubicBezTo>
                  <a:cubicBezTo>
                    <a:pt x="35" y="38"/>
                    <a:pt x="38" y="38"/>
                    <a:pt x="38" y="48"/>
                  </a:cubicBezTo>
                  <a:cubicBezTo>
                    <a:pt x="39" y="63"/>
                    <a:pt x="35" y="46"/>
                    <a:pt x="35" y="57"/>
                  </a:cubicBezTo>
                  <a:cubicBezTo>
                    <a:pt x="36" y="60"/>
                    <a:pt x="35" y="59"/>
                    <a:pt x="35" y="57"/>
                  </a:cubicBezTo>
                  <a:cubicBezTo>
                    <a:pt x="33" y="55"/>
                    <a:pt x="33" y="54"/>
                    <a:pt x="33" y="52"/>
                  </a:cubicBezTo>
                  <a:cubicBezTo>
                    <a:pt x="35" y="51"/>
                    <a:pt x="33" y="51"/>
                    <a:pt x="33" y="48"/>
                  </a:cubicBezTo>
                  <a:cubicBezTo>
                    <a:pt x="30" y="41"/>
                    <a:pt x="30" y="38"/>
                    <a:pt x="29" y="40"/>
                  </a:cubicBezTo>
                  <a:cubicBezTo>
                    <a:pt x="26" y="43"/>
                    <a:pt x="24" y="41"/>
                    <a:pt x="24" y="38"/>
                  </a:cubicBezTo>
                  <a:cubicBezTo>
                    <a:pt x="23" y="35"/>
                    <a:pt x="23" y="31"/>
                    <a:pt x="23" y="32"/>
                  </a:cubicBezTo>
                  <a:cubicBezTo>
                    <a:pt x="21" y="34"/>
                    <a:pt x="21" y="32"/>
                    <a:pt x="21" y="34"/>
                  </a:cubicBezTo>
                  <a:cubicBezTo>
                    <a:pt x="23" y="37"/>
                    <a:pt x="21" y="38"/>
                    <a:pt x="23" y="41"/>
                  </a:cubicBezTo>
                  <a:cubicBezTo>
                    <a:pt x="23" y="45"/>
                    <a:pt x="20" y="51"/>
                    <a:pt x="18" y="49"/>
                  </a:cubicBezTo>
                  <a:cubicBezTo>
                    <a:pt x="17" y="46"/>
                    <a:pt x="15" y="52"/>
                    <a:pt x="15" y="49"/>
                  </a:cubicBezTo>
                  <a:cubicBezTo>
                    <a:pt x="14" y="48"/>
                    <a:pt x="12" y="52"/>
                    <a:pt x="11" y="48"/>
                  </a:cubicBezTo>
                  <a:cubicBezTo>
                    <a:pt x="11" y="46"/>
                    <a:pt x="11" y="45"/>
                    <a:pt x="9" y="41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30" name="Freeform 45">
              <a:extLst>
                <a:ext uri="{FF2B5EF4-FFF2-40B4-BE49-F238E27FC236}">
                  <a16:creationId xmlns:a16="http://schemas.microsoft.com/office/drawing/2014/main" id="{5BAFB335-A615-A3D9-894D-51D0497FF0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930096" y="3531262"/>
              <a:ext cx="355099" cy="318136"/>
            </a:xfrm>
            <a:custGeom>
              <a:avLst/>
              <a:gdLst/>
              <a:ahLst/>
              <a:cxnLst>
                <a:cxn ang="0">
                  <a:pos x="6" y="33"/>
                </a:cxn>
                <a:cxn ang="0">
                  <a:pos x="0" y="50"/>
                </a:cxn>
                <a:cxn ang="0">
                  <a:pos x="3" y="74"/>
                </a:cxn>
                <a:cxn ang="0">
                  <a:pos x="10" y="80"/>
                </a:cxn>
                <a:cxn ang="0">
                  <a:pos x="3" y="94"/>
                </a:cxn>
                <a:cxn ang="0">
                  <a:pos x="29" y="97"/>
                </a:cxn>
                <a:cxn ang="0">
                  <a:pos x="47" y="88"/>
                </a:cxn>
                <a:cxn ang="0">
                  <a:pos x="59" y="75"/>
                </a:cxn>
                <a:cxn ang="0">
                  <a:pos x="69" y="74"/>
                </a:cxn>
                <a:cxn ang="0">
                  <a:pos x="70" y="64"/>
                </a:cxn>
                <a:cxn ang="0">
                  <a:pos x="76" y="53"/>
                </a:cxn>
                <a:cxn ang="0">
                  <a:pos x="85" y="46"/>
                </a:cxn>
                <a:cxn ang="0">
                  <a:pos x="87" y="33"/>
                </a:cxn>
                <a:cxn ang="0">
                  <a:pos x="96" y="21"/>
                </a:cxn>
                <a:cxn ang="0">
                  <a:pos x="111" y="16"/>
                </a:cxn>
                <a:cxn ang="0">
                  <a:pos x="113" y="15"/>
                </a:cxn>
                <a:cxn ang="0">
                  <a:pos x="108" y="13"/>
                </a:cxn>
                <a:cxn ang="0">
                  <a:pos x="105" y="13"/>
                </a:cxn>
                <a:cxn ang="0">
                  <a:pos x="101" y="13"/>
                </a:cxn>
                <a:cxn ang="0">
                  <a:pos x="97" y="16"/>
                </a:cxn>
                <a:cxn ang="0">
                  <a:pos x="91" y="19"/>
                </a:cxn>
                <a:cxn ang="0">
                  <a:pos x="88" y="10"/>
                </a:cxn>
                <a:cxn ang="0">
                  <a:pos x="85" y="7"/>
                </a:cxn>
                <a:cxn ang="0">
                  <a:pos x="84" y="2"/>
                </a:cxn>
                <a:cxn ang="0">
                  <a:pos x="78" y="7"/>
                </a:cxn>
                <a:cxn ang="0">
                  <a:pos x="78" y="11"/>
                </a:cxn>
                <a:cxn ang="0">
                  <a:pos x="72" y="11"/>
                </a:cxn>
                <a:cxn ang="0">
                  <a:pos x="70" y="16"/>
                </a:cxn>
                <a:cxn ang="0">
                  <a:pos x="67" y="15"/>
                </a:cxn>
                <a:cxn ang="0">
                  <a:pos x="61" y="16"/>
                </a:cxn>
                <a:cxn ang="0">
                  <a:pos x="58" y="16"/>
                </a:cxn>
                <a:cxn ang="0">
                  <a:pos x="55" y="15"/>
                </a:cxn>
                <a:cxn ang="0">
                  <a:pos x="49" y="13"/>
                </a:cxn>
                <a:cxn ang="0">
                  <a:pos x="41" y="13"/>
                </a:cxn>
                <a:cxn ang="0">
                  <a:pos x="33" y="21"/>
                </a:cxn>
                <a:cxn ang="0">
                  <a:pos x="24" y="28"/>
                </a:cxn>
                <a:cxn ang="0">
                  <a:pos x="17" y="36"/>
                </a:cxn>
                <a:cxn ang="0">
                  <a:pos x="10" y="35"/>
                </a:cxn>
                <a:cxn ang="0">
                  <a:pos x="6" y="33"/>
                </a:cxn>
              </a:cxnLst>
              <a:rect l="0" t="0" r="r" b="b"/>
              <a:pathLst>
                <a:path w="114" h="102">
                  <a:moveTo>
                    <a:pt x="6" y="33"/>
                  </a:moveTo>
                  <a:cubicBezTo>
                    <a:pt x="4" y="47"/>
                    <a:pt x="0" y="43"/>
                    <a:pt x="0" y="50"/>
                  </a:cubicBezTo>
                  <a:cubicBezTo>
                    <a:pt x="1" y="58"/>
                    <a:pt x="3" y="66"/>
                    <a:pt x="3" y="74"/>
                  </a:cubicBezTo>
                  <a:cubicBezTo>
                    <a:pt x="1" y="81"/>
                    <a:pt x="10" y="74"/>
                    <a:pt x="10" y="80"/>
                  </a:cubicBezTo>
                  <a:cubicBezTo>
                    <a:pt x="12" y="86"/>
                    <a:pt x="3" y="89"/>
                    <a:pt x="3" y="94"/>
                  </a:cubicBezTo>
                  <a:cubicBezTo>
                    <a:pt x="7" y="92"/>
                    <a:pt x="14" y="102"/>
                    <a:pt x="29" y="97"/>
                  </a:cubicBezTo>
                  <a:cubicBezTo>
                    <a:pt x="46" y="94"/>
                    <a:pt x="47" y="94"/>
                    <a:pt x="47" y="88"/>
                  </a:cubicBezTo>
                  <a:cubicBezTo>
                    <a:pt x="46" y="80"/>
                    <a:pt x="55" y="78"/>
                    <a:pt x="59" y="75"/>
                  </a:cubicBezTo>
                  <a:cubicBezTo>
                    <a:pt x="64" y="70"/>
                    <a:pt x="67" y="77"/>
                    <a:pt x="69" y="74"/>
                  </a:cubicBezTo>
                  <a:cubicBezTo>
                    <a:pt x="70" y="72"/>
                    <a:pt x="69" y="70"/>
                    <a:pt x="70" y="64"/>
                  </a:cubicBezTo>
                  <a:cubicBezTo>
                    <a:pt x="73" y="56"/>
                    <a:pt x="81" y="61"/>
                    <a:pt x="76" y="53"/>
                  </a:cubicBezTo>
                  <a:cubicBezTo>
                    <a:pt x="70" y="44"/>
                    <a:pt x="85" y="55"/>
                    <a:pt x="85" y="46"/>
                  </a:cubicBezTo>
                  <a:cubicBezTo>
                    <a:pt x="85" y="41"/>
                    <a:pt x="90" y="39"/>
                    <a:pt x="87" y="33"/>
                  </a:cubicBezTo>
                  <a:cubicBezTo>
                    <a:pt x="84" y="27"/>
                    <a:pt x="85" y="24"/>
                    <a:pt x="96" y="21"/>
                  </a:cubicBezTo>
                  <a:cubicBezTo>
                    <a:pt x="105" y="16"/>
                    <a:pt x="108" y="22"/>
                    <a:pt x="111" y="16"/>
                  </a:cubicBezTo>
                  <a:cubicBezTo>
                    <a:pt x="110" y="16"/>
                    <a:pt x="110" y="15"/>
                    <a:pt x="113" y="15"/>
                  </a:cubicBezTo>
                  <a:cubicBezTo>
                    <a:pt x="114" y="13"/>
                    <a:pt x="111" y="11"/>
                    <a:pt x="108" y="13"/>
                  </a:cubicBezTo>
                  <a:cubicBezTo>
                    <a:pt x="105" y="16"/>
                    <a:pt x="104" y="16"/>
                    <a:pt x="105" y="13"/>
                  </a:cubicBezTo>
                  <a:cubicBezTo>
                    <a:pt x="107" y="11"/>
                    <a:pt x="102" y="11"/>
                    <a:pt x="101" y="13"/>
                  </a:cubicBezTo>
                  <a:cubicBezTo>
                    <a:pt x="99" y="15"/>
                    <a:pt x="97" y="15"/>
                    <a:pt x="97" y="16"/>
                  </a:cubicBezTo>
                  <a:cubicBezTo>
                    <a:pt x="97" y="18"/>
                    <a:pt x="94" y="18"/>
                    <a:pt x="91" y="19"/>
                  </a:cubicBezTo>
                  <a:cubicBezTo>
                    <a:pt x="88" y="22"/>
                    <a:pt x="87" y="19"/>
                    <a:pt x="88" y="10"/>
                  </a:cubicBezTo>
                  <a:cubicBezTo>
                    <a:pt x="88" y="4"/>
                    <a:pt x="87" y="8"/>
                    <a:pt x="85" y="7"/>
                  </a:cubicBezTo>
                  <a:cubicBezTo>
                    <a:pt x="85" y="5"/>
                    <a:pt x="88" y="4"/>
                    <a:pt x="84" y="2"/>
                  </a:cubicBezTo>
                  <a:cubicBezTo>
                    <a:pt x="79" y="0"/>
                    <a:pt x="81" y="5"/>
                    <a:pt x="78" y="7"/>
                  </a:cubicBezTo>
                  <a:cubicBezTo>
                    <a:pt x="76" y="8"/>
                    <a:pt x="79" y="10"/>
                    <a:pt x="78" y="11"/>
                  </a:cubicBezTo>
                  <a:cubicBezTo>
                    <a:pt x="76" y="13"/>
                    <a:pt x="75" y="10"/>
                    <a:pt x="72" y="11"/>
                  </a:cubicBezTo>
                  <a:cubicBezTo>
                    <a:pt x="70" y="13"/>
                    <a:pt x="72" y="16"/>
                    <a:pt x="70" y="16"/>
                  </a:cubicBezTo>
                  <a:cubicBezTo>
                    <a:pt x="70" y="16"/>
                    <a:pt x="69" y="13"/>
                    <a:pt x="67" y="15"/>
                  </a:cubicBezTo>
                  <a:cubicBezTo>
                    <a:pt x="64" y="15"/>
                    <a:pt x="62" y="15"/>
                    <a:pt x="61" y="16"/>
                  </a:cubicBezTo>
                  <a:cubicBezTo>
                    <a:pt x="61" y="19"/>
                    <a:pt x="59" y="19"/>
                    <a:pt x="58" y="16"/>
                  </a:cubicBezTo>
                  <a:cubicBezTo>
                    <a:pt x="56" y="15"/>
                    <a:pt x="56" y="15"/>
                    <a:pt x="55" y="15"/>
                  </a:cubicBezTo>
                  <a:cubicBezTo>
                    <a:pt x="53" y="16"/>
                    <a:pt x="53" y="11"/>
                    <a:pt x="49" y="13"/>
                  </a:cubicBezTo>
                  <a:cubicBezTo>
                    <a:pt x="44" y="15"/>
                    <a:pt x="43" y="10"/>
                    <a:pt x="41" y="13"/>
                  </a:cubicBezTo>
                  <a:cubicBezTo>
                    <a:pt x="38" y="16"/>
                    <a:pt x="35" y="13"/>
                    <a:pt x="33" y="21"/>
                  </a:cubicBezTo>
                  <a:cubicBezTo>
                    <a:pt x="32" y="28"/>
                    <a:pt x="27" y="27"/>
                    <a:pt x="24" y="28"/>
                  </a:cubicBezTo>
                  <a:cubicBezTo>
                    <a:pt x="21" y="30"/>
                    <a:pt x="21" y="35"/>
                    <a:pt x="17" y="36"/>
                  </a:cubicBezTo>
                  <a:cubicBezTo>
                    <a:pt x="12" y="38"/>
                    <a:pt x="15" y="33"/>
                    <a:pt x="10" y="35"/>
                  </a:cubicBezTo>
                  <a:cubicBezTo>
                    <a:pt x="7" y="35"/>
                    <a:pt x="9" y="33"/>
                    <a:pt x="6" y="33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31" name="Freeform 46">
              <a:extLst>
                <a:ext uri="{FF2B5EF4-FFF2-40B4-BE49-F238E27FC236}">
                  <a16:creationId xmlns:a16="http://schemas.microsoft.com/office/drawing/2014/main" id="{8333D965-7B9D-FAFA-BC9B-1B272629F0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938129" y="3581071"/>
              <a:ext cx="417763" cy="441857"/>
            </a:xfrm>
            <a:custGeom>
              <a:avLst/>
              <a:gdLst/>
              <a:ahLst/>
              <a:cxnLst>
                <a:cxn ang="0">
                  <a:pos x="108" y="0"/>
                </a:cxn>
                <a:cxn ang="0">
                  <a:pos x="116" y="3"/>
                </a:cxn>
                <a:cxn ang="0">
                  <a:pos x="120" y="6"/>
                </a:cxn>
                <a:cxn ang="0">
                  <a:pos x="120" y="12"/>
                </a:cxn>
                <a:cxn ang="0">
                  <a:pos x="125" y="14"/>
                </a:cxn>
                <a:cxn ang="0">
                  <a:pos x="134" y="17"/>
                </a:cxn>
                <a:cxn ang="0">
                  <a:pos x="125" y="25"/>
                </a:cxn>
                <a:cxn ang="0">
                  <a:pos x="114" y="28"/>
                </a:cxn>
                <a:cxn ang="0">
                  <a:pos x="103" y="30"/>
                </a:cxn>
                <a:cxn ang="0">
                  <a:pos x="105" y="33"/>
                </a:cxn>
                <a:cxn ang="0">
                  <a:pos x="105" y="37"/>
                </a:cxn>
                <a:cxn ang="0">
                  <a:pos x="105" y="44"/>
                </a:cxn>
                <a:cxn ang="0">
                  <a:pos x="108" y="47"/>
                </a:cxn>
                <a:cxn ang="0">
                  <a:pos x="111" y="50"/>
                </a:cxn>
                <a:cxn ang="0">
                  <a:pos x="111" y="54"/>
                </a:cxn>
                <a:cxn ang="0">
                  <a:pos x="105" y="69"/>
                </a:cxn>
                <a:cxn ang="0">
                  <a:pos x="102" y="75"/>
                </a:cxn>
                <a:cxn ang="0">
                  <a:pos x="94" y="87"/>
                </a:cxn>
                <a:cxn ang="0">
                  <a:pos x="90" y="93"/>
                </a:cxn>
                <a:cxn ang="0">
                  <a:pos x="86" y="98"/>
                </a:cxn>
                <a:cxn ang="0">
                  <a:pos x="77" y="98"/>
                </a:cxn>
                <a:cxn ang="0">
                  <a:pos x="71" y="103"/>
                </a:cxn>
                <a:cxn ang="0">
                  <a:pos x="71" y="110"/>
                </a:cxn>
                <a:cxn ang="0">
                  <a:pos x="76" y="120"/>
                </a:cxn>
                <a:cxn ang="0">
                  <a:pos x="81" y="129"/>
                </a:cxn>
                <a:cxn ang="0">
                  <a:pos x="81" y="134"/>
                </a:cxn>
                <a:cxn ang="0">
                  <a:pos x="77" y="135"/>
                </a:cxn>
                <a:cxn ang="0">
                  <a:pos x="73" y="135"/>
                </a:cxn>
                <a:cxn ang="0">
                  <a:pos x="67" y="135"/>
                </a:cxn>
                <a:cxn ang="0">
                  <a:pos x="62" y="137"/>
                </a:cxn>
                <a:cxn ang="0">
                  <a:pos x="58" y="142"/>
                </a:cxn>
                <a:cxn ang="0">
                  <a:pos x="53" y="140"/>
                </a:cxn>
                <a:cxn ang="0">
                  <a:pos x="52" y="137"/>
                </a:cxn>
                <a:cxn ang="0">
                  <a:pos x="50" y="134"/>
                </a:cxn>
                <a:cxn ang="0">
                  <a:pos x="48" y="129"/>
                </a:cxn>
                <a:cxn ang="0">
                  <a:pos x="45" y="124"/>
                </a:cxn>
                <a:cxn ang="0">
                  <a:pos x="30" y="124"/>
                </a:cxn>
                <a:cxn ang="0">
                  <a:pos x="24" y="124"/>
                </a:cxn>
                <a:cxn ang="0">
                  <a:pos x="18" y="126"/>
                </a:cxn>
                <a:cxn ang="0">
                  <a:pos x="12" y="126"/>
                </a:cxn>
                <a:cxn ang="0">
                  <a:pos x="6" y="126"/>
                </a:cxn>
                <a:cxn ang="0">
                  <a:pos x="7" y="117"/>
                </a:cxn>
                <a:cxn ang="0">
                  <a:pos x="12" y="112"/>
                </a:cxn>
                <a:cxn ang="0">
                  <a:pos x="18" y="110"/>
                </a:cxn>
                <a:cxn ang="0">
                  <a:pos x="20" y="104"/>
                </a:cxn>
                <a:cxn ang="0">
                  <a:pos x="15" y="103"/>
                </a:cxn>
                <a:cxn ang="0">
                  <a:pos x="15" y="95"/>
                </a:cxn>
                <a:cxn ang="0">
                  <a:pos x="13" y="93"/>
                </a:cxn>
                <a:cxn ang="0">
                  <a:pos x="6" y="87"/>
                </a:cxn>
                <a:cxn ang="0">
                  <a:pos x="0" y="78"/>
                </a:cxn>
                <a:cxn ang="0">
                  <a:pos x="26" y="81"/>
                </a:cxn>
                <a:cxn ang="0">
                  <a:pos x="44" y="72"/>
                </a:cxn>
                <a:cxn ang="0">
                  <a:pos x="56" y="59"/>
                </a:cxn>
                <a:cxn ang="0">
                  <a:pos x="65" y="58"/>
                </a:cxn>
                <a:cxn ang="0">
                  <a:pos x="67" y="48"/>
                </a:cxn>
                <a:cxn ang="0">
                  <a:pos x="73" y="37"/>
                </a:cxn>
                <a:cxn ang="0">
                  <a:pos x="82" y="30"/>
                </a:cxn>
                <a:cxn ang="0">
                  <a:pos x="83" y="17"/>
                </a:cxn>
                <a:cxn ang="0">
                  <a:pos x="93" y="5"/>
                </a:cxn>
                <a:cxn ang="0">
                  <a:pos x="108" y="0"/>
                </a:cxn>
              </a:cxnLst>
              <a:rect l="0" t="0" r="r" b="b"/>
              <a:pathLst>
                <a:path w="134" h="142">
                  <a:moveTo>
                    <a:pt x="108" y="0"/>
                  </a:moveTo>
                  <a:cubicBezTo>
                    <a:pt x="111" y="3"/>
                    <a:pt x="114" y="0"/>
                    <a:pt x="116" y="3"/>
                  </a:cubicBezTo>
                  <a:cubicBezTo>
                    <a:pt x="116" y="6"/>
                    <a:pt x="117" y="2"/>
                    <a:pt x="120" y="6"/>
                  </a:cubicBezTo>
                  <a:cubicBezTo>
                    <a:pt x="122" y="11"/>
                    <a:pt x="119" y="9"/>
                    <a:pt x="120" y="12"/>
                  </a:cubicBezTo>
                  <a:cubicBezTo>
                    <a:pt x="123" y="16"/>
                    <a:pt x="125" y="12"/>
                    <a:pt x="125" y="14"/>
                  </a:cubicBezTo>
                  <a:cubicBezTo>
                    <a:pt x="126" y="16"/>
                    <a:pt x="131" y="17"/>
                    <a:pt x="134" y="17"/>
                  </a:cubicBezTo>
                  <a:cubicBezTo>
                    <a:pt x="126" y="22"/>
                    <a:pt x="129" y="27"/>
                    <a:pt x="125" y="25"/>
                  </a:cubicBezTo>
                  <a:cubicBezTo>
                    <a:pt x="122" y="25"/>
                    <a:pt x="120" y="30"/>
                    <a:pt x="114" y="28"/>
                  </a:cubicBezTo>
                  <a:cubicBezTo>
                    <a:pt x="105" y="23"/>
                    <a:pt x="100" y="28"/>
                    <a:pt x="103" y="30"/>
                  </a:cubicBezTo>
                  <a:cubicBezTo>
                    <a:pt x="106" y="33"/>
                    <a:pt x="100" y="33"/>
                    <a:pt x="105" y="33"/>
                  </a:cubicBezTo>
                  <a:cubicBezTo>
                    <a:pt x="111" y="34"/>
                    <a:pt x="100" y="34"/>
                    <a:pt x="105" y="37"/>
                  </a:cubicBezTo>
                  <a:cubicBezTo>
                    <a:pt x="108" y="40"/>
                    <a:pt x="102" y="40"/>
                    <a:pt x="105" y="44"/>
                  </a:cubicBezTo>
                  <a:cubicBezTo>
                    <a:pt x="108" y="45"/>
                    <a:pt x="106" y="47"/>
                    <a:pt x="108" y="47"/>
                  </a:cubicBezTo>
                  <a:cubicBezTo>
                    <a:pt x="112" y="45"/>
                    <a:pt x="108" y="50"/>
                    <a:pt x="111" y="50"/>
                  </a:cubicBezTo>
                  <a:cubicBezTo>
                    <a:pt x="116" y="51"/>
                    <a:pt x="117" y="51"/>
                    <a:pt x="111" y="54"/>
                  </a:cubicBezTo>
                  <a:cubicBezTo>
                    <a:pt x="103" y="58"/>
                    <a:pt x="112" y="58"/>
                    <a:pt x="105" y="69"/>
                  </a:cubicBezTo>
                  <a:cubicBezTo>
                    <a:pt x="102" y="75"/>
                    <a:pt x="108" y="73"/>
                    <a:pt x="102" y="75"/>
                  </a:cubicBezTo>
                  <a:cubicBezTo>
                    <a:pt x="96" y="78"/>
                    <a:pt x="99" y="86"/>
                    <a:pt x="94" y="87"/>
                  </a:cubicBezTo>
                  <a:cubicBezTo>
                    <a:pt x="90" y="89"/>
                    <a:pt x="91" y="92"/>
                    <a:pt x="90" y="93"/>
                  </a:cubicBezTo>
                  <a:cubicBezTo>
                    <a:pt x="86" y="95"/>
                    <a:pt x="90" y="98"/>
                    <a:pt x="86" y="98"/>
                  </a:cubicBezTo>
                  <a:cubicBezTo>
                    <a:pt x="81" y="98"/>
                    <a:pt x="79" y="101"/>
                    <a:pt x="77" y="98"/>
                  </a:cubicBezTo>
                  <a:cubicBezTo>
                    <a:pt x="74" y="93"/>
                    <a:pt x="74" y="100"/>
                    <a:pt x="71" y="103"/>
                  </a:cubicBezTo>
                  <a:cubicBezTo>
                    <a:pt x="68" y="106"/>
                    <a:pt x="65" y="110"/>
                    <a:pt x="71" y="110"/>
                  </a:cubicBezTo>
                  <a:cubicBezTo>
                    <a:pt x="77" y="112"/>
                    <a:pt x="70" y="120"/>
                    <a:pt x="76" y="120"/>
                  </a:cubicBezTo>
                  <a:cubicBezTo>
                    <a:pt x="81" y="121"/>
                    <a:pt x="74" y="121"/>
                    <a:pt x="81" y="129"/>
                  </a:cubicBezTo>
                  <a:cubicBezTo>
                    <a:pt x="82" y="131"/>
                    <a:pt x="79" y="132"/>
                    <a:pt x="81" y="134"/>
                  </a:cubicBezTo>
                  <a:cubicBezTo>
                    <a:pt x="82" y="134"/>
                    <a:pt x="77" y="137"/>
                    <a:pt x="77" y="135"/>
                  </a:cubicBezTo>
                  <a:cubicBezTo>
                    <a:pt x="76" y="132"/>
                    <a:pt x="74" y="134"/>
                    <a:pt x="73" y="135"/>
                  </a:cubicBezTo>
                  <a:cubicBezTo>
                    <a:pt x="71" y="139"/>
                    <a:pt x="71" y="134"/>
                    <a:pt x="67" y="135"/>
                  </a:cubicBezTo>
                  <a:cubicBezTo>
                    <a:pt x="65" y="135"/>
                    <a:pt x="62" y="134"/>
                    <a:pt x="62" y="137"/>
                  </a:cubicBezTo>
                  <a:cubicBezTo>
                    <a:pt x="64" y="140"/>
                    <a:pt x="58" y="137"/>
                    <a:pt x="58" y="142"/>
                  </a:cubicBezTo>
                  <a:cubicBezTo>
                    <a:pt x="55" y="139"/>
                    <a:pt x="55" y="142"/>
                    <a:pt x="53" y="140"/>
                  </a:cubicBezTo>
                  <a:cubicBezTo>
                    <a:pt x="52" y="139"/>
                    <a:pt x="53" y="139"/>
                    <a:pt x="52" y="137"/>
                  </a:cubicBezTo>
                  <a:cubicBezTo>
                    <a:pt x="50" y="135"/>
                    <a:pt x="52" y="135"/>
                    <a:pt x="50" y="134"/>
                  </a:cubicBezTo>
                  <a:cubicBezTo>
                    <a:pt x="48" y="132"/>
                    <a:pt x="52" y="129"/>
                    <a:pt x="48" y="129"/>
                  </a:cubicBezTo>
                  <a:cubicBezTo>
                    <a:pt x="44" y="129"/>
                    <a:pt x="47" y="128"/>
                    <a:pt x="45" y="124"/>
                  </a:cubicBezTo>
                  <a:cubicBezTo>
                    <a:pt x="45" y="123"/>
                    <a:pt x="32" y="124"/>
                    <a:pt x="30" y="124"/>
                  </a:cubicBezTo>
                  <a:cubicBezTo>
                    <a:pt x="30" y="128"/>
                    <a:pt x="30" y="126"/>
                    <a:pt x="24" y="124"/>
                  </a:cubicBezTo>
                  <a:cubicBezTo>
                    <a:pt x="18" y="123"/>
                    <a:pt x="23" y="128"/>
                    <a:pt x="18" y="126"/>
                  </a:cubicBezTo>
                  <a:cubicBezTo>
                    <a:pt x="12" y="123"/>
                    <a:pt x="13" y="128"/>
                    <a:pt x="12" y="126"/>
                  </a:cubicBezTo>
                  <a:cubicBezTo>
                    <a:pt x="10" y="124"/>
                    <a:pt x="7" y="131"/>
                    <a:pt x="6" y="126"/>
                  </a:cubicBezTo>
                  <a:cubicBezTo>
                    <a:pt x="6" y="123"/>
                    <a:pt x="6" y="120"/>
                    <a:pt x="7" y="117"/>
                  </a:cubicBezTo>
                  <a:cubicBezTo>
                    <a:pt x="9" y="114"/>
                    <a:pt x="12" y="115"/>
                    <a:pt x="12" y="112"/>
                  </a:cubicBezTo>
                  <a:cubicBezTo>
                    <a:pt x="12" y="110"/>
                    <a:pt x="18" y="112"/>
                    <a:pt x="18" y="110"/>
                  </a:cubicBezTo>
                  <a:cubicBezTo>
                    <a:pt x="18" y="107"/>
                    <a:pt x="20" y="106"/>
                    <a:pt x="20" y="104"/>
                  </a:cubicBezTo>
                  <a:cubicBezTo>
                    <a:pt x="18" y="104"/>
                    <a:pt x="13" y="106"/>
                    <a:pt x="15" y="103"/>
                  </a:cubicBezTo>
                  <a:cubicBezTo>
                    <a:pt x="17" y="101"/>
                    <a:pt x="15" y="98"/>
                    <a:pt x="15" y="95"/>
                  </a:cubicBezTo>
                  <a:cubicBezTo>
                    <a:pt x="15" y="92"/>
                    <a:pt x="15" y="97"/>
                    <a:pt x="13" y="93"/>
                  </a:cubicBezTo>
                  <a:cubicBezTo>
                    <a:pt x="12" y="90"/>
                    <a:pt x="7" y="93"/>
                    <a:pt x="6" y="87"/>
                  </a:cubicBezTo>
                  <a:cubicBezTo>
                    <a:pt x="4" y="82"/>
                    <a:pt x="3" y="81"/>
                    <a:pt x="0" y="78"/>
                  </a:cubicBezTo>
                  <a:cubicBezTo>
                    <a:pt x="4" y="76"/>
                    <a:pt x="10" y="86"/>
                    <a:pt x="26" y="81"/>
                  </a:cubicBezTo>
                  <a:cubicBezTo>
                    <a:pt x="42" y="78"/>
                    <a:pt x="44" y="78"/>
                    <a:pt x="44" y="72"/>
                  </a:cubicBezTo>
                  <a:cubicBezTo>
                    <a:pt x="42" y="64"/>
                    <a:pt x="52" y="62"/>
                    <a:pt x="56" y="59"/>
                  </a:cubicBezTo>
                  <a:cubicBezTo>
                    <a:pt x="61" y="54"/>
                    <a:pt x="64" y="61"/>
                    <a:pt x="65" y="58"/>
                  </a:cubicBezTo>
                  <a:cubicBezTo>
                    <a:pt x="67" y="56"/>
                    <a:pt x="65" y="54"/>
                    <a:pt x="67" y="48"/>
                  </a:cubicBezTo>
                  <a:cubicBezTo>
                    <a:pt x="70" y="40"/>
                    <a:pt x="77" y="45"/>
                    <a:pt x="73" y="37"/>
                  </a:cubicBezTo>
                  <a:cubicBezTo>
                    <a:pt x="67" y="28"/>
                    <a:pt x="82" y="39"/>
                    <a:pt x="82" y="30"/>
                  </a:cubicBezTo>
                  <a:cubicBezTo>
                    <a:pt x="82" y="25"/>
                    <a:pt x="86" y="23"/>
                    <a:pt x="83" y="17"/>
                  </a:cubicBezTo>
                  <a:cubicBezTo>
                    <a:pt x="81" y="11"/>
                    <a:pt x="82" y="8"/>
                    <a:pt x="93" y="5"/>
                  </a:cubicBezTo>
                  <a:cubicBezTo>
                    <a:pt x="102" y="0"/>
                    <a:pt x="105" y="6"/>
                    <a:pt x="108" y="0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32" name="Freeform 47">
              <a:extLst>
                <a:ext uri="{FF2B5EF4-FFF2-40B4-BE49-F238E27FC236}">
                  <a16:creationId xmlns:a16="http://schemas.microsoft.com/office/drawing/2014/main" id="{419E554F-23AD-58B0-BC08-6599D9C67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20367" y="3484667"/>
              <a:ext cx="477214" cy="491666"/>
            </a:xfrm>
            <a:custGeom>
              <a:avLst/>
              <a:gdLst/>
              <a:ahLst/>
              <a:cxnLst>
                <a:cxn ang="0">
                  <a:pos x="50" y="29"/>
                </a:cxn>
                <a:cxn ang="0">
                  <a:pos x="79" y="33"/>
                </a:cxn>
                <a:cxn ang="0">
                  <a:pos x="79" y="28"/>
                </a:cxn>
                <a:cxn ang="0">
                  <a:pos x="99" y="20"/>
                </a:cxn>
                <a:cxn ang="0">
                  <a:pos x="106" y="20"/>
                </a:cxn>
                <a:cxn ang="0">
                  <a:pos x="118" y="25"/>
                </a:cxn>
                <a:cxn ang="0">
                  <a:pos x="131" y="36"/>
                </a:cxn>
                <a:cxn ang="0">
                  <a:pos x="137" y="40"/>
                </a:cxn>
                <a:cxn ang="0">
                  <a:pos x="137" y="48"/>
                </a:cxn>
                <a:cxn ang="0">
                  <a:pos x="134" y="88"/>
                </a:cxn>
                <a:cxn ang="0">
                  <a:pos x="134" y="108"/>
                </a:cxn>
                <a:cxn ang="0">
                  <a:pos x="147" y="124"/>
                </a:cxn>
                <a:cxn ang="0">
                  <a:pos x="149" y="133"/>
                </a:cxn>
                <a:cxn ang="0">
                  <a:pos x="152" y="141"/>
                </a:cxn>
                <a:cxn ang="0">
                  <a:pos x="141" y="147"/>
                </a:cxn>
                <a:cxn ang="0">
                  <a:pos x="137" y="157"/>
                </a:cxn>
                <a:cxn ang="0">
                  <a:pos x="131" y="155"/>
                </a:cxn>
                <a:cxn ang="0">
                  <a:pos x="115" y="152"/>
                </a:cxn>
                <a:cxn ang="0">
                  <a:pos x="105" y="149"/>
                </a:cxn>
                <a:cxn ang="0">
                  <a:pos x="94" y="138"/>
                </a:cxn>
                <a:cxn ang="0">
                  <a:pos x="83" y="143"/>
                </a:cxn>
                <a:cxn ang="0">
                  <a:pos x="68" y="133"/>
                </a:cxn>
                <a:cxn ang="0">
                  <a:pos x="55" y="119"/>
                </a:cxn>
                <a:cxn ang="0">
                  <a:pos x="45" y="105"/>
                </a:cxn>
                <a:cxn ang="0">
                  <a:pos x="36" y="107"/>
                </a:cxn>
                <a:cxn ang="0">
                  <a:pos x="30" y="96"/>
                </a:cxn>
                <a:cxn ang="0">
                  <a:pos x="18" y="73"/>
                </a:cxn>
                <a:cxn ang="0">
                  <a:pos x="17" y="50"/>
                </a:cxn>
                <a:cxn ang="0">
                  <a:pos x="11" y="42"/>
                </a:cxn>
                <a:cxn ang="0">
                  <a:pos x="4" y="25"/>
                </a:cxn>
                <a:cxn ang="0">
                  <a:pos x="4" y="19"/>
                </a:cxn>
                <a:cxn ang="0">
                  <a:pos x="3" y="12"/>
                </a:cxn>
                <a:cxn ang="0">
                  <a:pos x="1" y="9"/>
                </a:cxn>
                <a:cxn ang="0">
                  <a:pos x="3" y="6"/>
                </a:cxn>
                <a:cxn ang="0">
                  <a:pos x="6" y="3"/>
                </a:cxn>
                <a:cxn ang="0">
                  <a:pos x="18" y="12"/>
                </a:cxn>
                <a:cxn ang="0">
                  <a:pos x="20" y="12"/>
                </a:cxn>
                <a:cxn ang="0">
                  <a:pos x="23" y="9"/>
                </a:cxn>
                <a:cxn ang="0">
                  <a:pos x="27" y="6"/>
                </a:cxn>
                <a:cxn ang="0">
                  <a:pos x="35" y="6"/>
                </a:cxn>
                <a:cxn ang="0">
                  <a:pos x="35" y="9"/>
                </a:cxn>
                <a:cxn ang="0">
                  <a:pos x="32" y="12"/>
                </a:cxn>
                <a:cxn ang="0">
                  <a:pos x="35" y="15"/>
                </a:cxn>
                <a:cxn ang="0">
                  <a:pos x="39" y="17"/>
                </a:cxn>
              </a:cxnLst>
              <a:rect l="0" t="0" r="r" b="b"/>
              <a:pathLst>
                <a:path w="153" h="158">
                  <a:moveTo>
                    <a:pt x="39" y="17"/>
                  </a:moveTo>
                  <a:cubicBezTo>
                    <a:pt x="39" y="33"/>
                    <a:pt x="47" y="23"/>
                    <a:pt x="50" y="29"/>
                  </a:cubicBezTo>
                  <a:cubicBezTo>
                    <a:pt x="52" y="34"/>
                    <a:pt x="62" y="37"/>
                    <a:pt x="64" y="37"/>
                  </a:cubicBezTo>
                  <a:cubicBezTo>
                    <a:pt x="67" y="36"/>
                    <a:pt x="77" y="33"/>
                    <a:pt x="79" y="33"/>
                  </a:cubicBezTo>
                  <a:cubicBezTo>
                    <a:pt x="79" y="34"/>
                    <a:pt x="74" y="34"/>
                    <a:pt x="79" y="34"/>
                  </a:cubicBezTo>
                  <a:cubicBezTo>
                    <a:pt x="82" y="34"/>
                    <a:pt x="79" y="31"/>
                    <a:pt x="79" y="28"/>
                  </a:cubicBezTo>
                  <a:cubicBezTo>
                    <a:pt x="90" y="28"/>
                    <a:pt x="82" y="25"/>
                    <a:pt x="90" y="22"/>
                  </a:cubicBezTo>
                  <a:cubicBezTo>
                    <a:pt x="94" y="19"/>
                    <a:pt x="97" y="23"/>
                    <a:pt x="99" y="20"/>
                  </a:cubicBezTo>
                  <a:cubicBezTo>
                    <a:pt x="99" y="19"/>
                    <a:pt x="102" y="17"/>
                    <a:pt x="103" y="19"/>
                  </a:cubicBezTo>
                  <a:cubicBezTo>
                    <a:pt x="103" y="20"/>
                    <a:pt x="105" y="17"/>
                    <a:pt x="106" y="20"/>
                  </a:cubicBezTo>
                  <a:cubicBezTo>
                    <a:pt x="106" y="23"/>
                    <a:pt x="112" y="22"/>
                    <a:pt x="112" y="25"/>
                  </a:cubicBezTo>
                  <a:cubicBezTo>
                    <a:pt x="114" y="26"/>
                    <a:pt x="114" y="23"/>
                    <a:pt x="118" y="25"/>
                  </a:cubicBezTo>
                  <a:cubicBezTo>
                    <a:pt x="124" y="26"/>
                    <a:pt x="120" y="29"/>
                    <a:pt x="124" y="31"/>
                  </a:cubicBezTo>
                  <a:cubicBezTo>
                    <a:pt x="129" y="33"/>
                    <a:pt x="127" y="36"/>
                    <a:pt x="131" y="36"/>
                  </a:cubicBezTo>
                  <a:cubicBezTo>
                    <a:pt x="134" y="36"/>
                    <a:pt x="135" y="36"/>
                    <a:pt x="137" y="37"/>
                  </a:cubicBezTo>
                  <a:cubicBezTo>
                    <a:pt x="137" y="39"/>
                    <a:pt x="135" y="37"/>
                    <a:pt x="137" y="40"/>
                  </a:cubicBezTo>
                  <a:cubicBezTo>
                    <a:pt x="137" y="42"/>
                    <a:pt x="135" y="43"/>
                    <a:pt x="137" y="43"/>
                  </a:cubicBezTo>
                  <a:cubicBezTo>
                    <a:pt x="138" y="45"/>
                    <a:pt x="137" y="46"/>
                    <a:pt x="137" y="48"/>
                  </a:cubicBezTo>
                  <a:cubicBezTo>
                    <a:pt x="135" y="62"/>
                    <a:pt x="131" y="57"/>
                    <a:pt x="131" y="65"/>
                  </a:cubicBezTo>
                  <a:cubicBezTo>
                    <a:pt x="132" y="73"/>
                    <a:pt x="134" y="81"/>
                    <a:pt x="134" y="88"/>
                  </a:cubicBezTo>
                  <a:cubicBezTo>
                    <a:pt x="132" y="96"/>
                    <a:pt x="141" y="88"/>
                    <a:pt x="141" y="95"/>
                  </a:cubicBezTo>
                  <a:cubicBezTo>
                    <a:pt x="143" y="101"/>
                    <a:pt x="134" y="104"/>
                    <a:pt x="134" y="108"/>
                  </a:cubicBezTo>
                  <a:cubicBezTo>
                    <a:pt x="137" y="112"/>
                    <a:pt x="138" y="113"/>
                    <a:pt x="140" y="118"/>
                  </a:cubicBezTo>
                  <a:cubicBezTo>
                    <a:pt x="141" y="124"/>
                    <a:pt x="146" y="121"/>
                    <a:pt x="147" y="124"/>
                  </a:cubicBezTo>
                  <a:cubicBezTo>
                    <a:pt x="149" y="127"/>
                    <a:pt x="149" y="122"/>
                    <a:pt x="149" y="126"/>
                  </a:cubicBezTo>
                  <a:cubicBezTo>
                    <a:pt x="149" y="129"/>
                    <a:pt x="150" y="132"/>
                    <a:pt x="149" y="133"/>
                  </a:cubicBezTo>
                  <a:cubicBezTo>
                    <a:pt x="147" y="136"/>
                    <a:pt x="152" y="135"/>
                    <a:pt x="153" y="135"/>
                  </a:cubicBezTo>
                  <a:cubicBezTo>
                    <a:pt x="153" y="136"/>
                    <a:pt x="152" y="138"/>
                    <a:pt x="152" y="141"/>
                  </a:cubicBezTo>
                  <a:cubicBezTo>
                    <a:pt x="152" y="143"/>
                    <a:pt x="146" y="141"/>
                    <a:pt x="146" y="143"/>
                  </a:cubicBezTo>
                  <a:cubicBezTo>
                    <a:pt x="146" y="146"/>
                    <a:pt x="143" y="144"/>
                    <a:pt x="141" y="147"/>
                  </a:cubicBezTo>
                  <a:cubicBezTo>
                    <a:pt x="140" y="150"/>
                    <a:pt x="140" y="153"/>
                    <a:pt x="140" y="157"/>
                  </a:cubicBezTo>
                  <a:cubicBezTo>
                    <a:pt x="138" y="155"/>
                    <a:pt x="140" y="158"/>
                    <a:pt x="137" y="157"/>
                  </a:cubicBezTo>
                  <a:cubicBezTo>
                    <a:pt x="134" y="155"/>
                    <a:pt x="132" y="157"/>
                    <a:pt x="132" y="155"/>
                  </a:cubicBezTo>
                  <a:cubicBezTo>
                    <a:pt x="131" y="153"/>
                    <a:pt x="131" y="153"/>
                    <a:pt x="131" y="155"/>
                  </a:cubicBezTo>
                  <a:cubicBezTo>
                    <a:pt x="131" y="157"/>
                    <a:pt x="123" y="153"/>
                    <a:pt x="121" y="153"/>
                  </a:cubicBezTo>
                  <a:cubicBezTo>
                    <a:pt x="118" y="155"/>
                    <a:pt x="120" y="153"/>
                    <a:pt x="115" y="152"/>
                  </a:cubicBezTo>
                  <a:cubicBezTo>
                    <a:pt x="112" y="152"/>
                    <a:pt x="114" y="153"/>
                    <a:pt x="111" y="152"/>
                  </a:cubicBezTo>
                  <a:cubicBezTo>
                    <a:pt x="109" y="150"/>
                    <a:pt x="106" y="152"/>
                    <a:pt x="105" y="149"/>
                  </a:cubicBezTo>
                  <a:cubicBezTo>
                    <a:pt x="105" y="147"/>
                    <a:pt x="105" y="138"/>
                    <a:pt x="100" y="136"/>
                  </a:cubicBezTo>
                  <a:cubicBezTo>
                    <a:pt x="96" y="135"/>
                    <a:pt x="96" y="138"/>
                    <a:pt x="94" y="138"/>
                  </a:cubicBezTo>
                  <a:cubicBezTo>
                    <a:pt x="91" y="138"/>
                    <a:pt x="93" y="139"/>
                    <a:pt x="91" y="139"/>
                  </a:cubicBezTo>
                  <a:cubicBezTo>
                    <a:pt x="88" y="139"/>
                    <a:pt x="86" y="144"/>
                    <a:pt x="83" y="143"/>
                  </a:cubicBezTo>
                  <a:cubicBezTo>
                    <a:pt x="80" y="139"/>
                    <a:pt x="79" y="143"/>
                    <a:pt x="74" y="138"/>
                  </a:cubicBezTo>
                  <a:cubicBezTo>
                    <a:pt x="73" y="136"/>
                    <a:pt x="68" y="135"/>
                    <a:pt x="68" y="133"/>
                  </a:cubicBezTo>
                  <a:cubicBezTo>
                    <a:pt x="70" y="130"/>
                    <a:pt x="61" y="130"/>
                    <a:pt x="58" y="127"/>
                  </a:cubicBezTo>
                  <a:cubicBezTo>
                    <a:pt x="55" y="122"/>
                    <a:pt x="58" y="122"/>
                    <a:pt x="55" y="119"/>
                  </a:cubicBezTo>
                  <a:cubicBezTo>
                    <a:pt x="53" y="116"/>
                    <a:pt x="55" y="113"/>
                    <a:pt x="52" y="110"/>
                  </a:cubicBezTo>
                  <a:cubicBezTo>
                    <a:pt x="47" y="107"/>
                    <a:pt x="50" y="102"/>
                    <a:pt x="45" y="105"/>
                  </a:cubicBezTo>
                  <a:cubicBezTo>
                    <a:pt x="42" y="108"/>
                    <a:pt x="39" y="101"/>
                    <a:pt x="39" y="104"/>
                  </a:cubicBezTo>
                  <a:cubicBezTo>
                    <a:pt x="39" y="107"/>
                    <a:pt x="38" y="105"/>
                    <a:pt x="36" y="107"/>
                  </a:cubicBezTo>
                  <a:cubicBezTo>
                    <a:pt x="36" y="104"/>
                    <a:pt x="35" y="104"/>
                    <a:pt x="33" y="102"/>
                  </a:cubicBezTo>
                  <a:cubicBezTo>
                    <a:pt x="32" y="102"/>
                    <a:pt x="32" y="99"/>
                    <a:pt x="30" y="96"/>
                  </a:cubicBezTo>
                  <a:cubicBezTo>
                    <a:pt x="29" y="93"/>
                    <a:pt x="32" y="90"/>
                    <a:pt x="29" y="84"/>
                  </a:cubicBezTo>
                  <a:cubicBezTo>
                    <a:pt x="26" y="79"/>
                    <a:pt x="18" y="77"/>
                    <a:pt x="18" y="73"/>
                  </a:cubicBezTo>
                  <a:cubicBezTo>
                    <a:pt x="17" y="67"/>
                    <a:pt x="11" y="68"/>
                    <a:pt x="12" y="62"/>
                  </a:cubicBezTo>
                  <a:cubicBezTo>
                    <a:pt x="12" y="56"/>
                    <a:pt x="20" y="54"/>
                    <a:pt x="17" y="50"/>
                  </a:cubicBezTo>
                  <a:cubicBezTo>
                    <a:pt x="15" y="45"/>
                    <a:pt x="20" y="46"/>
                    <a:pt x="20" y="45"/>
                  </a:cubicBezTo>
                  <a:cubicBezTo>
                    <a:pt x="18" y="43"/>
                    <a:pt x="11" y="45"/>
                    <a:pt x="11" y="42"/>
                  </a:cubicBezTo>
                  <a:cubicBezTo>
                    <a:pt x="11" y="39"/>
                    <a:pt x="8" y="36"/>
                    <a:pt x="6" y="31"/>
                  </a:cubicBezTo>
                  <a:cubicBezTo>
                    <a:pt x="6" y="28"/>
                    <a:pt x="4" y="28"/>
                    <a:pt x="4" y="25"/>
                  </a:cubicBezTo>
                  <a:cubicBezTo>
                    <a:pt x="6" y="23"/>
                    <a:pt x="1" y="23"/>
                    <a:pt x="1" y="22"/>
                  </a:cubicBezTo>
                  <a:cubicBezTo>
                    <a:pt x="1" y="20"/>
                    <a:pt x="4" y="20"/>
                    <a:pt x="4" y="19"/>
                  </a:cubicBezTo>
                  <a:cubicBezTo>
                    <a:pt x="4" y="17"/>
                    <a:pt x="3" y="17"/>
                    <a:pt x="3" y="17"/>
                  </a:cubicBezTo>
                  <a:cubicBezTo>
                    <a:pt x="3" y="15"/>
                    <a:pt x="3" y="14"/>
                    <a:pt x="3" y="12"/>
                  </a:cubicBezTo>
                  <a:cubicBezTo>
                    <a:pt x="3" y="11"/>
                    <a:pt x="1" y="11"/>
                    <a:pt x="1" y="11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8"/>
                    <a:pt x="0" y="8"/>
                    <a:pt x="0" y="6"/>
                  </a:cubicBezTo>
                  <a:cubicBezTo>
                    <a:pt x="0" y="5"/>
                    <a:pt x="3" y="6"/>
                    <a:pt x="3" y="6"/>
                  </a:cubicBezTo>
                  <a:cubicBezTo>
                    <a:pt x="4" y="5"/>
                    <a:pt x="3" y="0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9" y="6"/>
                    <a:pt x="11" y="11"/>
                    <a:pt x="15" y="12"/>
                  </a:cubicBezTo>
                  <a:cubicBezTo>
                    <a:pt x="17" y="12"/>
                    <a:pt x="17" y="12"/>
                    <a:pt x="18" y="12"/>
                  </a:cubicBezTo>
                  <a:cubicBezTo>
                    <a:pt x="18" y="12"/>
                    <a:pt x="18" y="11"/>
                    <a:pt x="20" y="11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21" y="12"/>
                    <a:pt x="21" y="12"/>
                    <a:pt x="21" y="11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4" y="8"/>
                    <a:pt x="26" y="6"/>
                    <a:pt x="27" y="6"/>
                  </a:cubicBezTo>
                  <a:cubicBezTo>
                    <a:pt x="27" y="5"/>
                    <a:pt x="30" y="2"/>
                    <a:pt x="32" y="3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6"/>
                    <a:pt x="33" y="6"/>
                    <a:pt x="33" y="8"/>
                  </a:cubicBezTo>
                  <a:cubicBezTo>
                    <a:pt x="33" y="9"/>
                    <a:pt x="35" y="9"/>
                    <a:pt x="35" y="9"/>
                  </a:cubicBezTo>
                  <a:cubicBezTo>
                    <a:pt x="35" y="11"/>
                    <a:pt x="32" y="11"/>
                    <a:pt x="32" y="11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3" y="12"/>
                    <a:pt x="33" y="12"/>
                    <a:pt x="33" y="14"/>
                  </a:cubicBezTo>
                  <a:cubicBezTo>
                    <a:pt x="33" y="14"/>
                    <a:pt x="33" y="15"/>
                    <a:pt x="35" y="15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36" y="15"/>
                    <a:pt x="35" y="19"/>
                    <a:pt x="39" y="17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33" name="Freeform 48">
              <a:extLst>
                <a:ext uri="{FF2B5EF4-FFF2-40B4-BE49-F238E27FC236}">
                  <a16:creationId xmlns:a16="http://schemas.microsoft.com/office/drawing/2014/main" id="{C1A5D2BE-15BD-8A13-3622-9AFF66DAD1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78501" y="3401115"/>
              <a:ext cx="461146" cy="223339"/>
            </a:xfrm>
            <a:custGeom>
              <a:avLst/>
              <a:gdLst/>
              <a:ahLst/>
              <a:cxnLst>
                <a:cxn ang="0">
                  <a:pos x="139" y="14"/>
                </a:cxn>
                <a:cxn ang="0">
                  <a:pos x="140" y="19"/>
                </a:cxn>
                <a:cxn ang="0">
                  <a:pos x="140" y="24"/>
                </a:cxn>
                <a:cxn ang="0">
                  <a:pos x="146" y="27"/>
                </a:cxn>
                <a:cxn ang="0">
                  <a:pos x="148" y="30"/>
                </a:cxn>
                <a:cxn ang="0">
                  <a:pos x="142" y="33"/>
                </a:cxn>
                <a:cxn ang="0">
                  <a:pos x="143" y="38"/>
                </a:cxn>
                <a:cxn ang="0">
                  <a:pos x="145" y="44"/>
                </a:cxn>
                <a:cxn ang="0">
                  <a:pos x="143" y="49"/>
                </a:cxn>
                <a:cxn ang="0">
                  <a:pos x="148" y="58"/>
                </a:cxn>
                <a:cxn ang="0">
                  <a:pos x="145" y="60"/>
                </a:cxn>
                <a:cxn ang="0">
                  <a:pos x="139" y="56"/>
                </a:cxn>
                <a:cxn ang="0">
                  <a:pos x="134" y="55"/>
                </a:cxn>
                <a:cxn ang="0">
                  <a:pos x="133" y="55"/>
                </a:cxn>
                <a:cxn ang="0">
                  <a:pos x="133" y="55"/>
                </a:cxn>
                <a:cxn ang="0">
                  <a:pos x="130" y="56"/>
                </a:cxn>
                <a:cxn ang="0">
                  <a:pos x="124" y="58"/>
                </a:cxn>
                <a:cxn ang="0">
                  <a:pos x="104" y="63"/>
                </a:cxn>
                <a:cxn ang="0">
                  <a:pos x="90" y="63"/>
                </a:cxn>
                <a:cxn ang="0">
                  <a:pos x="84" y="61"/>
                </a:cxn>
                <a:cxn ang="0">
                  <a:pos x="84" y="67"/>
                </a:cxn>
                <a:cxn ang="0">
                  <a:pos x="79" y="72"/>
                </a:cxn>
                <a:cxn ang="0">
                  <a:pos x="78" y="67"/>
                </a:cxn>
                <a:cxn ang="0">
                  <a:pos x="75" y="63"/>
                </a:cxn>
                <a:cxn ang="0">
                  <a:pos x="55" y="70"/>
                </a:cxn>
                <a:cxn ang="0">
                  <a:pos x="35" y="67"/>
                </a:cxn>
                <a:cxn ang="0">
                  <a:pos x="24" y="64"/>
                </a:cxn>
                <a:cxn ang="0">
                  <a:pos x="15" y="63"/>
                </a:cxn>
                <a:cxn ang="0">
                  <a:pos x="15" y="60"/>
                </a:cxn>
                <a:cxn ang="0">
                  <a:pos x="11" y="56"/>
                </a:cxn>
                <a:cxn ang="0">
                  <a:pos x="9" y="50"/>
                </a:cxn>
                <a:cxn ang="0">
                  <a:pos x="3" y="46"/>
                </a:cxn>
                <a:cxn ang="0">
                  <a:pos x="6" y="42"/>
                </a:cxn>
                <a:cxn ang="0">
                  <a:pos x="5" y="35"/>
                </a:cxn>
                <a:cxn ang="0">
                  <a:pos x="0" y="28"/>
                </a:cxn>
                <a:cxn ang="0">
                  <a:pos x="11" y="22"/>
                </a:cxn>
                <a:cxn ang="0">
                  <a:pos x="15" y="21"/>
                </a:cxn>
                <a:cxn ang="0">
                  <a:pos x="26" y="19"/>
                </a:cxn>
                <a:cxn ang="0">
                  <a:pos x="24" y="14"/>
                </a:cxn>
                <a:cxn ang="0">
                  <a:pos x="37" y="13"/>
                </a:cxn>
                <a:cxn ang="0">
                  <a:pos x="55" y="5"/>
                </a:cxn>
                <a:cxn ang="0">
                  <a:pos x="76" y="7"/>
                </a:cxn>
                <a:cxn ang="0">
                  <a:pos x="89" y="14"/>
                </a:cxn>
                <a:cxn ang="0">
                  <a:pos x="108" y="14"/>
                </a:cxn>
                <a:cxn ang="0">
                  <a:pos x="127" y="10"/>
                </a:cxn>
                <a:cxn ang="0">
                  <a:pos x="131" y="8"/>
                </a:cxn>
                <a:cxn ang="0">
                  <a:pos x="136" y="11"/>
                </a:cxn>
                <a:cxn ang="0">
                  <a:pos x="139" y="13"/>
                </a:cxn>
              </a:cxnLst>
              <a:rect l="0" t="0" r="r" b="b"/>
              <a:pathLst>
                <a:path w="148" h="72">
                  <a:moveTo>
                    <a:pt x="139" y="14"/>
                  </a:moveTo>
                  <a:cubicBezTo>
                    <a:pt x="139" y="14"/>
                    <a:pt x="139" y="14"/>
                    <a:pt x="139" y="14"/>
                  </a:cubicBezTo>
                  <a:cubicBezTo>
                    <a:pt x="139" y="14"/>
                    <a:pt x="137" y="14"/>
                    <a:pt x="139" y="14"/>
                  </a:cubicBezTo>
                  <a:cubicBezTo>
                    <a:pt x="139" y="16"/>
                    <a:pt x="140" y="18"/>
                    <a:pt x="140" y="19"/>
                  </a:cubicBezTo>
                  <a:cubicBezTo>
                    <a:pt x="140" y="21"/>
                    <a:pt x="139" y="21"/>
                    <a:pt x="139" y="22"/>
                  </a:cubicBezTo>
                  <a:cubicBezTo>
                    <a:pt x="139" y="24"/>
                    <a:pt x="140" y="24"/>
                    <a:pt x="140" y="24"/>
                  </a:cubicBezTo>
                  <a:cubicBezTo>
                    <a:pt x="140" y="25"/>
                    <a:pt x="139" y="25"/>
                    <a:pt x="139" y="25"/>
                  </a:cubicBezTo>
                  <a:cubicBezTo>
                    <a:pt x="142" y="27"/>
                    <a:pt x="145" y="25"/>
                    <a:pt x="146" y="27"/>
                  </a:cubicBezTo>
                  <a:cubicBezTo>
                    <a:pt x="148" y="28"/>
                    <a:pt x="148" y="28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5" y="27"/>
                    <a:pt x="146" y="32"/>
                    <a:pt x="145" y="33"/>
                  </a:cubicBezTo>
                  <a:cubicBezTo>
                    <a:pt x="145" y="33"/>
                    <a:pt x="142" y="32"/>
                    <a:pt x="142" y="33"/>
                  </a:cubicBezTo>
                  <a:cubicBezTo>
                    <a:pt x="142" y="35"/>
                    <a:pt x="143" y="35"/>
                    <a:pt x="143" y="36"/>
                  </a:cubicBezTo>
                  <a:cubicBezTo>
                    <a:pt x="143" y="38"/>
                    <a:pt x="143" y="38"/>
                    <a:pt x="143" y="38"/>
                  </a:cubicBezTo>
                  <a:cubicBezTo>
                    <a:pt x="143" y="38"/>
                    <a:pt x="145" y="38"/>
                    <a:pt x="145" y="39"/>
                  </a:cubicBezTo>
                  <a:cubicBezTo>
                    <a:pt x="145" y="41"/>
                    <a:pt x="145" y="42"/>
                    <a:pt x="145" y="44"/>
                  </a:cubicBezTo>
                  <a:cubicBezTo>
                    <a:pt x="145" y="44"/>
                    <a:pt x="146" y="44"/>
                    <a:pt x="146" y="46"/>
                  </a:cubicBezTo>
                  <a:cubicBezTo>
                    <a:pt x="146" y="47"/>
                    <a:pt x="143" y="47"/>
                    <a:pt x="143" y="49"/>
                  </a:cubicBezTo>
                  <a:cubicBezTo>
                    <a:pt x="143" y="50"/>
                    <a:pt x="148" y="50"/>
                    <a:pt x="146" y="52"/>
                  </a:cubicBezTo>
                  <a:cubicBezTo>
                    <a:pt x="146" y="55"/>
                    <a:pt x="148" y="55"/>
                    <a:pt x="148" y="58"/>
                  </a:cubicBezTo>
                  <a:cubicBezTo>
                    <a:pt x="148" y="58"/>
                    <a:pt x="148" y="58"/>
                    <a:pt x="146" y="58"/>
                  </a:cubicBezTo>
                  <a:cubicBezTo>
                    <a:pt x="145" y="60"/>
                    <a:pt x="145" y="60"/>
                    <a:pt x="145" y="60"/>
                  </a:cubicBezTo>
                  <a:cubicBezTo>
                    <a:pt x="143" y="58"/>
                    <a:pt x="145" y="56"/>
                    <a:pt x="143" y="56"/>
                  </a:cubicBezTo>
                  <a:cubicBezTo>
                    <a:pt x="142" y="55"/>
                    <a:pt x="142" y="58"/>
                    <a:pt x="139" y="56"/>
                  </a:cubicBezTo>
                  <a:cubicBezTo>
                    <a:pt x="137" y="56"/>
                    <a:pt x="137" y="55"/>
                    <a:pt x="136" y="55"/>
                  </a:cubicBezTo>
                  <a:cubicBezTo>
                    <a:pt x="136" y="55"/>
                    <a:pt x="136" y="55"/>
                    <a:pt x="134" y="55"/>
                  </a:cubicBezTo>
                  <a:cubicBezTo>
                    <a:pt x="134" y="56"/>
                    <a:pt x="134" y="56"/>
                    <a:pt x="134" y="56"/>
                  </a:cubicBezTo>
                  <a:cubicBezTo>
                    <a:pt x="134" y="56"/>
                    <a:pt x="134" y="55"/>
                    <a:pt x="133" y="55"/>
                  </a:cubicBezTo>
                  <a:cubicBezTo>
                    <a:pt x="133" y="55"/>
                    <a:pt x="133" y="55"/>
                    <a:pt x="133" y="55"/>
                  </a:cubicBezTo>
                  <a:cubicBezTo>
                    <a:pt x="133" y="55"/>
                    <a:pt x="133" y="55"/>
                    <a:pt x="133" y="55"/>
                  </a:cubicBezTo>
                  <a:cubicBezTo>
                    <a:pt x="131" y="56"/>
                    <a:pt x="131" y="58"/>
                    <a:pt x="130" y="58"/>
                  </a:cubicBezTo>
                  <a:cubicBezTo>
                    <a:pt x="130" y="56"/>
                    <a:pt x="130" y="56"/>
                    <a:pt x="130" y="56"/>
                  </a:cubicBezTo>
                  <a:cubicBezTo>
                    <a:pt x="130" y="56"/>
                    <a:pt x="128" y="55"/>
                    <a:pt x="128" y="56"/>
                  </a:cubicBezTo>
                  <a:cubicBezTo>
                    <a:pt x="127" y="58"/>
                    <a:pt x="125" y="58"/>
                    <a:pt x="124" y="58"/>
                  </a:cubicBezTo>
                  <a:cubicBezTo>
                    <a:pt x="121" y="58"/>
                    <a:pt x="119" y="58"/>
                    <a:pt x="117" y="58"/>
                  </a:cubicBezTo>
                  <a:cubicBezTo>
                    <a:pt x="113" y="60"/>
                    <a:pt x="110" y="63"/>
                    <a:pt x="104" y="63"/>
                  </a:cubicBezTo>
                  <a:cubicBezTo>
                    <a:pt x="101" y="63"/>
                    <a:pt x="101" y="61"/>
                    <a:pt x="98" y="60"/>
                  </a:cubicBezTo>
                  <a:cubicBezTo>
                    <a:pt x="95" y="60"/>
                    <a:pt x="93" y="63"/>
                    <a:pt x="90" y="63"/>
                  </a:cubicBezTo>
                  <a:cubicBezTo>
                    <a:pt x="89" y="63"/>
                    <a:pt x="89" y="63"/>
                    <a:pt x="89" y="63"/>
                  </a:cubicBezTo>
                  <a:cubicBezTo>
                    <a:pt x="87" y="63"/>
                    <a:pt x="84" y="61"/>
                    <a:pt x="84" y="61"/>
                  </a:cubicBezTo>
                  <a:cubicBezTo>
                    <a:pt x="84" y="61"/>
                    <a:pt x="82" y="64"/>
                    <a:pt x="84" y="66"/>
                  </a:cubicBezTo>
                  <a:cubicBezTo>
                    <a:pt x="84" y="67"/>
                    <a:pt x="84" y="67"/>
                    <a:pt x="84" y="67"/>
                  </a:cubicBezTo>
                  <a:cubicBezTo>
                    <a:pt x="82" y="67"/>
                    <a:pt x="82" y="67"/>
                    <a:pt x="82" y="67"/>
                  </a:cubicBezTo>
                  <a:cubicBezTo>
                    <a:pt x="81" y="67"/>
                    <a:pt x="81" y="72"/>
                    <a:pt x="79" y="72"/>
                  </a:cubicBezTo>
                  <a:cubicBezTo>
                    <a:pt x="79" y="72"/>
                    <a:pt x="79" y="70"/>
                    <a:pt x="78" y="70"/>
                  </a:cubicBezTo>
                  <a:cubicBezTo>
                    <a:pt x="79" y="69"/>
                    <a:pt x="78" y="69"/>
                    <a:pt x="78" y="67"/>
                  </a:cubicBezTo>
                  <a:cubicBezTo>
                    <a:pt x="76" y="66"/>
                    <a:pt x="81" y="64"/>
                    <a:pt x="81" y="61"/>
                  </a:cubicBezTo>
                  <a:cubicBezTo>
                    <a:pt x="79" y="60"/>
                    <a:pt x="79" y="60"/>
                    <a:pt x="75" y="63"/>
                  </a:cubicBezTo>
                  <a:cubicBezTo>
                    <a:pt x="72" y="67"/>
                    <a:pt x="72" y="56"/>
                    <a:pt x="64" y="64"/>
                  </a:cubicBezTo>
                  <a:cubicBezTo>
                    <a:pt x="60" y="70"/>
                    <a:pt x="60" y="67"/>
                    <a:pt x="55" y="70"/>
                  </a:cubicBezTo>
                  <a:cubicBezTo>
                    <a:pt x="50" y="72"/>
                    <a:pt x="50" y="64"/>
                    <a:pt x="41" y="61"/>
                  </a:cubicBezTo>
                  <a:cubicBezTo>
                    <a:pt x="32" y="58"/>
                    <a:pt x="37" y="66"/>
                    <a:pt x="35" y="67"/>
                  </a:cubicBezTo>
                  <a:cubicBezTo>
                    <a:pt x="34" y="69"/>
                    <a:pt x="34" y="66"/>
                    <a:pt x="31" y="69"/>
                  </a:cubicBezTo>
                  <a:cubicBezTo>
                    <a:pt x="29" y="70"/>
                    <a:pt x="24" y="67"/>
                    <a:pt x="24" y="64"/>
                  </a:cubicBezTo>
                  <a:cubicBezTo>
                    <a:pt x="23" y="60"/>
                    <a:pt x="23" y="64"/>
                    <a:pt x="20" y="63"/>
                  </a:cubicBezTo>
                  <a:cubicBezTo>
                    <a:pt x="18" y="60"/>
                    <a:pt x="15" y="66"/>
                    <a:pt x="15" y="63"/>
                  </a:cubicBezTo>
                  <a:cubicBezTo>
                    <a:pt x="15" y="61"/>
                    <a:pt x="11" y="64"/>
                    <a:pt x="11" y="63"/>
                  </a:cubicBezTo>
                  <a:cubicBezTo>
                    <a:pt x="9" y="61"/>
                    <a:pt x="14" y="63"/>
                    <a:pt x="15" y="60"/>
                  </a:cubicBezTo>
                  <a:cubicBezTo>
                    <a:pt x="17" y="58"/>
                    <a:pt x="11" y="61"/>
                    <a:pt x="9" y="60"/>
                  </a:cubicBezTo>
                  <a:cubicBezTo>
                    <a:pt x="8" y="56"/>
                    <a:pt x="12" y="60"/>
                    <a:pt x="11" y="56"/>
                  </a:cubicBezTo>
                  <a:cubicBezTo>
                    <a:pt x="11" y="55"/>
                    <a:pt x="9" y="56"/>
                    <a:pt x="9" y="55"/>
                  </a:cubicBezTo>
                  <a:cubicBezTo>
                    <a:pt x="9" y="52"/>
                    <a:pt x="8" y="53"/>
                    <a:pt x="9" y="50"/>
                  </a:cubicBezTo>
                  <a:cubicBezTo>
                    <a:pt x="11" y="47"/>
                    <a:pt x="8" y="49"/>
                    <a:pt x="6" y="47"/>
                  </a:cubicBezTo>
                  <a:cubicBezTo>
                    <a:pt x="5" y="46"/>
                    <a:pt x="5" y="49"/>
                    <a:pt x="3" y="46"/>
                  </a:cubicBezTo>
                  <a:cubicBezTo>
                    <a:pt x="2" y="44"/>
                    <a:pt x="3" y="39"/>
                    <a:pt x="5" y="42"/>
                  </a:cubicBezTo>
                  <a:cubicBezTo>
                    <a:pt x="5" y="47"/>
                    <a:pt x="9" y="44"/>
                    <a:pt x="6" y="42"/>
                  </a:cubicBezTo>
                  <a:cubicBezTo>
                    <a:pt x="3" y="41"/>
                    <a:pt x="9" y="39"/>
                    <a:pt x="6" y="38"/>
                  </a:cubicBezTo>
                  <a:cubicBezTo>
                    <a:pt x="5" y="38"/>
                    <a:pt x="8" y="36"/>
                    <a:pt x="5" y="35"/>
                  </a:cubicBezTo>
                  <a:cubicBezTo>
                    <a:pt x="3" y="33"/>
                    <a:pt x="9" y="30"/>
                    <a:pt x="5" y="32"/>
                  </a:cubicBezTo>
                  <a:cubicBezTo>
                    <a:pt x="0" y="33"/>
                    <a:pt x="0" y="33"/>
                    <a:pt x="0" y="28"/>
                  </a:cubicBezTo>
                  <a:cubicBezTo>
                    <a:pt x="2" y="25"/>
                    <a:pt x="2" y="27"/>
                    <a:pt x="3" y="25"/>
                  </a:cubicBezTo>
                  <a:cubicBezTo>
                    <a:pt x="6" y="21"/>
                    <a:pt x="9" y="21"/>
                    <a:pt x="11" y="22"/>
                  </a:cubicBezTo>
                  <a:cubicBezTo>
                    <a:pt x="11" y="24"/>
                    <a:pt x="14" y="24"/>
                    <a:pt x="12" y="22"/>
                  </a:cubicBezTo>
                  <a:cubicBezTo>
                    <a:pt x="11" y="21"/>
                    <a:pt x="17" y="19"/>
                    <a:pt x="15" y="21"/>
                  </a:cubicBezTo>
                  <a:cubicBezTo>
                    <a:pt x="15" y="22"/>
                    <a:pt x="23" y="22"/>
                    <a:pt x="23" y="22"/>
                  </a:cubicBezTo>
                  <a:cubicBezTo>
                    <a:pt x="24" y="21"/>
                    <a:pt x="17" y="21"/>
                    <a:pt x="26" y="19"/>
                  </a:cubicBezTo>
                  <a:cubicBezTo>
                    <a:pt x="34" y="18"/>
                    <a:pt x="28" y="19"/>
                    <a:pt x="26" y="18"/>
                  </a:cubicBezTo>
                  <a:cubicBezTo>
                    <a:pt x="24" y="16"/>
                    <a:pt x="23" y="16"/>
                    <a:pt x="24" y="14"/>
                  </a:cubicBezTo>
                  <a:cubicBezTo>
                    <a:pt x="24" y="13"/>
                    <a:pt x="24" y="13"/>
                    <a:pt x="29" y="13"/>
                  </a:cubicBezTo>
                  <a:cubicBezTo>
                    <a:pt x="32" y="14"/>
                    <a:pt x="32" y="11"/>
                    <a:pt x="37" y="13"/>
                  </a:cubicBezTo>
                  <a:cubicBezTo>
                    <a:pt x="40" y="14"/>
                    <a:pt x="41" y="14"/>
                    <a:pt x="43" y="13"/>
                  </a:cubicBezTo>
                  <a:cubicBezTo>
                    <a:pt x="43" y="11"/>
                    <a:pt x="46" y="8"/>
                    <a:pt x="55" y="5"/>
                  </a:cubicBezTo>
                  <a:cubicBezTo>
                    <a:pt x="63" y="2"/>
                    <a:pt x="66" y="7"/>
                    <a:pt x="70" y="4"/>
                  </a:cubicBezTo>
                  <a:cubicBezTo>
                    <a:pt x="75" y="0"/>
                    <a:pt x="70" y="10"/>
                    <a:pt x="76" y="7"/>
                  </a:cubicBezTo>
                  <a:cubicBezTo>
                    <a:pt x="82" y="5"/>
                    <a:pt x="79" y="13"/>
                    <a:pt x="84" y="11"/>
                  </a:cubicBezTo>
                  <a:cubicBezTo>
                    <a:pt x="87" y="10"/>
                    <a:pt x="84" y="11"/>
                    <a:pt x="89" y="14"/>
                  </a:cubicBezTo>
                  <a:cubicBezTo>
                    <a:pt x="93" y="16"/>
                    <a:pt x="90" y="11"/>
                    <a:pt x="95" y="14"/>
                  </a:cubicBezTo>
                  <a:cubicBezTo>
                    <a:pt x="98" y="19"/>
                    <a:pt x="104" y="11"/>
                    <a:pt x="108" y="14"/>
                  </a:cubicBezTo>
                  <a:cubicBezTo>
                    <a:pt x="113" y="19"/>
                    <a:pt x="122" y="11"/>
                    <a:pt x="122" y="10"/>
                  </a:cubicBezTo>
                  <a:cubicBezTo>
                    <a:pt x="125" y="11"/>
                    <a:pt x="124" y="10"/>
                    <a:pt x="127" y="10"/>
                  </a:cubicBezTo>
                  <a:cubicBezTo>
                    <a:pt x="127" y="10"/>
                    <a:pt x="130" y="11"/>
                    <a:pt x="130" y="10"/>
                  </a:cubicBezTo>
                  <a:cubicBezTo>
                    <a:pt x="131" y="8"/>
                    <a:pt x="131" y="8"/>
                    <a:pt x="131" y="8"/>
                  </a:cubicBezTo>
                  <a:cubicBezTo>
                    <a:pt x="131" y="8"/>
                    <a:pt x="133" y="8"/>
                    <a:pt x="136" y="11"/>
                  </a:cubicBezTo>
                  <a:cubicBezTo>
                    <a:pt x="136" y="11"/>
                    <a:pt x="136" y="11"/>
                    <a:pt x="136" y="11"/>
                  </a:cubicBezTo>
                  <a:cubicBezTo>
                    <a:pt x="136" y="13"/>
                    <a:pt x="136" y="13"/>
                    <a:pt x="136" y="13"/>
                  </a:cubicBezTo>
                  <a:cubicBezTo>
                    <a:pt x="137" y="14"/>
                    <a:pt x="137" y="13"/>
                    <a:pt x="139" y="13"/>
                  </a:cubicBezTo>
                  <a:cubicBezTo>
                    <a:pt x="139" y="14"/>
                    <a:pt x="139" y="14"/>
                    <a:pt x="139" y="14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34" name="Freeform 49">
              <a:extLst>
                <a:ext uri="{FF2B5EF4-FFF2-40B4-BE49-F238E27FC236}">
                  <a16:creationId xmlns:a16="http://schemas.microsoft.com/office/drawing/2014/main" id="{1DAE5648-C3E0-FFBD-9162-E315ABDF1A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26035" y="3381834"/>
              <a:ext cx="359919" cy="268327"/>
            </a:xfrm>
            <a:custGeom>
              <a:avLst/>
              <a:gdLst/>
              <a:ahLst/>
              <a:cxnLst>
                <a:cxn ang="0">
                  <a:pos x="2" y="16"/>
                </a:cxn>
                <a:cxn ang="0">
                  <a:pos x="5" y="14"/>
                </a:cxn>
                <a:cxn ang="0">
                  <a:pos x="13" y="11"/>
                </a:cxn>
                <a:cxn ang="0">
                  <a:pos x="17" y="24"/>
                </a:cxn>
                <a:cxn ang="0">
                  <a:pos x="11" y="24"/>
                </a:cxn>
                <a:cxn ang="0">
                  <a:pos x="7" y="24"/>
                </a:cxn>
                <a:cxn ang="0">
                  <a:pos x="3" y="30"/>
                </a:cxn>
                <a:cxn ang="0">
                  <a:pos x="7" y="33"/>
                </a:cxn>
                <a:cxn ang="0">
                  <a:pos x="9" y="36"/>
                </a:cxn>
                <a:cxn ang="0">
                  <a:pos x="8" y="36"/>
                </a:cxn>
                <a:cxn ang="0">
                  <a:pos x="8" y="39"/>
                </a:cxn>
                <a:cxn ang="0">
                  <a:pos x="13" y="45"/>
                </a:cxn>
                <a:cxn ang="0">
                  <a:pos x="13" y="61"/>
                </a:cxn>
                <a:cxn ang="0">
                  <a:pos x="32" y="53"/>
                </a:cxn>
                <a:cxn ang="0">
                  <a:pos x="40" y="53"/>
                </a:cxn>
                <a:cxn ang="0">
                  <a:pos x="52" y="58"/>
                </a:cxn>
                <a:cxn ang="0">
                  <a:pos x="64" y="68"/>
                </a:cxn>
                <a:cxn ang="0">
                  <a:pos x="71" y="73"/>
                </a:cxn>
                <a:cxn ang="0">
                  <a:pos x="71" y="81"/>
                </a:cxn>
                <a:cxn ang="0">
                  <a:pos x="81" y="84"/>
                </a:cxn>
                <a:cxn ang="0">
                  <a:pos x="98" y="68"/>
                </a:cxn>
                <a:cxn ang="0">
                  <a:pos x="113" y="61"/>
                </a:cxn>
                <a:cxn ang="0">
                  <a:pos x="107" y="51"/>
                </a:cxn>
                <a:cxn ang="0">
                  <a:pos x="84" y="34"/>
                </a:cxn>
                <a:cxn ang="0">
                  <a:pos x="75" y="19"/>
                </a:cxn>
                <a:cxn ang="0">
                  <a:pos x="63" y="17"/>
                </a:cxn>
                <a:cxn ang="0">
                  <a:pos x="63" y="11"/>
                </a:cxn>
                <a:cxn ang="0">
                  <a:pos x="54" y="5"/>
                </a:cxn>
                <a:cxn ang="0">
                  <a:pos x="46" y="4"/>
                </a:cxn>
                <a:cxn ang="0">
                  <a:pos x="37" y="11"/>
                </a:cxn>
                <a:cxn ang="0">
                  <a:pos x="29" y="17"/>
                </a:cxn>
                <a:cxn ang="0">
                  <a:pos x="19" y="10"/>
                </a:cxn>
                <a:cxn ang="0">
                  <a:pos x="5" y="10"/>
                </a:cxn>
              </a:cxnLst>
              <a:rect l="0" t="0" r="r" b="b"/>
              <a:pathLst>
                <a:path w="115" h="86">
                  <a:moveTo>
                    <a:pt x="0" y="13"/>
                  </a:moveTo>
                  <a:cubicBezTo>
                    <a:pt x="3" y="14"/>
                    <a:pt x="2" y="14"/>
                    <a:pt x="2" y="16"/>
                  </a:cubicBezTo>
                  <a:cubicBezTo>
                    <a:pt x="3" y="17"/>
                    <a:pt x="3" y="21"/>
                    <a:pt x="3" y="17"/>
                  </a:cubicBezTo>
                  <a:cubicBezTo>
                    <a:pt x="3" y="16"/>
                    <a:pt x="5" y="14"/>
                    <a:pt x="5" y="14"/>
                  </a:cubicBezTo>
                  <a:cubicBezTo>
                    <a:pt x="3" y="14"/>
                    <a:pt x="3" y="10"/>
                    <a:pt x="8" y="10"/>
                  </a:cubicBezTo>
                  <a:cubicBezTo>
                    <a:pt x="11" y="8"/>
                    <a:pt x="13" y="8"/>
                    <a:pt x="13" y="11"/>
                  </a:cubicBezTo>
                  <a:cubicBezTo>
                    <a:pt x="13" y="13"/>
                    <a:pt x="13" y="16"/>
                    <a:pt x="17" y="19"/>
                  </a:cubicBezTo>
                  <a:cubicBezTo>
                    <a:pt x="22" y="21"/>
                    <a:pt x="17" y="25"/>
                    <a:pt x="17" y="24"/>
                  </a:cubicBezTo>
                  <a:cubicBezTo>
                    <a:pt x="16" y="22"/>
                    <a:pt x="14" y="22"/>
                    <a:pt x="16" y="24"/>
                  </a:cubicBezTo>
                  <a:cubicBezTo>
                    <a:pt x="16" y="25"/>
                    <a:pt x="11" y="27"/>
                    <a:pt x="11" y="24"/>
                  </a:cubicBezTo>
                  <a:cubicBezTo>
                    <a:pt x="11" y="21"/>
                    <a:pt x="9" y="25"/>
                    <a:pt x="8" y="24"/>
                  </a:cubicBezTo>
                  <a:cubicBezTo>
                    <a:pt x="8" y="22"/>
                    <a:pt x="7" y="25"/>
                    <a:pt x="7" y="24"/>
                  </a:cubicBezTo>
                  <a:cubicBezTo>
                    <a:pt x="7" y="22"/>
                    <a:pt x="3" y="19"/>
                    <a:pt x="5" y="22"/>
                  </a:cubicBezTo>
                  <a:cubicBezTo>
                    <a:pt x="5" y="25"/>
                    <a:pt x="2" y="28"/>
                    <a:pt x="3" y="30"/>
                  </a:cubicBezTo>
                  <a:cubicBezTo>
                    <a:pt x="3" y="31"/>
                    <a:pt x="5" y="36"/>
                    <a:pt x="5" y="34"/>
                  </a:cubicBezTo>
                  <a:cubicBezTo>
                    <a:pt x="7" y="34"/>
                    <a:pt x="5" y="33"/>
                    <a:pt x="7" y="33"/>
                  </a:cubicBezTo>
                  <a:cubicBezTo>
                    <a:pt x="8" y="33"/>
                    <a:pt x="9" y="31"/>
                    <a:pt x="9" y="33"/>
                  </a:cubicBezTo>
                  <a:cubicBezTo>
                    <a:pt x="8" y="36"/>
                    <a:pt x="8" y="36"/>
                    <a:pt x="9" y="36"/>
                  </a:cubicBezTo>
                  <a:cubicBezTo>
                    <a:pt x="11" y="36"/>
                    <a:pt x="11" y="38"/>
                    <a:pt x="9" y="38"/>
                  </a:cubicBezTo>
                  <a:cubicBezTo>
                    <a:pt x="7" y="38"/>
                    <a:pt x="8" y="36"/>
                    <a:pt x="8" y="36"/>
                  </a:cubicBezTo>
                  <a:cubicBezTo>
                    <a:pt x="7" y="36"/>
                    <a:pt x="5" y="41"/>
                    <a:pt x="7" y="41"/>
                  </a:cubicBezTo>
                  <a:cubicBezTo>
                    <a:pt x="8" y="42"/>
                    <a:pt x="7" y="39"/>
                    <a:pt x="8" y="39"/>
                  </a:cubicBezTo>
                  <a:cubicBezTo>
                    <a:pt x="9" y="41"/>
                    <a:pt x="9" y="41"/>
                    <a:pt x="11" y="42"/>
                  </a:cubicBezTo>
                  <a:cubicBezTo>
                    <a:pt x="11" y="44"/>
                    <a:pt x="14" y="44"/>
                    <a:pt x="13" y="45"/>
                  </a:cubicBezTo>
                  <a:cubicBezTo>
                    <a:pt x="11" y="47"/>
                    <a:pt x="11" y="51"/>
                    <a:pt x="13" y="61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23" y="61"/>
                    <a:pt x="16" y="58"/>
                    <a:pt x="23" y="55"/>
                  </a:cubicBezTo>
                  <a:cubicBezTo>
                    <a:pt x="28" y="51"/>
                    <a:pt x="31" y="56"/>
                    <a:pt x="32" y="53"/>
                  </a:cubicBezTo>
                  <a:cubicBezTo>
                    <a:pt x="32" y="51"/>
                    <a:pt x="35" y="50"/>
                    <a:pt x="37" y="51"/>
                  </a:cubicBezTo>
                  <a:cubicBezTo>
                    <a:pt x="37" y="53"/>
                    <a:pt x="39" y="50"/>
                    <a:pt x="40" y="53"/>
                  </a:cubicBezTo>
                  <a:cubicBezTo>
                    <a:pt x="40" y="56"/>
                    <a:pt x="46" y="55"/>
                    <a:pt x="46" y="58"/>
                  </a:cubicBezTo>
                  <a:cubicBezTo>
                    <a:pt x="48" y="59"/>
                    <a:pt x="48" y="56"/>
                    <a:pt x="52" y="58"/>
                  </a:cubicBezTo>
                  <a:cubicBezTo>
                    <a:pt x="58" y="59"/>
                    <a:pt x="54" y="62"/>
                    <a:pt x="58" y="64"/>
                  </a:cubicBezTo>
                  <a:cubicBezTo>
                    <a:pt x="63" y="65"/>
                    <a:pt x="61" y="68"/>
                    <a:pt x="64" y="68"/>
                  </a:cubicBezTo>
                  <a:cubicBezTo>
                    <a:pt x="67" y="68"/>
                    <a:pt x="69" y="68"/>
                    <a:pt x="71" y="70"/>
                  </a:cubicBezTo>
                  <a:cubicBezTo>
                    <a:pt x="71" y="72"/>
                    <a:pt x="69" y="70"/>
                    <a:pt x="71" y="73"/>
                  </a:cubicBezTo>
                  <a:cubicBezTo>
                    <a:pt x="71" y="75"/>
                    <a:pt x="69" y="76"/>
                    <a:pt x="71" y="76"/>
                  </a:cubicBezTo>
                  <a:cubicBezTo>
                    <a:pt x="72" y="78"/>
                    <a:pt x="71" y="79"/>
                    <a:pt x="71" y="81"/>
                  </a:cubicBezTo>
                  <a:cubicBezTo>
                    <a:pt x="74" y="81"/>
                    <a:pt x="72" y="82"/>
                    <a:pt x="75" y="82"/>
                  </a:cubicBezTo>
                  <a:cubicBezTo>
                    <a:pt x="80" y="81"/>
                    <a:pt x="77" y="86"/>
                    <a:pt x="81" y="84"/>
                  </a:cubicBezTo>
                  <a:cubicBezTo>
                    <a:pt x="86" y="82"/>
                    <a:pt x="86" y="78"/>
                    <a:pt x="89" y="76"/>
                  </a:cubicBezTo>
                  <a:cubicBezTo>
                    <a:pt x="92" y="75"/>
                    <a:pt x="96" y="76"/>
                    <a:pt x="98" y="68"/>
                  </a:cubicBezTo>
                  <a:cubicBezTo>
                    <a:pt x="100" y="61"/>
                    <a:pt x="103" y="64"/>
                    <a:pt x="106" y="61"/>
                  </a:cubicBezTo>
                  <a:cubicBezTo>
                    <a:pt x="107" y="58"/>
                    <a:pt x="109" y="62"/>
                    <a:pt x="113" y="61"/>
                  </a:cubicBezTo>
                  <a:cubicBezTo>
                    <a:pt x="112" y="55"/>
                    <a:pt x="115" y="55"/>
                    <a:pt x="113" y="55"/>
                  </a:cubicBezTo>
                  <a:cubicBezTo>
                    <a:pt x="110" y="53"/>
                    <a:pt x="109" y="50"/>
                    <a:pt x="107" y="51"/>
                  </a:cubicBezTo>
                  <a:cubicBezTo>
                    <a:pt x="104" y="53"/>
                    <a:pt x="96" y="44"/>
                    <a:pt x="95" y="44"/>
                  </a:cubicBezTo>
                  <a:cubicBezTo>
                    <a:pt x="92" y="44"/>
                    <a:pt x="89" y="39"/>
                    <a:pt x="84" y="34"/>
                  </a:cubicBezTo>
                  <a:cubicBezTo>
                    <a:pt x="80" y="31"/>
                    <a:pt x="81" y="28"/>
                    <a:pt x="78" y="27"/>
                  </a:cubicBezTo>
                  <a:cubicBezTo>
                    <a:pt x="77" y="25"/>
                    <a:pt x="78" y="21"/>
                    <a:pt x="75" y="19"/>
                  </a:cubicBezTo>
                  <a:cubicBezTo>
                    <a:pt x="71" y="17"/>
                    <a:pt x="72" y="21"/>
                    <a:pt x="71" y="19"/>
                  </a:cubicBezTo>
                  <a:cubicBezTo>
                    <a:pt x="67" y="17"/>
                    <a:pt x="66" y="21"/>
                    <a:pt x="63" y="17"/>
                  </a:cubicBezTo>
                  <a:cubicBezTo>
                    <a:pt x="60" y="14"/>
                    <a:pt x="63" y="16"/>
                    <a:pt x="61" y="14"/>
                  </a:cubicBezTo>
                  <a:cubicBezTo>
                    <a:pt x="60" y="13"/>
                    <a:pt x="64" y="13"/>
                    <a:pt x="63" y="11"/>
                  </a:cubicBezTo>
                  <a:cubicBezTo>
                    <a:pt x="58" y="8"/>
                    <a:pt x="64" y="7"/>
                    <a:pt x="60" y="7"/>
                  </a:cubicBezTo>
                  <a:cubicBezTo>
                    <a:pt x="52" y="7"/>
                    <a:pt x="57" y="5"/>
                    <a:pt x="54" y="5"/>
                  </a:cubicBezTo>
                  <a:cubicBezTo>
                    <a:pt x="51" y="4"/>
                    <a:pt x="51" y="0"/>
                    <a:pt x="49" y="2"/>
                  </a:cubicBezTo>
                  <a:cubicBezTo>
                    <a:pt x="48" y="4"/>
                    <a:pt x="45" y="2"/>
                    <a:pt x="46" y="4"/>
                  </a:cubicBezTo>
                  <a:cubicBezTo>
                    <a:pt x="51" y="7"/>
                    <a:pt x="45" y="4"/>
                    <a:pt x="45" y="7"/>
                  </a:cubicBezTo>
                  <a:cubicBezTo>
                    <a:pt x="45" y="10"/>
                    <a:pt x="39" y="7"/>
                    <a:pt x="37" y="11"/>
                  </a:cubicBezTo>
                  <a:cubicBezTo>
                    <a:pt x="35" y="16"/>
                    <a:pt x="39" y="16"/>
                    <a:pt x="39" y="17"/>
                  </a:cubicBezTo>
                  <a:cubicBezTo>
                    <a:pt x="37" y="19"/>
                    <a:pt x="32" y="17"/>
                    <a:pt x="29" y="17"/>
                  </a:cubicBezTo>
                  <a:cubicBezTo>
                    <a:pt x="26" y="17"/>
                    <a:pt x="25" y="19"/>
                    <a:pt x="25" y="17"/>
                  </a:cubicBezTo>
                  <a:cubicBezTo>
                    <a:pt x="20" y="11"/>
                    <a:pt x="22" y="11"/>
                    <a:pt x="19" y="10"/>
                  </a:cubicBezTo>
                  <a:cubicBezTo>
                    <a:pt x="17" y="8"/>
                    <a:pt x="16" y="5"/>
                    <a:pt x="13" y="7"/>
                  </a:cubicBezTo>
                  <a:cubicBezTo>
                    <a:pt x="9" y="7"/>
                    <a:pt x="7" y="8"/>
                    <a:pt x="5" y="10"/>
                  </a:cubicBezTo>
                  <a:cubicBezTo>
                    <a:pt x="2" y="11"/>
                    <a:pt x="0" y="13"/>
                    <a:pt x="0" y="13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35" name="Freeform 50">
              <a:extLst>
                <a:ext uri="{FF2B5EF4-FFF2-40B4-BE49-F238E27FC236}">
                  <a16:creationId xmlns:a16="http://schemas.microsoft.com/office/drawing/2014/main" id="{D1BC25F3-D83B-AEB1-B645-8672DD675E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14407" y="3285429"/>
              <a:ext cx="435438" cy="295642"/>
            </a:xfrm>
            <a:custGeom>
              <a:avLst/>
              <a:gdLst/>
              <a:ahLst/>
              <a:cxnLst>
                <a:cxn ang="0">
                  <a:pos x="41" y="20"/>
                </a:cxn>
                <a:cxn ang="0">
                  <a:pos x="32" y="25"/>
                </a:cxn>
                <a:cxn ang="0">
                  <a:pos x="20" y="22"/>
                </a:cxn>
                <a:cxn ang="0">
                  <a:pos x="21" y="0"/>
                </a:cxn>
                <a:cxn ang="0">
                  <a:pos x="1" y="11"/>
                </a:cxn>
                <a:cxn ang="0">
                  <a:pos x="11" y="48"/>
                </a:cxn>
                <a:cxn ang="0">
                  <a:pos x="17" y="37"/>
                </a:cxn>
                <a:cxn ang="0">
                  <a:pos x="21" y="33"/>
                </a:cxn>
                <a:cxn ang="0">
                  <a:pos x="32" y="37"/>
                </a:cxn>
                <a:cxn ang="0">
                  <a:pos x="33" y="45"/>
                </a:cxn>
                <a:cxn ang="0">
                  <a:pos x="43" y="50"/>
                </a:cxn>
                <a:cxn ang="0">
                  <a:pos x="50" y="58"/>
                </a:cxn>
                <a:cxn ang="0">
                  <a:pos x="67" y="75"/>
                </a:cxn>
                <a:cxn ang="0">
                  <a:pos x="85" y="86"/>
                </a:cxn>
                <a:cxn ang="0">
                  <a:pos x="91" y="93"/>
                </a:cxn>
                <a:cxn ang="0">
                  <a:pos x="96" y="89"/>
                </a:cxn>
                <a:cxn ang="0">
                  <a:pos x="97" y="75"/>
                </a:cxn>
                <a:cxn ang="0">
                  <a:pos x="91" y="72"/>
                </a:cxn>
                <a:cxn ang="0">
                  <a:pos x="102" y="65"/>
                </a:cxn>
                <a:cxn ang="0">
                  <a:pos x="108" y="54"/>
                </a:cxn>
                <a:cxn ang="0">
                  <a:pos x="116" y="51"/>
                </a:cxn>
                <a:cxn ang="0">
                  <a:pos x="117" y="56"/>
                </a:cxn>
                <a:cxn ang="0">
                  <a:pos x="120" y="61"/>
                </a:cxn>
                <a:cxn ang="0">
                  <a:pos x="130" y="59"/>
                </a:cxn>
                <a:cxn ang="0">
                  <a:pos x="131" y="51"/>
                </a:cxn>
                <a:cxn ang="0">
                  <a:pos x="114" y="47"/>
                </a:cxn>
                <a:cxn ang="0">
                  <a:pos x="119" y="39"/>
                </a:cxn>
                <a:cxn ang="0">
                  <a:pos x="116" y="40"/>
                </a:cxn>
                <a:cxn ang="0">
                  <a:pos x="107" y="47"/>
                </a:cxn>
                <a:cxn ang="0">
                  <a:pos x="101" y="54"/>
                </a:cxn>
                <a:cxn ang="0">
                  <a:pos x="96" y="54"/>
                </a:cxn>
                <a:cxn ang="0">
                  <a:pos x="96" y="51"/>
                </a:cxn>
                <a:cxn ang="0">
                  <a:pos x="85" y="47"/>
                </a:cxn>
                <a:cxn ang="0">
                  <a:pos x="81" y="40"/>
                </a:cxn>
                <a:cxn ang="0">
                  <a:pos x="81" y="31"/>
                </a:cxn>
                <a:cxn ang="0">
                  <a:pos x="70" y="22"/>
                </a:cxn>
                <a:cxn ang="0">
                  <a:pos x="46" y="22"/>
                </a:cxn>
                <a:cxn ang="0">
                  <a:pos x="43" y="14"/>
                </a:cxn>
              </a:cxnLst>
              <a:rect l="0" t="0" r="r" b="b"/>
              <a:pathLst>
                <a:path w="140" h="95">
                  <a:moveTo>
                    <a:pt x="43" y="14"/>
                  </a:moveTo>
                  <a:cubicBezTo>
                    <a:pt x="36" y="20"/>
                    <a:pt x="40" y="19"/>
                    <a:pt x="41" y="20"/>
                  </a:cubicBezTo>
                  <a:cubicBezTo>
                    <a:pt x="43" y="22"/>
                    <a:pt x="38" y="23"/>
                    <a:pt x="36" y="23"/>
                  </a:cubicBezTo>
                  <a:cubicBezTo>
                    <a:pt x="33" y="22"/>
                    <a:pt x="35" y="25"/>
                    <a:pt x="32" y="25"/>
                  </a:cubicBezTo>
                  <a:cubicBezTo>
                    <a:pt x="29" y="25"/>
                    <a:pt x="33" y="22"/>
                    <a:pt x="29" y="20"/>
                  </a:cubicBezTo>
                  <a:cubicBezTo>
                    <a:pt x="23" y="20"/>
                    <a:pt x="20" y="25"/>
                    <a:pt x="20" y="22"/>
                  </a:cubicBezTo>
                  <a:cubicBezTo>
                    <a:pt x="20" y="17"/>
                    <a:pt x="18" y="14"/>
                    <a:pt x="20" y="12"/>
                  </a:cubicBezTo>
                  <a:cubicBezTo>
                    <a:pt x="20" y="11"/>
                    <a:pt x="17" y="11"/>
                    <a:pt x="21" y="0"/>
                  </a:cubicBezTo>
                  <a:cubicBezTo>
                    <a:pt x="20" y="0"/>
                    <a:pt x="6" y="5"/>
                    <a:pt x="3" y="6"/>
                  </a:cubicBezTo>
                  <a:cubicBezTo>
                    <a:pt x="0" y="6"/>
                    <a:pt x="1" y="6"/>
                    <a:pt x="1" y="11"/>
                  </a:cubicBezTo>
                  <a:cubicBezTo>
                    <a:pt x="1" y="14"/>
                    <a:pt x="1" y="48"/>
                    <a:pt x="1" y="48"/>
                  </a:cubicBezTo>
                  <a:cubicBezTo>
                    <a:pt x="4" y="48"/>
                    <a:pt x="9" y="50"/>
                    <a:pt x="11" y="48"/>
                  </a:cubicBezTo>
                  <a:cubicBezTo>
                    <a:pt x="11" y="47"/>
                    <a:pt x="7" y="47"/>
                    <a:pt x="9" y="42"/>
                  </a:cubicBezTo>
                  <a:cubicBezTo>
                    <a:pt x="11" y="37"/>
                    <a:pt x="17" y="40"/>
                    <a:pt x="17" y="37"/>
                  </a:cubicBezTo>
                  <a:cubicBezTo>
                    <a:pt x="17" y="34"/>
                    <a:pt x="23" y="37"/>
                    <a:pt x="18" y="34"/>
                  </a:cubicBezTo>
                  <a:cubicBezTo>
                    <a:pt x="17" y="33"/>
                    <a:pt x="20" y="34"/>
                    <a:pt x="21" y="33"/>
                  </a:cubicBezTo>
                  <a:cubicBezTo>
                    <a:pt x="23" y="31"/>
                    <a:pt x="23" y="34"/>
                    <a:pt x="26" y="36"/>
                  </a:cubicBezTo>
                  <a:cubicBezTo>
                    <a:pt x="29" y="36"/>
                    <a:pt x="24" y="37"/>
                    <a:pt x="32" y="37"/>
                  </a:cubicBezTo>
                  <a:cubicBezTo>
                    <a:pt x="36" y="37"/>
                    <a:pt x="30" y="39"/>
                    <a:pt x="35" y="42"/>
                  </a:cubicBezTo>
                  <a:cubicBezTo>
                    <a:pt x="36" y="44"/>
                    <a:pt x="32" y="44"/>
                    <a:pt x="33" y="45"/>
                  </a:cubicBezTo>
                  <a:cubicBezTo>
                    <a:pt x="35" y="47"/>
                    <a:pt x="32" y="45"/>
                    <a:pt x="35" y="48"/>
                  </a:cubicBezTo>
                  <a:cubicBezTo>
                    <a:pt x="38" y="51"/>
                    <a:pt x="40" y="48"/>
                    <a:pt x="43" y="50"/>
                  </a:cubicBezTo>
                  <a:cubicBezTo>
                    <a:pt x="44" y="51"/>
                    <a:pt x="43" y="48"/>
                    <a:pt x="47" y="50"/>
                  </a:cubicBezTo>
                  <a:cubicBezTo>
                    <a:pt x="50" y="51"/>
                    <a:pt x="49" y="56"/>
                    <a:pt x="50" y="58"/>
                  </a:cubicBezTo>
                  <a:cubicBezTo>
                    <a:pt x="53" y="59"/>
                    <a:pt x="52" y="62"/>
                    <a:pt x="56" y="65"/>
                  </a:cubicBezTo>
                  <a:cubicBezTo>
                    <a:pt x="61" y="70"/>
                    <a:pt x="64" y="75"/>
                    <a:pt x="67" y="75"/>
                  </a:cubicBezTo>
                  <a:cubicBezTo>
                    <a:pt x="68" y="75"/>
                    <a:pt x="76" y="84"/>
                    <a:pt x="79" y="83"/>
                  </a:cubicBezTo>
                  <a:cubicBezTo>
                    <a:pt x="81" y="81"/>
                    <a:pt x="82" y="84"/>
                    <a:pt x="85" y="86"/>
                  </a:cubicBezTo>
                  <a:cubicBezTo>
                    <a:pt x="87" y="86"/>
                    <a:pt x="84" y="86"/>
                    <a:pt x="85" y="92"/>
                  </a:cubicBezTo>
                  <a:cubicBezTo>
                    <a:pt x="90" y="90"/>
                    <a:pt x="90" y="95"/>
                    <a:pt x="91" y="93"/>
                  </a:cubicBezTo>
                  <a:cubicBezTo>
                    <a:pt x="93" y="93"/>
                    <a:pt x="93" y="93"/>
                    <a:pt x="94" y="95"/>
                  </a:cubicBezTo>
                  <a:cubicBezTo>
                    <a:pt x="94" y="93"/>
                    <a:pt x="94" y="92"/>
                    <a:pt x="96" y="89"/>
                  </a:cubicBezTo>
                  <a:cubicBezTo>
                    <a:pt x="99" y="84"/>
                    <a:pt x="101" y="84"/>
                    <a:pt x="97" y="81"/>
                  </a:cubicBezTo>
                  <a:cubicBezTo>
                    <a:pt x="96" y="78"/>
                    <a:pt x="99" y="76"/>
                    <a:pt x="97" y="75"/>
                  </a:cubicBezTo>
                  <a:cubicBezTo>
                    <a:pt x="96" y="73"/>
                    <a:pt x="94" y="76"/>
                    <a:pt x="94" y="73"/>
                  </a:cubicBezTo>
                  <a:cubicBezTo>
                    <a:pt x="94" y="72"/>
                    <a:pt x="93" y="72"/>
                    <a:pt x="91" y="72"/>
                  </a:cubicBezTo>
                  <a:cubicBezTo>
                    <a:pt x="90" y="72"/>
                    <a:pt x="93" y="67"/>
                    <a:pt x="96" y="67"/>
                  </a:cubicBezTo>
                  <a:cubicBezTo>
                    <a:pt x="99" y="69"/>
                    <a:pt x="101" y="69"/>
                    <a:pt x="102" y="65"/>
                  </a:cubicBezTo>
                  <a:cubicBezTo>
                    <a:pt x="105" y="61"/>
                    <a:pt x="101" y="61"/>
                    <a:pt x="105" y="61"/>
                  </a:cubicBezTo>
                  <a:cubicBezTo>
                    <a:pt x="108" y="61"/>
                    <a:pt x="105" y="56"/>
                    <a:pt x="108" y="54"/>
                  </a:cubicBezTo>
                  <a:cubicBezTo>
                    <a:pt x="108" y="53"/>
                    <a:pt x="108" y="56"/>
                    <a:pt x="113" y="54"/>
                  </a:cubicBezTo>
                  <a:cubicBezTo>
                    <a:pt x="116" y="53"/>
                    <a:pt x="114" y="51"/>
                    <a:pt x="116" y="51"/>
                  </a:cubicBezTo>
                  <a:cubicBezTo>
                    <a:pt x="117" y="51"/>
                    <a:pt x="117" y="54"/>
                    <a:pt x="117" y="54"/>
                  </a:cubicBezTo>
                  <a:cubicBezTo>
                    <a:pt x="119" y="54"/>
                    <a:pt x="119" y="54"/>
                    <a:pt x="117" y="56"/>
                  </a:cubicBezTo>
                  <a:cubicBezTo>
                    <a:pt x="116" y="58"/>
                    <a:pt x="114" y="59"/>
                    <a:pt x="116" y="59"/>
                  </a:cubicBezTo>
                  <a:cubicBezTo>
                    <a:pt x="117" y="59"/>
                    <a:pt x="116" y="62"/>
                    <a:pt x="120" y="61"/>
                  </a:cubicBezTo>
                  <a:cubicBezTo>
                    <a:pt x="122" y="59"/>
                    <a:pt x="122" y="59"/>
                    <a:pt x="125" y="62"/>
                  </a:cubicBezTo>
                  <a:cubicBezTo>
                    <a:pt x="128" y="64"/>
                    <a:pt x="128" y="58"/>
                    <a:pt x="130" y="59"/>
                  </a:cubicBezTo>
                  <a:cubicBezTo>
                    <a:pt x="133" y="59"/>
                    <a:pt x="133" y="58"/>
                    <a:pt x="136" y="54"/>
                  </a:cubicBezTo>
                  <a:cubicBezTo>
                    <a:pt x="140" y="53"/>
                    <a:pt x="136" y="54"/>
                    <a:pt x="131" y="51"/>
                  </a:cubicBezTo>
                  <a:cubicBezTo>
                    <a:pt x="125" y="48"/>
                    <a:pt x="126" y="44"/>
                    <a:pt x="123" y="48"/>
                  </a:cubicBezTo>
                  <a:cubicBezTo>
                    <a:pt x="122" y="53"/>
                    <a:pt x="117" y="48"/>
                    <a:pt x="114" y="47"/>
                  </a:cubicBezTo>
                  <a:cubicBezTo>
                    <a:pt x="111" y="45"/>
                    <a:pt x="126" y="39"/>
                    <a:pt x="120" y="37"/>
                  </a:cubicBezTo>
                  <a:cubicBezTo>
                    <a:pt x="119" y="39"/>
                    <a:pt x="119" y="39"/>
                    <a:pt x="119" y="39"/>
                  </a:cubicBezTo>
                  <a:cubicBezTo>
                    <a:pt x="117" y="39"/>
                    <a:pt x="119" y="40"/>
                    <a:pt x="117" y="40"/>
                  </a:cubicBezTo>
                  <a:cubicBezTo>
                    <a:pt x="116" y="40"/>
                    <a:pt x="117" y="39"/>
                    <a:pt x="116" y="40"/>
                  </a:cubicBezTo>
                  <a:cubicBezTo>
                    <a:pt x="113" y="42"/>
                    <a:pt x="111" y="44"/>
                    <a:pt x="110" y="45"/>
                  </a:cubicBezTo>
                  <a:cubicBezTo>
                    <a:pt x="108" y="47"/>
                    <a:pt x="108" y="47"/>
                    <a:pt x="107" y="47"/>
                  </a:cubicBezTo>
                  <a:cubicBezTo>
                    <a:pt x="104" y="48"/>
                    <a:pt x="105" y="50"/>
                    <a:pt x="104" y="50"/>
                  </a:cubicBezTo>
                  <a:cubicBezTo>
                    <a:pt x="102" y="51"/>
                    <a:pt x="101" y="53"/>
                    <a:pt x="101" y="54"/>
                  </a:cubicBezTo>
                  <a:cubicBezTo>
                    <a:pt x="102" y="56"/>
                    <a:pt x="101" y="58"/>
                    <a:pt x="99" y="56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97" y="51"/>
                    <a:pt x="97" y="51"/>
                    <a:pt x="97" y="51"/>
                  </a:cubicBezTo>
                  <a:cubicBezTo>
                    <a:pt x="97" y="51"/>
                    <a:pt x="97" y="53"/>
                    <a:pt x="96" y="51"/>
                  </a:cubicBezTo>
                  <a:cubicBezTo>
                    <a:pt x="96" y="50"/>
                    <a:pt x="96" y="50"/>
                    <a:pt x="90" y="50"/>
                  </a:cubicBezTo>
                  <a:cubicBezTo>
                    <a:pt x="85" y="51"/>
                    <a:pt x="85" y="50"/>
                    <a:pt x="85" y="47"/>
                  </a:cubicBezTo>
                  <a:cubicBezTo>
                    <a:pt x="85" y="44"/>
                    <a:pt x="85" y="40"/>
                    <a:pt x="84" y="40"/>
                  </a:cubicBezTo>
                  <a:cubicBezTo>
                    <a:pt x="81" y="40"/>
                    <a:pt x="81" y="40"/>
                    <a:pt x="81" y="40"/>
                  </a:cubicBezTo>
                  <a:cubicBezTo>
                    <a:pt x="81" y="40"/>
                    <a:pt x="81" y="39"/>
                    <a:pt x="81" y="36"/>
                  </a:cubicBezTo>
                  <a:cubicBezTo>
                    <a:pt x="82" y="31"/>
                    <a:pt x="82" y="28"/>
                    <a:pt x="81" y="31"/>
                  </a:cubicBezTo>
                  <a:cubicBezTo>
                    <a:pt x="78" y="33"/>
                    <a:pt x="79" y="26"/>
                    <a:pt x="76" y="25"/>
                  </a:cubicBezTo>
                  <a:cubicBezTo>
                    <a:pt x="73" y="23"/>
                    <a:pt x="73" y="20"/>
                    <a:pt x="70" y="22"/>
                  </a:cubicBezTo>
                  <a:cubicBezTo>
                    <a:pt x="65" y="25"/>
                    <a:pt x="62" y="22"/>
                    <a:pt x="55" y="23"/>
                  </a:cubicBezTo>
                  <a:cubicBezTo>
                    <a:pt x="49" y="25"/>
                    <a:pt x="49" y="25"/>
                    <a:pt x="46" y="22"/>
                  </a:cubicBezTo>
                  <a:cubicBezTo>
                    <a:pt x="44" y="19"/>
                    <a:pt x="43" y="17"/>
                    <a:pt x="43" y="16"/>
                  </a:cubicBezTo>
                  <a:cubicBezTo>
                    <a:pt x="41" y="16"/>
                    <a:pt x="43" y="14"/>
                    <a:pt x="43" y="14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36" name="Freeform 51">
              <a:extLst>
                <a:ext uri="{FF2B5EF4-FFF2-40B4-BE49-F238E27FC236}">
                  <a16:creationId xmlns:a16="http://schemas.microsoft.com/office/drawing/2014/main" id="{5406B12A-6684-6721-106C-10AC3BF5690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47011" y="3368981"/>
              <a:ext cx="268333" cy="143001"/>
            </a:xfrm>
            <a:custGeom>
              <a:avLst/>
              <a:gdLst/>
              <a:ahLst/>
              <a:cxnLst>
                <a:cxn ang="0">
                  <a:pos x="13" y="10"/>
                </a:cxn>
                <a:cxn ang="0">
                  <a:pos x="7" y="20"/>
                </a:cxn>
                <a:cxn ang="0">
                  <a:pos x="16" y="21"/>
                </a:cxn>
                <a:cxn ang="0">
                  <a:pos x="24" y="24"/>
                </a:cxn>
                <a:cxn ang="0">
                  <a:pos x="29" y="27"/>
                </a:cxn>
                <a:cxn ang="0">
                  <a:pos x="22" y="32"/>
                </a:cxn>
                <a:cxn ang="0">
                  <a:pos x="18" y="35"/>
                </a:cxn>
                <a:cxn ang="0">
                  <a:pos x="13" y="34"/>
                </a:cxn>
                <a:cxn ang="0">
                  <a:pos x="10" y="37"/>
                </a:cxn>
                <a:cxn ang="0">
                  <a:pos x="9" y="35"/>
                </a:cxn>
                <a:cxn ang="0">
                  <a:pos x="1" y="35"/>
                </a:cxn>
                <a:cxn ang="0">
                  <a:pos x="0" y="38"/>
                </a:cxn>
                <a:cxn ang="0">
                  <a:pos x="10" y="41"/>
                </a:cxn>
                <a:cxn ang="0">
                  <a:pos x="18" y="41"/>
                </a:cxn>
                <a:cxn ang="0">
                  <a:pos x="22" y="44"/>
                </a:cxn>
                <a:cxn ang="0">
                  <a:pos x="29" y="43"/>
                </a:cxn>
                <a:cxn ang="0">
                  <a:pos x="35" y="43"/>
                </a:cxn>
                <a:cxn ang="0">
                  <a:pos x="39" y="35"/>
                </a:cxn>
                <a:cxn ang="0">
                  <a:pos x="45" y="31"/>
                </a:cxn>
                <a:cxn ang="0">
                  <a:pos x="50" y="31"/>
                </a:cxn>
                <a:cxn ang="0">
                  <a:pos x="54" y="32"/>
                </a:cxn>
                <a:cxn ang="0">
                  <a:pos x="59" y="26"/>
                </a:cxn>
                <a:cxn ang="0">
                  <a:pos x="71" y="21"/>
                </a:cxn>
                <a:cxn ang="0">
                  <a:pos x="83" y="15"/>
                </a:cxn>
                <a:cxn ang="0">
                  <a:pos x="86" y="12"/>
                </a:cxn>
                <a:cxn ang="0">
                  <a:pos x="79" y="7"/>
                </a:cxn>
                <a:cxn ang="0">
                  <a:pos x="62" y="4"/>
                </a:cxn>
                <a:cxn ang="0">
                  <a:pos x="47" y="4"/>
                </a:cxn>
                <a:cxn ang="0">
                  <a:pos x="36" y="1"/>
                </a:cxn>
                <a:cxn ang="0">
                  <a:pos x="32" y="9"/>
                </a:cxn>
                <a:cxn ang="0">
                  <a:pos x="18" y="4"/>
                </a:cxn>
                <a:cxn ang="0">
                  <a:pos x="13" y="10"/>
                </a:cxn>
              </a:cxnLst>
              <a:rect l="0" t="0" r="r" b="b"/>
              <a:pathLst>
                <a:path w="86" h="46">
                  <a:moveTo>
                    <a:pt x="13" y="10"/>
                  </a:moveTo>
                  <a:cubicBezTo>
                    <a:pt x="19" y="12"/>
                    <a:pt x="4" y="18"/>
                    <a:pt x="7" y="20"/>
                  </a:cubicBezTo>
                  <a:cubicBezTo>
                    <a:pt x="10" y="21"/>
                    <a:pt x="15" y="26"/>
                    <a:pt x="16" y="21"/>
                  </a:cubicBezTo>
                  <a:cubicBezTo>
                    <a:pt x="19" y="17"/>
                    <a:pt x="18" y="21"/>
                    <a:pt x="24" y="24"/>
                  </a:cubicBezTo>
                  <a:cubicBezTo>
                    <a:pt x="29" y="27"/>
                    <a:pt x="33" y="26"/>
                    <a:pt x="29" y="27"/>
                  </a:cubicBezTo>
                  <a:cubicBezTo>
                    <a:pt x="25" y="31"/>
                    <a:pt x="25" y="32"/>
                    <a:pt x="22" y="32"/>
                  </a:cubicBezTo>
                  <a:cubicBezTo>
                    <a:pt x="21" y="31"/>
                    <a:pt x="21" y="37"/>
                    <a:pt x="18" y="35"/>
                  </a:cubicBezTo>
                  <a:cubicBezTo>
                    <a:pt x="15" y="32"/>
                    <a:pt x="15" y="32"/>
                    <a:pt x="13" y="34"/>
                  </a:cubicBezTo>
                  <a:cubicBezTo>
                    <a:pt x="12" y="35"/>
                    <a:pt x="12" y="34"/>
                    <a:pt x="10" y="37"/>
                  </a:cubicBezTo>
                  <a:cubicBezTo>
                    <a:pt x="9" y="38"/>
                    <a:pt x="10" y="35"/>
                    <a:pt x="9" y="35"/>
                  </a:cubicBezTo>
                  <a:cubicBezTo>
                    <a:pt x="6" y="34"/>
                    <a:pt x="1" y="34"/>
                    <a:pt x="1" y="35"/>
                  </a:cubicBezTo>
                  <a:cubicBezTo>
                    <a:pt x="1" y="38"/>
                    <a:pt x="0" y="35"/>
                    <a:pt x="0" y="38"/>
                  </a:cubicBezTo>
                  <a:cubicBezTo>
                    <a:pt x="0" y="43"/>
                    <a:pt x="10" y="40"/>
                    <a:pt x="10" y="41"/>
                  </a:cubicBezTo>
                  <a:cubicBezTo>
                    <a:pt x="12" y="44"/>
                    <a:pt x="16" y="38"/>
                    <a:pt x="18" y="41"/>
                  </a:cubicBezTo>
                  <a:cubicBezTo>
                    <a:pt x="19" y="46"/>
                    <a:pt x="21" y="43"/>
                    <a:pt x="22" y="44"/>
                  </a:cubicBezTo>
                  <a:cubicBezTo>
                    <a:pt x="24" y="46"/>
                    <a:pt x="24" y="41"/>
                    <a:pt x="29" y="43"/>
                  </a:cubicBezTo>
                  <a:cubicBezTo>
                    <a:pt x="33" y="44"/>
                    <a:pt x="32" y="41"/>
                    <a:pt x="35" y="43"/>
                  </a:cubicBezTo>
                  <a:cubicBezTo>
                    <a:pt x="41" y="41"/>
                    <a:pt x="32" y="37"/>
                    <a:pt x="39" y="35"/>
                  </a:cubicBezTo>
                  <a:cubicBezTo>
                    <a:pt x="45" y="34"/>
                    <a:pt x="42" y="31"/>
                    <a:pt x="45" y="31"/>
                  </a:cubicBezTo>
                  <a:cubicBezTo>
                    <a:pt x="50" y="32"/>
                    <a:pt x="48" y="26"/>
                    <a:pt x="50" y="31"/>
                  </a:cubicBezTo>
                  <a:cubicBezTo>
                    <a:pt x="51" y="35"/>
                    <a:pt x="53" y="31"/>
                    <a:pt x="54" y="32"/>
                  </a:cubicBezTo>
                  <a:cubicBezTo>
                    <a:pt x="57" y="34"/>
                    <a:pt x="57" y="31"/>
                    <a:pt x="59" y="26"/>
                  </a:cubicBezTo>
                  <a:cubicBezTo>
                    <a:pt x="60" y="23"/>
                    <a:pt x="69" y="27"/>
                    <a:pt x="71" y="21"/>
                  </a:cubicBezTo>
                  <a:cubicBezTo>
                    <a:pt x="72" y="18"/>
                    <a:pt x="80" y="17"/>
                    <a:pt x="83" y="15"/>
                  </a:cubicBezTo>
                  <a:cubicBezTo>
                    <a:pt x="85" y="13"/>
                    <a:pt x="85" y="15"/>
                    <a:pt x="86" y="12"/>
                  </a:cubicBezTo>
                  <a:cubicBezTo>
                    <a:pt x="83" y="7"/>
                    <a:pt x="80" y="10"/>
                    <a:pt x="79" y="7"/>
                  </a:cubicBezTo>
                  <a:cubicBezTo>
                    <a:pt x="79" y="4"/>
                    <a:pt x="72" y="4"/>
                    <a:pt x="62" y="4"/>
                  </a:cubicBezTo>
                  <a:cubicBezTo>
                    <a:pt x="50" y="3"/>
                    <a:pt x="50" y="6"/>
                    <a:pt x="47" y="4"/>
                  </a:cubicBezTo>
                  <a:cubicBezTo>
                    <a:pt x="45" y="3"/>
                    <a:pt x="41" y="0"/>
                    <a:pt x="36" y="1"/>
                  </a:cubicBezTo>
                  <a:cubicBezTo>
                    <a:pt x="30" y="3"/>
                    <a:pt x="35" y="10"/>
                    <a:pt x="32" y="9"/>
                  </a:cubicBezTo>
                  <a:cubicBezTo>
                    <a:pt x="29" y="7"/>
                    <a:pt x="22" y="4"/>
                    <a:pt x="18" y="4"/>
                  </a:cubicBezTo>
                  <a:cubicBezTo>
                    <a:pt x="13" y="6"/>
                    <a:pt x="13" y="9"/>
                    <a:pt x="13" y="10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37" name="Freeform 52">
              <a:extLst>
                <a:ext uri="{FF2B5EF4-FFF2-40B4-BE49-F238E27FC236}">
                  <a16:creationId xmlns:a16="http://schemas.microsoft.com/office/drawing/2014/main" id="{6414698E-A71F-4F8B-20A4-541AE03CE6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93987" y="3444498"/>
              <a:ext cx="199241" cy="155855"/>
            </a:xfrm>
            <a:custGeom>
              <a:avLst/>
              <a:gdLst/>
              <a:ahLst/>
              <a:cxnLst>
                <a:cxn ang="0">
                  <a:pos x="31" y="9"/>
                </a:cxn>
                <a:cxn ang="0">
                  <a:pos x="26" y="8"/>
                </a:cxn>
                <a:cxn ang="0">
                  <a:pos x="27" y="5"/>
                </a:cxn>
                <a:cxn ang="0">
                  <a:pos x="27" y="3"/>
                </a:cxn>
                <a:cxn ang="0">
                  <a:pos x="26" y="0"/>
                </a:cxn>
                <a:cxn ang="0">
                  <a:pos x="23" y="3"/>
                </a:cxn>
                <a:cxn ang="0">
                  <a:pos x="18" y="3"/>
                </a:cxn>
                <a:cxn ang="0">
                  <a:pos x="15" y="9"/>
                </a:cxn>
                <a:cxn ang="0">
                  <a:pos x="12" y="14"/>
                </a:cxn>
                <a:cxn ang="0">
                  <a:pos x="6" y="16"/>
                </a:cxn>
                <a:cxn ang="0">
                  <a:pos x="1" y="20"/>
                </a:cxn>
                <a:cxn ang="0">
                  <a:pos x="4" y="22"/>
                </a:cxn>
                <a:cxn ang="0">
                  <a:pos x="7" y="23"/>
                </a:cxn>
                <a:cxn ang="0">
                  <a:pos x="7" y="30"/>
                </a:cxn>
                <a:cxn ang="0">
                  <a:pos x="6" y="37"/>
                </a:cxn>
                <a:cxn ang="0">
                  <a:pos x="4" y="44"/>
                </a:cxn>
                <a:cxn ang="0">
                  <a:pos x="7" y="44"/>
                </a:cxn>
                <a:cxn ang="0">
                  <a:pos x="14" y="42"/>
                </a:cxn>
                <a:cxn ang="0">
                  <a:pos x="17" y="44"/>
                </a:cxn>
                <a:cxn ang="0">
                  <a:pos x="18" y="39"/>
                </a:cxn>
                <a:cxn ang="0">
                  <a:pos x="24" y="39"/>
                </a:cxn>
                <a:cxn ang="0">
                  <a:pos x="24" y="34"/>
                </a:cxn>
                <a:cxn ang="0">
                  <a:pos x="31" y="30"/>
                </a:cxn>
                <a:cxn ang="0">
                  <a:pos x="32" y="34"/>
                </a:cxn>
                <a:cxn ang="0">
                  <a:pos x="35" y="37"/>
                </a:cxn>
                <a:cxn ang="0">
                  <a:pos x="38" y="47"/>
                </a:cxn>
                <a:cxn ang="0">
                  <a:pos x="44" y="44"/>
                </a:cxn>
                <a:cxn ang="0">
                  <a:pos x="47" y="41"/>
                </a:cxn>
                <a:cxn ang="0">
                  <a:pos x="52" y="41"/>
                </a:cxn>
                <a:cxn ang="0">
                  <a:pos x="55" y="41"/>
                </a:cxn>
                <a:cxn ang="0">
                  <a:pos x="60" y="42"/>
                </a:cxn>
                <a:cxn ang="0">
                  <a:pos x="63" y="39"/>
                </a:cxn>
                <a:cxn ang="0">
                  <a:pos x="61" y="33"/>
                </a:cxn>
                <a:cxn ang="0">
                  <a:pos x="61" y="28"/>
                </a:cxn>
                <a:cxn ang="0">
                  <a:pos x="55" y="28"/>
                </a:cxn>
                <a:cxn ang="0">
                  <a:pos x="54" y="23"/>
                </a:cxn>
                <a:cxn ang="0">
                  <a:pos x="52" y="19"/>
                </a:cxn>
                <a:cxn ang="0">
                  <a:pos x="46" y="19"/>
                </a:cxn>
                <a:cxn ang="0">
                  <a:pos x="40" y="20"/>
                </a:cxn>
                <a:cxn ang="0">
                  <a:pos x="35" y="17"/>
                </a:cxn>
                <a:cxn ang="0">
                  <a:pos x="27" y="17"/>
                </a:cxn>
                <a:cxn ang="0">
                  <a:pos x="17" y="14"/>
                </a:cxn>
                <a:cxn ang="0">
                  <a:pos x="18" y="11"/>
                </a:cxn>
                <a:cxn ang="0">
                  <a:pos x="26" y="11"/>
                </a:cxn>
                <a:cxn ang="0">
                  <a:pos x="27" y="13"/>
                </a:cxn>
                <a:cxn ang="0">
                  <a:pos x="31" y="9"/>
                </a:cxn>
              </a:cxnLst>
              <a:rect l="0" t="0" r="r" b="b"/>
              <a:pathLst>
                <a:path w="64" h="50">
                  <a:moveTo>
                    <a:pt x="31" y="9"/>
                  </a:moveTo>
                  <a:cubicBezTo>
                    <a:pt x="26" y="11"/>
                    <a:pt x="27" y="8"/>
                    <a:pt x="26" y="8"/>
                  </a:cubicBezTo>
                  <a:cubicBezTo>
                    <a:pt x="24" y="8"/>
                    <a:pt x="26" y="6"/>
                    <a:pt x="27" y="5"/>
                  </a:cubicBezTo>
                  <a:cubicBezTo>
                    <a:pt x="29" y="3"/>
                    <a:pt x="29" y="3"/>
                    <a:pt x="27" y="3"/>
                  </a:cubicBezTo>
                  <a:cubicBezTo>
                    <a:pt x="27" y="3"/>
                    <a:pt x="27" y="0"/>
                    <a:pt x="26" y="0"/>
                  </a:cubicBezTo>
                  <a:cubicBezTo>
                    <a:pt x="24" y="0"/>
                    <a:pt x="26" y="2"/>
                    <a:pt x="23" y="3"/>
                  </a:cubicBezTo>
                  <a:cubicBezTo>
                    <a:pt x="18" y="5"/>
                    <a:pt x="18" y="2"/>
                    <a:pt x="18" y="3"/>
                  </a:cubicBezTo>
                  <a:cubicBezTo>
                    <a:pt x="15" y="5"/>
                    <a:pt x="18" y="9"/>
                    <a:pt x="15" y="9"/>
                  </a:cubicBezTo>
                  <a:cubicBezTo>
                    <a:pt x="10" y="9"/>
                    <a:pt x="15" y="9"/>
                    <a:pt x="12" y="14"/>
                  </a:cubicBezTo>
                  <a:cubicBezTo>
                    <a:pt x="10" y="17"/>
                    <a:pt x="9" y="17"/>
                    <a:pt x="6" y="16"/>
                  </a:cubicBezTo>
                  <a:cubicBezTo>
                    <a:pt x="3" y="16"/>
                    <a:pt x="0" y="20"/>
                    <a:pt x="1" y="20"/>
                  </a:cubicBezTo>
                  <a:cubicBezTo>
                    <a:pt x="3" y="20"/>
                    <a:pt x="4" y="20"/>
                    <a:pt x="4" y="22"/>
                  </a:cubicBezTo>
                  <a:cubicBezTo>
                    <a:pt x="4" y="25"/>
                    <a:pt x="6" y="22"/>
                    <a:pt x="7" y="23"/>
                  </a:cubicBezTo>
                  <a:cubicBezTo>
                    <a:pt x="9" y="25"/>
                    <a:pt x="6" y="27"/>
                    <a:pt x="7" y="30"/>
                  </a:cubicBezTo>
                  <a:cubicBezTo>
                    <a:pt x="10" y="33"/>
                    <a:pt x="9" y="33"/>
                    <a:pt x="6" y="37"/>
                  </a:cubicBezTo>
                  <a:cubicBezTo>
                    <a:pt x="4" y="41"/>
                    <a:pt x="4" y="42"/>
                    <a:pt x="4" y="44"/>
                  </a:cubicBezTo>
                  <a:cubicBezTo>
                    <a:pt x="6" y="47"/>
                    <a:pt x="7" y="47"/>
                    <a:pt x="7" y="44"/>
                  </a:cubicBezTo>
                  <a:cubicBezTo>
                    <a:pt x="9" y="42"/>
                    <a:pt x="10" y="42"/>
                    <a:pt x="14" y="42"/>
                  </a:cubicBezTo>
                  <a:cubicBezTo>
                    <a:pt x="15" y="41"/>
                    <a:pt x="17" y="44"/>
                    <a:pt x="17" y="44"/>
                  </a:cubicBezTo>
                  <a:cubicBezTo>
                    <a:pt x="18" y="44"/>
                    <a:pt x="17" y="41"/>
                    <a:pt x="18" y="39"/>
                  </a:cubicBezTo>
                  <a:cubicBezTo>
                    <a:pt x="21" y="37"/>
                    <a:pt x="23" y="41"/>
                    <a:pt x="24" y="39"/>
                  </a:cubicBezTo>
                  <a:cubicBezTo>
                    <a:pt x="26" y="37"/>
                    <a:pt x="23" y="36"/>
                    <a:pt x="24" y="34"/>
                  </a:cubicBezTo>
                  <a:cubicBezTo>
                    <a:pt x="27" y="33"/>
                    <a:pt x="26" y="28"/>
                    <a:pt x="31" y="30"/>
                  </a:cubicBezTo>
                  <a:cubicBezTo>
                    <a:pt x="35" y="31"/>
                    <a:pt x="32" y="33"/>
                    <a:pt x="32" y="34"/>
                  </a:cubicBezTo>
                  <a:cubicBezTo>
                    <a:pt x="33" y="36"/>
                    <a:pt x="35" y="31"/>
                    <a:pt x="35" y="37"/>
                  </a:cubicBezTo>
                  <a:cubicBezTo>
                    <a:pt x="33" y="47"/>
                    <a:pt x="35" y="50"/>
                    <a:pt x="38" y="47"/>
                  </a:cubicBezTo>
                  <a:cubicBezTo>
                    <a:pt x="41" y="45"/>
                    <a:pt x="44" y="45"/>
                    <a:pt x="44" y="44"/>
                  </a:cubicBezTo>
                  <a:cubicBezTo>
                    <a:pt x="44" y="42"/>
                    <a:pt x="46" y="42"/>
                    <a:pt x="47" y="41"/>
                  </a:cubicBezTo>
                  <a:cubicBezTo>
                    <a:pt x="49" y="39"/>
                    <a:pt x="54" y="39"/>
                    <a:pt x="52" y="41"/>
                  </a:cubicBezTo>
                  <a:cubicBezTo>
                    <a:pt x="50" y="44"/>
                    <a:pt x="52" y="44"/>
                    <a:pt x="55" y="41"/>
                  </a:cubicBezTo>
                  <a:cubicBezTo>
                    <a:pt x="58" y="39"/>
                    <a:pt x="61" y="41"/>
                    <a:pt x="60" y="42"/>
                  </a:cubicBezTo>
                  <a:cubicBezTo>
                    <a:pt x="63" y="42"/>
                    <a:pt x="64" y="41"/>
                    <a:pt x="63" y="39"/>
                  </a:cubicBezTo>
                  <a:cubicBezTo>
                    <a:pt x="60" y="37"/>
                    <a:pt x="63" y="34"/>
                    <a:pt x="61" y="33"/>
                  </a:cubicBezTo>
                  <a:cubicBezTo>
                    <a:pt x="60" y="31"/>
                    <a:pt x="61" y="30"/>
                    <a:pt x="61" y="28"/>
                  </a:cubicBezTo>
                  <a:cubicBezTo>
                    <a:pt x="60" y="27"/>
                    <a:pt x="55" y="25"/>
                    <a:pt x="55" y="28"/>
                  </a:cubicBezTo>
                  <a:cubicBezTo>
                    <a:pt x="55" y="30"/>
                    <a:pt x="52" y="27"/>
                    <a:pt x="54" y="23"/>
                  </a:cubicBezTo>
                  <a:cubicBezTo>
                    <a:pt x="54" y="22"/>
                    <a:pt x="50" y="22"/>
                    <a:pt x="52" y="19"/>
                  </a:cubicBezTo>
                  <a:cubicBezTo>
                    <a:pt x="49" y="17"/>
                    <a:pt x="50" y="20"/>
                    <a:pt x="46" y="19"/>
                  </a:cubicBezTo>
                  <a:cubicBezTo>
                    <a:pt x="41" y="17"/>
                    <a:pt x="41" y="22"/>
                    <a:pt x="40" y="20"/>
                  </a:cubicBezTo>
                  <a:cubicBezTo>
                    <a:pt x="38" y="19"/>
                    <a:pt x="37" y="22"/>
                    <a:pt x="35" y="17"/>
                  </a:cubicBezTo>
                  <a:cubicBezTo>
                    <a:pt x="33" y="14"/>
                    <a:pt x="29" y="20"/>
                    <a:pt x="27" y="17"/>
                  </a:cubicBezTo>
                  <a:cubicBezTo>
                    <a:pt x="27" y="16"/>
                    <a:pt x="17" y="19"/>
                    <a:pt x="17" y="14"/>
                  </a:cubicBezTo>
                  <a:cubicBezTo>
                    <a:pt x="17" y="11"/>
                    <a:pt x="18" y="14"/>
                    <a:pt x="18" y="11"/>
                  </a:cubicBezTo>
                  <a:cubicBezTo>
                    <a:pt x="18" y="9"/>
                    <a:pt x="23" y="9"/>
                    <a:pt x="26" y="11"/>
                  </a:cubicBezTo>
                  <a:cubicBezTo>
                    <a:pt x="27" y="11"/>
                    <a:pt x="26" y="14"/>
                    <a:pt x="27" y="13"/>
                  </a:cubicBezTo>
                  <a:cubicBezTo>
                    <a:pt x="29" y="9"/>
                    <a:pt x="29" y="11"/>
                    <a:pt x="31" y="9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38" name="Freeform 53">
              <a:extLst>
                <a:ext uri="{FF2B5EF4-FFF2-40B4-BE49-F238E27FC236}">
                  <a16:creationId xmlns:a16="http://schemas.microsoft.com/office/drawing/2014/main" id="{65C7AF13-6F7C-CDBF-9DB4-EE3FA95C0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97087" y="3965085"/>
              <a:ext cx="53024" cy="126933"/>
            </a:xfrm>
            <a:custGeom>
              <a:avLst/>
              <a:gdLst/>
              <a:ahLst/>
              <a:cxnLst>
                <a:cxn ang="0">
                  <a:pos x="3" y="12"/>
                </a:cxn>
                <a:cxn ang="0">
                  <a:pos x="11" y="3"/>
                </a:cxn>
                <a:cxn ang="0">
                  <a:pos x="14" y="3"/>
                </a:cxn>
                <a:cxn ang="0">
                  <a:pos x="16" y="9"/>
                </a:cxn>
                <a:cxn ang="0">
                  <a:pos x="13" y="22"/>
                </a:cxn>
                <a:cxn ang="0">
                  <a:pos x="8" y="34"/>
                </a:cxn>
                <a:cxn ang="0">
                  <a:pos x="5" y="33"/>
                </a:cxn>
                <a:cxn ang="0">
                  <a:pos x="2" y="26"/>
                </a:cxn>
                <a:cxn ang="0">
                  <a:pos x="3" y="12"/>
                </a:cxn>
              </a:cxnLst>
              <a:rect l="0" t="0" r="r" b="b"/>
              <a:pathLst>
                <a:path w="17" h="41">
                  <a:moveTo>
                    <a:pt x="3" y="12"/>
                  </a:moveTo>
                  <a:cubicBezTo>
                    <a:pt x="8" y="6"/>
                    <a:pt x="10" y="4"/>
                    <a:pt x="11" y="3"/>
                  </a:cubicBezTo>
                  <a:cubicBezTo>
                    <a:pt x="13" y="3"/>
                    <a:pt x="13" y="0"/>
                    <a:pt x="14" y="3"/>
                  </a:cubicBezTo>
                  <a:cubicBezTo>
                    <a:pt x="17" y="6"/>
                    <a:pt x="14" y="6"/>
                    <a:pt x="16" y="9"/>
                  </a:cubicBezTo>
                  <a:cubicBezTo>
                    <a:pt x="16" y="11"/>
                    <a:pt x="14" y="14"/>
                    <a:pt x="13" y="22"/>
                  </a:cubicBezTo>
                  <a:cubicBezTo>
                    <a:pt x="11" y="31"/>
                    <a:pt x="8" y="28"/>
                    <a:pt x="8" y="34"/>
                  </a:cubicBezTo>
                  <a:cubicBezTo>
                    <a:pt x="8" y="41"/>
                    <a:pt x="7" y="36"/>
                    <a:pt x="5" y="33"/>
                  </a:cubicBezTo>
                  <a:cubicBezTo>
                    <a:pt x="5" y="30"/>
                    <a:pt x="3" y="33"/>
                    <a:pt x="2" y="26"/>
                  </a:cubicBezTo>
                  <a:cubicBezTo>
                    <a:pt x="0" y="22"/>
                    <a:pt x="0" y="19"/>
                    <a:pt x="3" y="12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39" name="Freeform 54">
              <a:extLst>
                <a:ext uri="{FF2B5EF4-FFF2-40B4-BE49-F238E27FC236}">
                  <a16:creationId xmlns:a16="http://schemas.microsoft.com/office/drawing/2014/main" id="{54ABCE02-2E4C-41A4-7312-8E5525B942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09562" y="3378621"/>
              <a:ext cx="155858" cy="189597"/>
            </a:xfrm>
            <a:custGeom>
              <a:avLst/>
              <a:gdLst/>
              <a:ahLst/>
              <a:cxnLst>
                <a:cxn ang="0">
                  <a:pos x="0" y="34"/>
                </a:cxn>
                <a:cxn ang="0">
                  <a:pos x="3" y="37"/>
                </a:cxn>
                <a:cxn ang="0">
                  <a:pos x="7" y="42"/>
                </a:cxn>
                <a:cxn ang="0">
                  <a:pos x="6" y="48"/>
                </a:cxn>
                <a:cxn ang="0">
                  <a:pos x="4" y="51"/>
                </a:cxn>
                <a:cxn ang="0">
                  <a:pos x="4" y="54"/>
                </a:cxn>
                <a:cxn ang="0">
                  <a:pos x="6" y="57"/>
                </a:cxn>
                <a:cxn ang="0">
                  <a:pos x="9" y="59"/>
                </a:cxn>
                <a:cxn ang="0">
                  <a:pos x="12" y="57"/>
                </a:cxn>
                <a:cxn ang="0">
                  <a:pos x="14" y="57"/>
                </a:cxn>
                <a:cxn ang="0">
                  <a:pos x="18" y="57"/>
                </a:cxn>
                <a:cxn ang="0">
                  <a:pos x="21" y="53"/>
                </a:cxn>
                <a:cxn ang="0">
                  <a:pos x="30" y="51"/>
                </a:cxn>
                <a:cxn ang="0">
                  <a:pos x="32" y="48"/>
                </a:cxn>
                <a:cxn ang="0">
                  <a:pos x="27" y="45"/>
                </a:cxn>
                <a:cxn ang="0">
                  <a:pos x="24" y="42"/>
                </a:cxn>
                <a:cxn ang="0">
                  <a:pos x="24" y="39"/>
                </a:cxn>
                <a:cxn ang="0">
                  <a:pos x="27" y="34"/>
                </a:cxn>
                <a:cxn ang="0">
                  <a:pos x="33" y="31"/>
                </a:cxn>
                <a:cxn ang="0">
                  <a:pos x="41" y="25"/>
                </a:cxn>
                <a:cxn ang="0">
                  <a:pos x="43" y="19"/>
                </a:cxn>
                <a:cxn ang="0">
                  <a:pos x="43" y="14"/>
                </a:cxn>
                <a:cxn ang="0">
                  <a:pos x="47" y="8"/>
                </a:cxn>
                <a:cxn ang="0">
                  <a:pos x="50" y="8"/>
                </a:cxn>
                <a:cxn ang="0">
                  <a:pos x="49" y="6"/>
                </a:cxn>
                <a:cxn ang="0">
                  <a:pos x="47" y="5"/>
                </a:cxn>
                <a:cxn ang="0">
                  <a:pos x="44" y="0"/>
                </a:cxn>
                <a:cxn ang="0">
                  <a:pos x="41" y="6"/>
                </a:cxn>
                <a:cxn ang="0">
                  <a:pos x="36" y="11"/>
                </a:cxn>
                <a:cxn ang="0">
                  <a:pos x="33" y="11"/>
                </a:cxn>
                <a:cxn ang="0">
                  <a:pos x="29" y="12"/>
                </a:cxn>
                <a:cxn ang="0">
                  <a:pos x="30" y="17"/>
                </a:cxn>
                <a:cxn ang="0">
                  <a:pos x="27" y="17"/>
                </a:cxn>
                <a:cxn ang="0">
                  <a:pos x="23" y="17"/>
                </a:cxn>
                <a:cxn ang="0">
                  <a:pos x="20" y="14"/>
                </a:cxn>
                <a:cxn ang="0">
                  <a:pos x="18" y="15"/>
                </a:cxn>
                <a:cxn ang="0">
                  <a:pos x="17" y="19"/>
                </a:cxn>
                <a:cxn ang="0">
                  <a:pos x="12" y="23"/>
                </a:cxn>
                <a:cxn ang="0">
                  <a:pos x="9" y="25"/>
                </a:cxn>
                <a:cxn ang="0">
                  <a:pos x="7" y="26"/>
                </a:cxn>
                <a:cxn ang="0">
                  <a:pos x="4" y="28"/>
                </a:cxn>
                <a:cxn ang="0">
                  <a:pos x="0" y="33"/>
                </a:cxn>
                <a:cxn ang="0">
                  <a:pos x="0" y="34"/>
                </a:cxn>
              </a:cxnLst>
              <a:rect l="0" t="0" r="r" b="b"/>
              <a:pathLst>
                <a:path w="50" h="61">
                  <a:moveTo>
                    <a:pt x="0" y="34"/>
                  </a:moveTo>
                  <a:cubicBezTo>
                    <a:pt x="0" y="36"/>
                    <a:pt x="1" y="39"/>
                    <a:pt x="3" y="37"/>
                  </a:cubicBezTo>
                  <a:cubicBezTo>
                    <a:pt x="4" y="36"/>
                    <a:pt x="9" y="39"/>
                    <a:pt x="7" y="42"/>
                  </a:cubicBezTo>
                  <a:cubicBezTo>
                    <a:pt x="7" y="45"/>
                    <a:pt x="4" y="47"/>
                    <a:pt x="6" y="48"/>
                  </a:cubicBezTo>
                  <a:cubicBezTo>
                    <a:pt x="7" y="50"/>
                    <a:pt x="4" y="48"/>
                    <a:pt x="4" y="51"/>
                  </a:cubicBezTo>
                  <a:cubicBezTo>
                    <a:pt x="3" y="54"/>
                    <a:pt x="0" y="54"/>
                    <a:pt x="4" y="54"/>
                  </a:cubicBezTo>
                  <a:cubicBezTo>
                    <a:pt x="7" y="56"/>
                    <a:pt x="1" y="56"/>
                    <a:pt x="6" y="57"/>
                  </a:cubicBezTo>
                  <a:cubicBezTo>
                    <a:pt x="9" y="57"/>
                    <a:pt x="6" y="61"/>
                    <a:pt x="9" y="59"/>
                  </a:cubicBezTo>
                  <a:cubicBezTo>
                    <a:pt x="11" y="57"/>
                    <a:pt x="9" y="54"/>
                    <a:pt x="12" y="57"/>
                  </a:cubicBezTo>
                  <a:cubicBezTo>
                    <a:pt x="14" y="59"/>
                    <a:pt x="14" y="59"/>
                    <a:pt x="14" y="57"/>
                  </a:cubicBezTo>
                  <a:cubicBezTo>
                    <a:pt x="15" y="56"/>
                    <a:pt x="17" y="57"/>
                    <a:pt x="18" y="57"/>
                  </a:cubicBezTo>
                  <a:cubicBezTo>
                    <a:pt x="18" y="56"/>
                    <a:pt x="18" y="54"/>
                    <a:pt x="21" y="53"/>
                  </a:cubicBezTo>
                  <a:cubicBezTo>
                    <a:pt x="26" y="51"/>
                    <a:pt x="27" y="53"/>
                    <a:pt x="30" y="51"/>
                  </a:cubicBezTo>
                  <a:cubicBezTo>
                    <a:pt x="32" y="51"/>
                    <a:pt x="29" y="50"/>
                    <a:pt x="32" y="48"/>
                  </a:cubicBezTo>
                  <a:cubicBezTo>
                    <a:pt x="30" y="47"/>
                    <a:pt x="30" y="48"/>
                    <a:pt x="27" y="45"/>
                  </a:cubicBezTo>
                  <a:cubicBezTo>
                    <a:pt x="26" y="42"/>
                    <a:pt x="24" y="43"/>
                    <a:pt x="24" y="42"/>
                  </a:cubicBezTo>
                  <a:cubicBezTo>
                    <a:pt x="23" y="40"/>
                    <a:pt x="26" y="43"/>
                    <a:pt x="24" y="39"/>
                  </a:cubicBezTo>
                  <a:cubicBezTo>
                    <a:pt x="24" y="34"/>
                    <a:pt x="26" y="37"/>
                    <a:pt x="27" y="34"/>
                  </a:cubicBezTo>
                  <a:cubicBezTo>
                    <a:pt x="29" y="31"/>
                    <a:pt x="29" y="36"/>
                    <a:pt x="33" y="31"/>
                  </a:cubicBezTo>
                  <a:cubicBezTo>
                    <a:pt x="38" y="28"/>
                    <a:pt x="40" y="25"/>
                    <a:pt x="41" y="25"/>
                  </a:cubicBezTo>
                  <a:cubicBezTo>
                    <a:pt x="43" y="25"/>
                    <a:pt x="43" y="20"/>
                    <a:pt x="43" y="19"/>
                  </a:cubicBezTo>
                  <a:cubicBezTo>
                    <a:pt x="43" y="17"/>
                    <a:pt x="41" y="17"/>
                    <a:pt x="43" y="14"/>
                  </a:cubicBezTo>
                  <a:cubicBezTo>
                    <a:pt x="46" y="11"/>
                    <a:pt x="46" y="9"/>
                    <a:pt x="47" y="8"/>
                  </a:cubicBezTo>
                  <a:cubicBezTo>
                    <a:pt x="49" y="8"/>
                    <a:pt x="49" y="9"/>
                    <a:pt x="50" y="8"/>
                  </a:cubicBezTo>
                  <a:cubicBezTo>
                    <a:pt x="49" y="6"/>
                    <a:pt x="49" y="6"/>
                    <a:pt x="49" y="6"/>
                  </a:cubicBezTo>
                  <a:cubicBezTo>
                    <a:pt x="49" y="3"/>
                    <a:pt x="49" y="6"/>
                    <a:pt x="47" y="5"/>
                  </a:cubicBezTo>
                  <a:cubicBezTo>
                    <a:pt x="46" y="3"/>
                    <a:pt x="47" y="2"/>
                    <a:pt x="44" y="0"/>
                  </a:cubicBezTo>
                  <a:cubicBezTo>
                    <a:pt x="41" y="0"/>
                    <a:pt x="44" y="8"/>
                    <a:pt x="41" y="6"/>
                  </a:cubicBezTo>
                  <a:cubicBezTo>
                    <a:pt x="38" y="6"/>
                    <a:pt x="40" y="9"/>
                    <a:pt x="36" y="11"/>
                  </a:cubicBezTo>
                  <a:cubicBezTo>
                    <a:pt x="35" y="12"/>
                    <a:pt x="36" y="11"/>
                    <a:pt x="33" y="11"/>
                  </a:cubicBezTo>
                  <a:cubicBezTo>
                    <a:pt x="32" y="12"/>
                    <a:pt x="29" y="9"/>
                    <a:pt x="29" y="12"/>
                  </a:cubicBezTo>
                  <a:cubicBezTo>
                    <a:pt x="29" y="15"/>
                    <a:pt x="32" y="15"/>
                    <a:pt x="30" y="17"/>
                  </a:cubicBezTo>
                  <a:cubicBezTo>
                    <a:pt x="29" y="19"/>
                    <a:pt x="29" y="17"/>
                    <a:pt x="27" y="17"/>
                  </a:cubicBezTo>
                  <a:cubicBezTo>
                    <a:pt x="26" y="19"/>
                    <a:pt x="24" y="17"/>
                    <a:pt x="23" y="17"/>
                  </a:cubicBezTo>
                  <a:cubicBezTo>
                    <a:pt x="21" y="17"/>
                    <a:pt x="21" y="12"/>
                    <a:pt x="20" y="14"/>
                  </a:cubicBezTo>
                  <a:cubicBezTo>
                    <a:pt x="18" y="15"/>
                    <a:pt x="20" y="14"/>
                    <a:pt x="18" y="15"/>
                  </a:cubicBezTo>
                  <a:cubicBezTo>
                    <a:pt x="17" y="17"/>
                    <a:pt x="18" y="17"/>
                    <a:pt x="17" y="19"/>
                  </a:cubicBezTo>
                  <a:cubicBezTo>
                    <a:pt x="15" y="20"/>
                    <a:pt x="14" y="23"/>
                    <a:pt x="12" y="23"/>
                  </a:cubicBezTo>
                  <a:cubicBezTo>
                    <a:pt x="9" y="23"/>
                    <a:pt x="11" y="25"/>
                    <a:pt x="9" y="25"/>
                  </a:cubicBezTo>
                  <a:cubicBezTo>
                    <a:pt x="7" y="25"/>
                    <a:pt x="9" y="26"/>
                    <a:pt x="7" y="26"/>
                  </a:cubicBezTo>
                  <a:cubicBezTo>
                    <a:pt x="4" y="28"/>
                    <a:pt x="6" y="28"/>
                    <a:pt x="4" y="28"/>
                  </a:cubicBezTo>
                  <a:cubicBezTo>
                    <a:pt x="3" y="28"/>
                    <a:pt x="1" y="31"/>
                    <a:pt x="0" y="33"/>
                  </a:cubicBezTo>
                  <a:cubicBezTo>
                    <a:pt x="0" y="34"/>
                    <a:pt x="0" y="34"/>
                    <a:pt x="0" y="34"/>
                  </a:cubicBezTo>
                  <a:close/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40" name="Freeform 55">
              <a:extLst>
                <a:ext uri="{FF2B5EF4-FFF2-40B4-BE49-F238E27FC236}">
                  <a16:creationId xmlns:a16="http://schemas.microsoft.com/office/drawing/2014/main" id="{DE970E81-C4E0-1064-315E-811644C3D8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49731" y="3528048"/>
              <a:ext cx="88374" cy="149428"/>
            </a:xfrm>
            <a:custGeom>
              <a:avLst/>
              <a:gdLst/>
              <a:ahLst/>
              <a:cxnLst>
                <a:cxn ang="0">
                  <a:pos x="5" y="9"/>
                </a:cxn>
                <a:cxn ang="0">
                  <a:pos x="3" y="10"/>
                </a:cxn>
                <a:cxn ang="0">
                  <a:pos x="5" y="15"/>
                </a:cxn>
                <a:cxn ang="0">
                  <a:pos x="6" y="20"/>
                </a:cxn>
                <a:cxn ang="0">
                  <a:pos x="5" y="18"/>
                </a:cxn>
                <a:cxn ang="0">
                  <a:pos x="2" y="18"/>
                </a:cxn>
                <a:cxn ang="0">
                  <a:pos x="2" y="20"/>
                </a:cxn>
                <a:cxn ang="0">
                  <a:pos x="0" y="21"/>
                </a:cxn>
                <a:cxn ang="0">
                  <a:pos x="3" y="23"/>
                </a:cxn>
                <a:cxn ang="0">
                  <a:pos x="3" y="28"/>
                </a:cxn>
                <a:cxn ang="0">
                  <a:pos x="5" y="31"/>
                </a:cxn>
                <a:cxn ang="0">
                  <a:pos x="3" y="34"/>
                </a:cxn>
                <a:cxn ang="0">
                  <a:pos x="2" y="39"/>
                </a:cxn>
                <a:cxn ang="0">
                  <a:pos x="2" y="42"/>
                </a:cxn>
                <a:cxn ang="0">
                  <a:pos x="2" y="43"/>
                </a:cxn>
                <a:cxn ang="0">
                  <a:pos x="3" y="45"/>
                </a:cxn>
                <a:cxn ang="0">
                  <a:pos x="5" y="45"/>
                </a:cxn>
                <a:cxn ang="0">
                  <a:pos x="6" y="47"/>
                </a:cxn>
                <a:cxn ang="0">
                  <a:pos x="8" y="43"/>
                </a:cxn>
                <a:cxn ang="0">
                  <a:pos x="9" y="43"/>
                </a:cxn>
                <a:cxn ang="0">
                  <a:pos x="11" y="45"/>
                </a:cxn>
                <a:cxn ang="0">
                  <a:pos x="11" y="43"/>
                </a:cxn>
                <a:cxn ang="0">
                  <a:pos x="11" y="42"/>
                </a:cxn>
                <a:cxn ang="0">
                  <a:pos x="13" y="43"/>
                </a:cxn>
                <a:cxn ang="0">
                  <a:pos x="13" y="40"/>
                </a:cxn>
                <a:cxn ang="0">
                  <a:pos x="19" y="42"/>
                </a:cxn>
                <a:cxn ang="0">
                  <a:pos x="20" y="39"/>
                </a:cxn>
                <a:cxn ang="0">
                  <a:pos x="25" y="39"/>
                </a:cxn>
                <a:cxn ang="0">
                  <a:pos x="28" y="29"/>
                </a:cxn>
                <a:cxn ang="0">
                  <a:pos x="26" y="28"/>
                </a:cxn>
                <a:cxn ang="0">
                  <a:pos x="26" y="20"/>
                </a:cxn>
                <a:cxn ang="0">
                  <a:pos x="22" y="7"/>
                </a:cxn>
                <a:cxn ang="0">
                  <a:pos x="19" y="0"/>
                </a:cxn>
                <a:cxn ang="0">
                  <a:pos x="17" y="3"/>
                </a:cxn>
                <a:cxn ang="0">
                  <a:pos x="8" y="4"/>
                </a:cxn>
                <a:cxn ang="0">
                  <a:pos x="5" y="9"/>
                </a:cxn>
              </a:cxnLst>
              <a:rect l="0" t="0" r="r" b="b"/>
              <a:pathLst>
                <a:path w="28" h="48">
                  <a:moveTo>
                    <a:pt x="5" y="9"/>
                  </a:moveTo>
                  <a:cubicBezTo>
                    <a:pt x="5" y="10"/>
                    <a:pt x="5" y="9"/>
                    <a:pt x="3" y="10"/>
                  </a:cubicBezTo>
                  <a:cubicBezTo>
                    <a:pt x="3" y="12"/>
                    <a:pt x="6" y="14"/>
                    <a:pt x="5" y="15"/>
                  </a:cubicBezTo>
                  <a:cubicBezTo>
                    <a:pt x="3" y="17"/>
                    <a:pt x="8" y="17"/>
                    <a:pt x="6" y="20"/>
                  </a:cubicBezTo>
                  <a:cubicBezTo>
                    <a:pt x="6" y="21"/>
                    <a:pt x="6" y="18"/>
                    <a:pt x="5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20"/>
                    <a:pt x="2" y="20"/>
                    <a:pt x="2" y="20"/>
                  </a:cubicBezTo>
                  <a:cubicBezTo>
                    <a:pt x="0" y="18"/>
                    <a:pt x="0" y="21"/>
                    <a:pt x="0" y="21"/>
                  </a:cubicBezTo>
                  <a:cubicBezTo>
                    <a:pt x="2" y="23"/>
                    <a:pt x="3" y="20"/>
                    <a:pt x="3" y="23"/>
                  </a:cubicBezTo>
                  <a:cubicBezTo>
                    <a:pt x="3" y="25"/>
                    <a:pt x="3" y="28"/>
                    <a:pt x="3" y="28"/>
                  </a:cubicBezTo>
                  <a:cubicBezTo>
                    <a:pt x="5" y="29"/>
                    <a:pt x="3" y="29"/>
                    <a:pt x="5" y="31"/>
                  </a:cubicBezTo>
                  <a:cubicBezTo>
                    <a:pt x="6" y="32"/>
                    <a:pt x="3" y="31"/>
                    <a:pt x="3" y="34"/>
                  </a:cubicBezTo>
                  <a:cubicBezTo>
                    <a:pt x="2" y="37"/>
                    <a:pt x="0" y="39"/>
                    <a:pt x="2" y="39"/>
                  </a:cubicBezTo>
                  <a:cubicBezTo>
                    <a:pt x="2" y="40"/>
                    <a:pt x="2" y="40"/>
                    <a:pt x="2" y="42"/>
                  </a:cubicBezTo>
                  <a:cubicBezTo>
                    <a:pt x="3" y="43"/>
                    <a:pt x="2" y="42"/>
                    <a:pt x="2" y="43"/>
                  </a:cubicBezTo>
                  <a:cubicBezTo>
                    <a:pt x="2" y="45"/>
                    <a:pt x="3" y="43"/>
                    <a:pt x="3" y="45"/>
                  </a:cubicBezTo>
                  <a:cubicBezTo>
                    <a:pt x="3" y="48"/>
                    <a:pt x="3" y="48"/>
                    <a:pt x="5" y="45"/>
                  </a:cubicBezTo>
                  <a:cubicBezTo>
                    <a:pt x="6" y="42"/>
                    <a:pt x="5" y="47"/>
                    <a:pt x="6" y="47"/>
                  </a:cubicBezTo>
                  <a:cubicBezTo>
                    <a:pt x="6" y="47"/>
                    <a:pt x="6" y="45"/>
                    <a:pt x="8" y="43"/>
                  </a:cubicBezTo>
                  <a:cubicBezTo>
                    <a:pt x="9" y="42"/>
                    <a:pt x="11" y="42"/>
                    <a:pt x="9" y="43"/>
                  </a:cubicBezTo>
                  <a:cubicBezTo>
                    <a:pt x="8" y="45"/>
                    <a:pt x="9" y="47"/>
                    <a:pt x="11" y="45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2"/>
                    <a:pt x="11" y="40"/>
                    <a:pt x="11" y="4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4" y="42"/>
                    <a:pt x="11" y="42"/>
                    <a:pt x="13" y="40"/>
                  </a:cubicBezTo>
                  <a:cubicBezTo>
                    <a:pt x="16" y="40"/>
                    <a:pt x="17" y="42"/>
                    <a:pt x="19" y="42"/>
                  </a:cubicBezTo>
                  <a:cubicBezTo>
                    <a:pt x="20" y="40"/>
                    <a:pt x="19" y="40"/>
                    <a:pt x="20" y="39"/>
                  </a:cubicBezTo>
                  <a:cubicBezTo>
                    <a:pt x="22" y="39"/>
                    <a:pt x="23" y="40"/>
                    <a:pt x="25" y="39"/>
                  </a:cubicBezTo>
                  <a:cubicBezTo>
                    <a:pt x="25" y="37"/>
                    <a:pt x="28" y="32"/>
                    <a:pt x="28" y="29"/>
                  </a:cubicBezTo>
                  <a:cubicBezTo>
                    <a:pt x="28" y="26"/>
                    <a:pt x="26" y="31"/>
                    <a:pt x="26" y="28"/>
                  </a:cubicBezTo>
                  <a:cubicBezTo>
                    <a:pt x="26" y="23"/>
                    <a:pt x="28" y="23"/>
                    <a:pt x="26" y="20"/>
                  </a:cubicBezTo>
                  <a:cubicBezTo>
                    <a:pt x="26" y="15"/>
                    <a:pt x="23" y="10"/>
                    <a:pt x="22" y="7"/>
                  </a:cubicBezTo>
                  <a:cubicBezTo>
                    <a:pt x="20" y="4"/>
                    <a:pt x="19" y="1"/>
                    <a:pt x="19" y="0"/>
                  </a:cubicBezTo>
                  <a:cubicBezTo>
                    <a:pt x="16" y="1"/>
                    <a:pt x="19" y="3"/>
                    <a:pt x="17" y="3"/>
                  </a:cubicBezTo>
                  <a:cubicBezTo>
                    <a:pt x="14" y="4"/>
                    <a:pt x="13" y="3"/>
                    <a:pt x="8" y="4"/>
                  </a:cubicBezTo>
                  <a:cubicBezTo>
                    <a:pt x="5" y="6"/>
                    <a:pt x="5" y="7"/>
                    <a:pt x="5" y="9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41" name="Freeform 56">
              <a:extLst>
                <a:ext uri="{FF2B5EF4-FFF2-40B4-BE49-F238E27FC236}">
                  <a16:creationId xmlns:a16="http://schemas.microsoft.com/office/drawing/2014/main" id="{30D83392-D54A-3E2D-0363-36D9BAB17B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46518" y="3699971"/>
              <a:ext cx="28922" cy="17674"/>
            </a:xfrm>
            <a:custGeom>
              <a:avLst/>
              <a:gdLst/>
              <a:ahLst/>
              <a:cxnLst>
                <a:cxn ang="0">
                  <a:pos x="1" y="4"/>
                </a:cxn>
                <a:cxn ang="0">
                  <a:pos x="8" y="1"/>
                </a:cxn>
                <a:cxn ang="0">
                  <a:pos x="1" y="4"/>
                </a:cxn>
              </a:cxnLst>
              <a:rect l="0" t="0" r="r" b="b"/>
              <a:pathLst>
                <a:path w="9" h="6">
                  <a:moveTo>
                    <a:pt x="1" y="4"/>
                  </a:moveTo>
                  <a:cubicBezTo>
                    <a:pt x="0" y="1"/>
                    <a:pt x="8" y="0"/>
                    <a:pt x="8" y="1"/>
                  </a:cubicBezTo>
                  <a:cubicBezTo>
                    <a:pt x="9" y="3"/>
                    <a:pt x="3" y="6"/>
                    <a:pt x="1" y="4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42" name="Freeform 57">
              <a:extLst>
                <a:ext uri="{FF2B5EF4-FFF2-40B4-BE49-F238E27FC236}">
                  <a16:creationId xmlns:a16="http://schemas.microsoft.com/office/drawing/2014/main" id="{B86BFB50-2CA6-F14E-C790-2C5C28E53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28464" y="3661409"/>
              <a:ext cx="9641" cy="22494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0" y="3"/>
                </a:cxn>
                <a:cxn ang="0">
                  <a:pos x="1" y="0"/>
                </a:cxn>
                <a:cxn ang="0">
                  <a:pos x="1" y="3"/>
                </a:cxn>
                <a:cxn ang="0">
                  <a:pos x="0" y="7"/>
                </a:cxn>
              </a:cxnLst>
              <a:rect l="0" t="0" r="r" b="b"/>
              <a:pathLst>
                <a:path w="3" h="7">
                  <a:moveTo>
                    <a:pt x="0" y="7"/>
                  </a:moveTo>
                  <a:cubicBezTo>
                    <a:pt x="0" y="7"/>
                    <a:pt x="0" y="5"/>
                    <a:pt x="0" y="3"/>
                  </a:cubicBezTo>
                  <a:cubicBezTo>
                    <a:pt x="1" y="2"/>
                    <a:pt x="0" y="0"/>
                    <a:pt x="1" y="0"/>
                  </a:cubicBezTo>
                  <a:cubicBezTo>
                    <a:pt x="3" y="0"/>
                    <a:pt x="3" y="2"/>
                    <a:pt x="1" y="3"/>
                  </a:cubicBezTo>
                  <a:cubicBezTo>
                    <a:pt x="0" y="5"/>
                    <a:pt x="1" y="7"/>
                    <a:pt x="0" y="7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43" name="Freeform 58">
              <a:extLst>
                <a:ext uri="{FF2B5EF4-FFF2-40B4-BE49-F238E27FC236}">
                  <a16:creationId xmlns:a16="http://schemas.microsoft.com/office/drawing/2014/main" id="{4559711B-31F3-7A41-1E14-CB3E934D1D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46518" y="3667836"/>
              <a:ext cx="12854" cy="6427"/>
            </a:xfrm>
            <a:custGeom>
              <a:avLst/>
              <a:gdLst/>
              <a:ahLst/>
              <a:cxnLst>
                <a:cxn ang="0">
                  <a:pos x="1" y="2"/>
                </a:cxn>
                <a:cxn ang="0">
                  <a:pos x="3" y="0"/>
                </a:cxn>
                <a:cxn ang="0">
                  <a:pos x="1" y="2"/>
                </a:cxn>
              </a:cxnLst>
              <a:rect l="0" t="0" r="r" b="b"/>
              <a:pathLst>
                <a:path w="4" h="2">
                  <a:moveTo>
                    <a:pt x="1" y="2"/>
                  </a:moveTo>
                  <a:cubicBezTo>
                    <a:pt x="0" y="2"/>
                    <a:pt x="3" y="0"/>
                    <a:pt x="3" y="0"/>
                  </a:cubicBezTo>
                  <a:cubicBezTo>
                    <a:pt x="4" y="2"/>
                    <a:pt x="1" y="2"/>
                    <a:pt x="1" y="2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44" name="Freeform 59">
              <a:extLst>
                <a:ext uri="{FF2B5EF4-FFF2-40B4-BE49-F238E27FC236}">
                  <a16:creationId xmlns:a16="http://schemas.microsoft.com/office/drawing/2014/main" id="{BD4127D7-64A9-A34C-A475-4436292BD4B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46518" y="3653376"/>
              <a:ext cx="3213" cy="8034"/>
            </a:xfrm>
            <a:custGeom>
              <a:avLst/>
              <a:gdLst/>
              <a:ahLst/>
              <a:cxnLst>
                <a:cxn ang="0">
                  <a:pos x="1" y="3"/>
                </a:cxn>
                <a:cxn ang="0">
                  <a:pos x="1" y="0"/>
                </a:cxn>
                <a:cxn ang="0">
                  <a:pos x="1" y="2"/>
                </a:cxn>
                <a:cxn ang="0">
                  <a:pos x="1" y="3"/>
                </a:cxn>
              </a:cxnLst>
              <a:rect l="0" t="0" r="r" b="b"/>
              <a:pathLst>
                <a:path w="1" h="3">
                  <a:moveTo>
                    <a:pt x="1" y="3"/>
                  </a:moveTo>
                  <a:cubicBezTo>
                    <a:pt x="1" y="2"/>
                    <a:pt x="0" y="2"/>
                    <a:pt x="1" y="0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3"/>
                    <a:pt x="1" y="3"/>
                    <a:pt x="1" y="3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45" name="Freeform 60">
              <a:extLst>
                <a:ext uri="{FF2B5EF4-FFF2-40B4-BE49-F238E27FC236}">
                  <a16:creationId xmlns:a16="http://schemas.microsoft.com/office/drawing/2014/main" id="{3C2BF5FF-2F0E-B17B-0D8D-0C6F422696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56159" y="3600352"/>
              <a:ext cx="3213" cy="6427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0"/>
                </a:cxn>
                <a:cxn ang="0">
                  <a:pos x="0" y="2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2"/>
                    <a:pt x="0" y="2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46" name="Freeform 61">
              <a:extLst>
                <a:ext uri="{FF2B5EF4-FFF2-40B4-BE49-F238E27FC236}">
                  <a16:creationId xmlns:a16="http://schemas.microsoft.com/office/drawing/2014/main" id="{FD45D5A4-FDAA-189D-0774-3F745361C8C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09183" y="3653376"/>
              <a:ext cx="9641" cy="8034"/>
            </a:xfrm>
            <a:custGeom>
              <a:avLst/>
              <a:gdLst/>
              <a:ahLst/>
              <a:cxnLst>
                <a:cxn ang="0">
                  <a:pos x="1" y="3"/>
                </a:cxn>
                <a:cxn ang="0">
                  <a:pos x="1" y="0"/>
                </a:cxn>
                <a:cxn ang="0">
                  <a:pos x="1" y="3"/>
                </a:cxn>
              </a:cxnLst>
              <a:rect l="0" t="0" r="r" b="b"/>
              <a:pathLst>
                <a:path w="3" h="3">
                  <a:moveTo>
                    <a:pt x="1" y="3"/>
                  </a:moveTo>
                  <a:cubicBezTo>
                    <a:pt x="0" y="3"/>
                    <a:pt x="0" y="0"/>
                    <a:pt x="1" y="0"/>
                  </a:cubicBezTo>
                  <a:cubicBezTo>
                    <a:pt x="3" y="0"/>
                    <a:pt x="3" y="2"/>
                    <a:pt x="1" y="3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47" name="Freeform 62">
              <a:extLst>
                <a:ext uri="{FF2B5EF4-FFF2-40B4-BE49-F238E27FC236}">
                  <a16:creationId xmlns:a16="http://schemas.microsoft.com/office/drawing/2014/main" id="{8E60FAFC-1756-5FE7-F5C3-72D64ED088E6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93115" y="3653376"/>
              <a:ext cx="6427" cy="8034"/>
            </a:xfrm>
            <a:custGeom>
              <a:avLst/>
              <a:gdLst/>
              <a:ahLst/>
              <a:cxnLst>
                <a:cxn ang="0">
                  <a:pos x="2" y="3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2" y="3"/>
                </a:cxn>
              </a:cxnLst>
              <a:rect l="0" t="0" r="r" b="b"/>
              <a:pathLst>
                <a:path w="2" h="3">
                  <a:moveTo>
                    <a:pt x="2" y="3"/>
                  </a:moveTo>
                  <a:cubicBezTo>
                    <a:pt x="0" y="2"/>
                    <a:pt x="0" y="2"/>
                    <a:pt x="0" y="0"/>
                  </a:cubicBezTo>
                  <a:cubicBezTo>
                    <a:pt x="0" y="0"/>
                    <a:pt x="2" y="0"/>
                    <a:pt x="2" y="2"/>
                  </a:cubicBezTo>
                  <a:cubicBezTo>
                    <a:pt x="2" y="3"/>
                    <a:pt x="2" y="3"/>
                    <a:pt x="2" y="3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48" name="Freeform 63">
              <a:extLst>
                <a:ext uri="{FF2B5EF4-FFF2-40B4-BE49-F238E27FC236}">
                  <a16:creationId xmlns:a16="http://schemas.microsoft.com/office/drawing/2014/main" id="{87BE3FD2-65E3-DCEC-4A14-DE1173F2FD2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59372" y="3677476"/>
              <a:ext cx="6427" cy="6427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0" y="0"/>
                </a:cxn>
                <a:cxn ang="0">
                  <a:pos x="2" y="2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cubicBezTo>
                    <a:pt x="0" y="2"/>
                    <a:pt x="0" y="2"/>
                    <a:pt x="0" y="0"/>
                  </a:cubicBezTo>
                  <a:cubicBezTo>
                    <a:pt x="2" y="0"/>
                    <a:pt x="2" y="2"/>
                    <a:pt x="2" y="2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49" name="Freeform 64">
              <a:extLst>
                <a:ext uri="{FF2B5EF4-FFF2-40B4-BE49-F238E27FC236}">
                  <a16:creationId xmlns:a16="http://schemas.microsoft.com/office/drawing/2014/main" id="{4B5483F2-D63D-204B-AE16-6C0CF23DBF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56159" y="3556970"/>
              <a:ext cx="3213" cy="11247"/>
            </a:xfrm>
            <a:custGeom>
              <a:avLst/>
              <a:gdLst/>
              <a:ahLst/>
              <a:cxnLst>
                <a:cxn ang="0">
                  <a:pos x="1" y="4"/>
                </a:cxn>
                <a:cxn ang="0">
                  <a:pos x="0" y="0"/>
                </a:cxn>
                <a:cxn ang="0">
                  <a:pos x="1" y="4"/>
                </a:cxn>
              </a:cxnLst>
              <a:rect l="0" t="0" r="r" b="b"/>
              <a:pathLst>
                <a:path w="1" h="4">
                  <a:moveTo>
                    <a:pt x="1" y="4"/>
                  </a:moveTo>
                  <a:cubicBezTo>
                    <a:pt x="0" y="4"/>
                    <a:pt x="0" y="0"/>
                    <a:pt x="0" y="0"/>
                  </a:cubicBezTo>
                  <a:cubicBezTo>
                    <a:pt x="1" y="0"/>
                    <a:pt x="1" y="4"/>
                    <a:pt x="1" y="4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50" name="Freeform 65">
              <a:extLst>
                <a:ext uri="{FF2B5EF4-FFF2-40B4-BE49-F238E27FC236}">
                  <a16:creationId xmlns:a16="http://schemas.microsoft.com/office/drawing/2014/main" id="{81F138FC-B63F-5ED0-A1A1-FFAB41B9942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14293" y="4132187"/>
              <a:ext cx="61058" cy="65877"/>
            </a:xfrm>
            <a:custGeom>
              <a:avLst/>
              <a:gdLst/>
              <a:ahLst/>
              <a:cxnLst>
                <a:cxn ang="0">
                  <a:pos x="3" y="6"/>
                </a:cxn>
                <a:cxn ang="0">
                  <a:pos x="6" y="3"/>
                </a:cxn>
                <a:cxn ang="0">
                  <a:pos x="9" y="2"/>
                </a:cxn>
                <a:cxn ang="0">
                  <a:pos x="12" y="2"/>
                </a:cxn>
                <a:cxn ang="0">
                  <a:pos x="17" y="2"/>
                </a:cxn>
                <a:cxn ang="0">
                  <a:pos x="18" y="2"/>
                </a:cxn>
                <a:cxn ang="0">
                  <a:pos x="20" y="6"/>
                </a:cxn>
                <a:cxn ang="0">
                  <a:pos x="17" y="13"/>
                </a:cxn>
                <a:cxn ang="0">
                  <a:pos x="12" y="17"/>
                </a:cxn>
                <a:cxn ang="0">
                  <a:pos x="9" y="19"/>
                </a:cxn>
                <a:cxn ang="0">
                  <a:pos x="8" y="19"/>
                </a:cxn>
                <a:cxn ang="0">
                  <a:pos x="3" y="17"/>
                </a:cxn>
                <a:cxn ang="0">
                  <a:pos x="2" y="13"/>
                </a:cxn>
                <a:cxn ang="0">
                  <a:pos x="3" y="6"/>
                </a:cxn>
              </a:cxnLst>
              <a:rect l="0" t="0" r="r" b="b"/>
              <a:pathLst>
                <a:path w="20" h="21">
                  <a:moveTo>
                    <a:pt x="3" y="6"/>
                  </a:moveTo>
                  <a:cubicBezTo>
                    <a:pt x="6" y="3"/>
                    <a:pt x="5" y="5"/>
                    <a:pt x="6" y="3"/>
                  </a:cubicBezTo>
                  <a:cubicBezTo>
                    <a:pt x="8" y="2"/>
                    <a:pt x="8" y="5"/>
                    <a:pt x="9" y="2"/>
                  </a:cubicBezTo>
                  <a:cubicBezTo>
                    <a:pt x="9" y="0"/>
                    <a:pt x="11" y="3"/>
                    <a:pt x="12" y="2"/>
                  </a:cubicBezTo>
                  <a:cubicBezTo>
                    <a:pt x="14" y="0"/>
                    <a:pt x="15" y="2"/>
                    <a:pt x="17" y="2"/>
                  </a:cubicBezTo>
                  <a:cubicBezTo>
                    <a:pt x="17" y="0"/>
                    <a:pt x="18" y="2"/>
                    <a:pt x="18" y="2"/>
                  </a:cubicBezTo>
                  <a:cubicBezTo>
                    <a:pt x="20" y="2"/>
                    <a:pt x="20" y="5"/>
                    <a:pt x="20" y="6"/>
                  </a:cubicBezTo>
                  <a:cubicBezTo>
                    <a:pt x="18" y="6"/>
                    <a:pt x="17" y="10"/>
                    <a:pt x="17" y="13"/>
                  </a:cubicBezTo>
                  <a:cubicBezTo>
                    <a:pt x="17" y="16"/>
                    <a:pt x="14" y="14"/>
                    <a:pt x="12" y="17"/>
                  </a:cubicBezTo>
                  <a:cubicBezTo>
                    <a:pt x="12" y="19"/>
                    <a:pt x="11" y="17"/>
                    <a:pt x="9" y="19"/>
                  </a:cubicBezTo>
                  <a:cubicBezTo>
                    <a:pt x="9" y="21"/>
                    <a:pt x="8" y="21"/>
                    <a:pt x="8" y="19"/>
                  </a:cubicBezTo>
                  <a:cubicBezTo>
                    <a:pt x="6" y="19"/>
                    <a:pt x="6" y="21"/>
                    <a:pt x="3" y="17"/>
                  </a:cubicBezTo>
                  <a:cubicBezTo>
                    <a:pt x="0" y="16"/>
                    <a:pt x="2" y="16"/>
                    <a:pt x="2" y="13"/>
                  </a:cubicBezTo>
                  <a:cubicBezTo>
                    <a:pt x="0" y="8"/>
                    <a:pt x="3" y="8"/>
                    <a:pt x="3" y="6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51" name="Freeform 66">
              <a:extLst>
                <a:ext uri="{FF2B5EF4-FFF2-40B4-BE49-F238E27FC236}">
                  <a16:creationId xmlns:a16="http://schemas.microsoft.com/office/drawing/2014/main" id="{6E912F05-69FD-B84E-2912-216C043A4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2489" y="4453538"/>
              <a:ext cx="56237" cy="125326"/>
            </a:xfrm>
            <a:custGeom>
              <a:avLst/>
              <a:gdLst/>
              <a:ahLst/>
              <a:cxnLst>
                <a:cxn ang="0">
                  <a:pos x="4" y="37"/>
                </a:cxn>
                <a:cxn ang="0">
                  <a:pos x="0" y="18"/>
                </a:cxn>
                <a:cxn ang="0">
                  <a:pos x="1" y="15"/>
                </a:cxn>
                <a:cxn ang="0">
                  <a:pos x="1" y="9"/>
                </a:cxn>
                <a:cxn ang="0">
                  <a:pos x="3" y="4"/>
                </a:cxn>
                <a:cxn ang="0">
                  <a:pos x="1" y="0"/>
                </a:cxn>
                <a:cxn ang="0">
                  <a:pos x="7" y="1"/>
                </a:cxn>
                <a:cxn ang="0">
                  <a:pos x="11" y="9"/>
                </a:cxn>
                <a:cxn ang="0">
                  <a:pos x="15" y="18"/>
                </a:cxn>
                <a:cxn ang="0">
                  <a:pos x="17" y="21"/>
                </a:cxn>
                <a:cxn ang="0">
                  <a:pos x="13" y="34"/>
                </a:cxn>
                <a:cxn ang="0">
                  <a:pos x="4" y="37"/>
                </a:cxn>
              </a:cxnLst>
              <a:rect l="0" t="0" r="r" b="b"/>
              <a:pathLst>
                <a:path w="18" h="40">
                  <a:moveTo>
                    <a:pt x="4" y="37"/>
                  </a:moveTo>
                  <a:cubicBezTo>
                    <a:pt x="0" y="32"/>
                    <a:pt x="1" y="23"/>
                    <a:pt x="0" y="18"/>
                  </a:cubicBezTo>
                  <a:cubicBezTo>
                    <a:pt x="0" y="14"/>
                    <a:pt x="1" y="14"/>
                    <a:pt x="1" y="15"/>
                  </a:cubicBezTo>
                  <a:cubicBezTo>
                    <a:pt x="1" y="17"/>
                    <a:pt x="1" y="12"/>
                    <a:pt x="1" y="9"/>
                  </a:cubicBezTo>
                  <a:cubicBezTo>
                    <a:pt x="1" y="8"/>
                    <a:pt x="3" y="8"/>
                    <a:pt x="3" y="4"/>
                  </a:cubicBezTo>
                  <a:cubicBezTo>
                    <a:pt x="3" y="1"/>
                    <a:pt x="1" y="1"/>
                    <a:pt x="1" y="0"/>
                  </a:cubicBezTo>
                  <a:cubicBezTo>
                    <a:pt x="1" y="0"/>
                    <a:pt x="4" y="0"/>
                    <a:pt x="7" y="1"/>
                  </a:cubicBezTo>
                  <a:cubicBezTo>
                    <a:pt x="9" y="4"/>
                    <a:pt x="9" y="6"/>
                    <a:pt x="11" y="9"/>
                  </a:cubicBezTo>
                  <a:cubicBezTo>
                    <a:pt x="13" y="11"/>
                    <a:pt x="13" y="17"/>
                    <a:pt x="15" y="18"/>
                  </a:cubicBezTo>
                  <a:cubicBezTo>
                    <a:pt x="17" y="20"/>
                    <a:pt x="15" y="20"/>
                    <a:pt x="17" y="21"/>
                  </a:cubicBezTo>
                  <a:cubicBezTo>
                    <a:pt x="18" y="25"/>
                    <a:pt x="18" y="32"/>
                    <a:pt x="13" y="34"/>
                  </a:cubicBezTo>
                  <a:cubicBezTo>
                    <a:pt x="11" y="37"/>
                    <a:pt x="7" y="40"/>
                    <a:pt x="4" y="37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52" name="Freeform 67">
              <a:extLst>
                <a:ext uri="{FF2B5EF4-FFF2-40B4-BE49-F238E27FC236}">
                  <a16:creationId xmlns:a16="http://schemas.microsoft.com/office/drawing/2014/main" id="{CA874351-8BBC-4818-0BA2-53EFDAE688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10991" y="3859039"/>
              <a:ext cx="224949" cy="594499"/>
            </a:xfrm>
            <a:custGeom>
              <a:avLst/>
              <a:gdLst/>
              <a:ahLst/>
              <a:cxnLst>
                <a:cxn ang="0">
                  <a:pos x="7" y="68"/>
                </a:cxn>
                <a:cxn ang="0">
                  <a:pos x="9" y="52"/>
                </a:cxn>
                <a:cxn ang="0">
                  <a:pos x="16" y="46"/>
                </a:cxn>
                <a:cxn ang="0">
                  <a:pos x="24" y="29"/>
                </a:cxn>
                <a:cxn ang="0">
                  <a:pos x="27" y="20"/>
                </a:cxn>
                <a:cxn ang="0">
                  <a:pos x="38" y="14"/>
                </a:cxn>
                <a:cxn ang="0">
                  <a:pos x="46" y="4"/>
                </a:cxn>
                <a:cxn ang="0">
                  <a:pos x="52" y="15"/>
                </a:cxn>
                <a:cxn ang="0">
                  <a:pos x="52" y="31"/>
                </a:cxn>
                <a:cxn ang="0">
                  <a:pos x="46" y="35"/>
                </a:cxn>
                <a:cxn ang="0">
                  <a:pos x="44" y="48"/>
                </a:cxn>
                <a:cxn ang="0">
                  <a:pos x="52" y="48"/>
                </a:cxn>
                <a:cxn ang="0">
                  <a:pos x="56" y="59"/>
                </a:cxn>
                <a:cxn ang="0">
                  <a:pos x="56" y="66"/>
                </a:cxn>
                <a:cxn ang="0">
                  <a:pos x="62" y="73"/>
                </a:cxn>
                <a:cxn ang="0">
                  <a:pos x="68" y="73"/>
                </a:cxn>
                <a:cxn ang="0">
                  <a:pos x="67" y="79"/>
                </a:cxn>
                <a:cxn ang="0">
                  <a:pos x="59" y="87"/>
                </a:cxn>
                <a:cxn ang="0">
                  <a:pos x="55" y="90"/>
                </a:cxn>
                <a:cxn ang="0">
                  <a:pos x="47" y="93"/>
                </a:cxn>
                <a:cxn ang="0">
                  <a:pos x="44" y="102"/>
                </a:cxn>
                <a:cxn ang="0">
                  <a:pos x="44" y="108"/>
                </a:cxn>
                <a:cxn ang="0">
                  <a:pos x="50" y="121"/>
                </a:cxn>
                <a:cxn ang="0">
                  <a:pos x="52" y="129"/>
                </a:cxn>
                <a:cxn ang="0">
                  <a:pos x="49" y="136"/>
                </a:cxn>
                <a:cxn ang="0">
                  <a:pos x="55" y="158"/>
                </a:cxn>
                <a:cxn ang="0">
                  <a:pos x="59" y="169"/>
                </a:cxn>
                <a:cxn ang="0">
                  <a:pos x="55" y="180"/>
                </a:cxn>
                <a:cxn ang="0">
                  <a:pos x="50" y="188"/>
                </a:cxn>
                <a:cxn ang="0">
                  <a:pos x="52" y="172"/>
                </a:cxn>
                <a:cxn ang="0">
                  <a:pos x="52" y="161"/>
                </a:cxn>
                <a:cxn ang="0">
                  <a:pos x="47" y="149"/>
                </a:cxn>
                <a:cxn ang="0">
                  <a:pos x="42" y="127"/>
                </a:cxn>
                <a:cxn ang="0">
                  <a:pos x="41" y="122"/>
                </a:cxn>
                <a:cxn ang="0">
                  <a:pos x="38" y="115"/>
                </a:cxn>
                <a:cxn ang="0">
                  <a:pos x="24" y="132"/>
                </a:cxn>
                <a:cxn ang="0">
                  <a:pos x="20" y="127"/>
                </a:cxn>
                <a:cxn ang="0">
                  <a:pos x="20" y="116"/>
                </a:cxn>
                <a:cxn ang="0">
                  <a:pos x="13" y="101"/>
                </a:cxn>
                <a:cxn ang="0">
                  <a:pos x="13" y="96"/>
                </a:cxn>
                <a:cxn ang="0">
                  <a:pos x="7" y="90"/>
                </a:cxn>
                <a:cxn ang="0">
                  <a:pos x="0" y="79"/>
                </a:cxn>
              </a:cxnLst>
              <a:rect l="0" t="0" r="r" b="b"/>
              <a:pathLst>
                <a:path w="72" h="191">
                  <a:moveTo>
                    <a:pt x="3" y="69"/>
                  </a:moveTo>
                  <a:cubicBezTo>
                    <a:pt x="6" y="65"/>
                    <a:pt x="4" y="73"/>
                    <a:pt x="7" y="68"/>
                  </a:cubicBezTo>
                  <a:cubicBezTo>
                    <a:pt x="9" y="63"/>
                    <a:pt x="7" y="65"/>
                    <a:pt x="7" y="62"/>
                  </a:cubicBezTo>
                  <a:cubicBezTo>
                    <a:pt x="7" y="54"/>
                    <a:pt x="10" y="65"/>
                    <a:pt x="9" y="52"/>
                  </a:cubicBezTo>
                  <a:cubicBezTo>
                    <a:pt x="9" y="45"/>
                    <a:pt x="9" y="48"/>
                    <a:pt x="12" y="49"/>
                  </a:cubicBezTo>
                  <a:cubicBezTo>
                    <a:pt x="15" y="49"/>
                    <a:pt x="15" y="54"/>
                    <a:pt x="16" y="46"/>
                  </a:cubicBezTo>
                  <a:cubicBezTo>
                    <a:pt x="18" y="40"/>
                    <a:pt x="23" y="40"/>
                    <a:pt x="20" y="37"/>
                  </a:cubicBezTo>
                  <a:cubicBezTo>
                    <a:pt x="18" y="35"/>
                    <a:pt x="21" y="35"/>
                    <a:pt x="24" y="29"/>
                  </a:cubicBezTo>
                  <a:cubicBezTo>
                    <a:pt x="26" y="24"/>
                    <a:pt x="23" y="26"/>
                    <a:pt x="24" y="23"/>
                  </a:cubicBezTo>
                  <a:cubicBezTo>
                    <a:pt x="24" y="20"/>
                    <a:pt x="24" y="23"/>
                    <a:pt x="27" y="20"/>
                  </a:cubicBezTo>
                  <a:cubicBezTo>
                    <a:pt x="30" y="17"/>
                    <a:pt x="35" y="12"/>
                    <a:pt x="38" y="15"/>
                  </a:cubicBezTo>
                  <a:cubicBezTo>
                    <a:pt x="39" y="18"/>
                    <a:pt x="41" y="18"/>
                    <a:pt x="38" y="14"/>
                  </a:cubicBezTo>
                  <a:cubicBezTo>
                    <a:pt x="36" y="11"/>
                    <a:pt x="42" y="11"/>
                    <a:pt x="41" y="6"/>
                  </a:cubicBezTo>
                  <a:cubicBezTo>
                    <a:pt x="42" y="4"/>
                    <a:pt x="41" y="0"/>
                    <a:pt x="46" y="4"/>
                  </a:cubicBezTo>
                  <a:cubicBezTo>
                    <a:pt x="50" y="7"/>
                    <a:pt x="47" y="14"/>
                    <a:pt x="50" y="12"/>
                  </a:cubicBezTo>
                  <a:cubicBezTo>
                    <a:pt x="52" y="11"/>
                    <a:pt x="53" y="14"/>
                    <a:pt x="52" y="15"/>
                  </a:cubicBezTo>
                  <a:cubicBezTo>
                    <a:pt x="50" y="17"/>
                    <a:pt x="53" y="18"/>
                    <a:pt x="52" y="23"/>
                  </a:cubicBezTo>
                  <a:cubicBezTo>
                    <a:pt x="50" y="28"/>
                    <a:pt x="53" y="31"/>
                    <a:pt x="52" y="31"/>
                  </a:cubicBezTo>
                  <a:cubicBezTo>
                    <a:pt x="49" y="31"/>
                    <a:pt x="50" y="34"/>
                    <a:pt x="49" y="32"/>
                  </a:cubicBezTo>
                  <a:cubicBezTo>
                    <a:pt x="47" y="32"/>
                    <a:pt x="49" y="35"/>
                    <a:pt x="46" y="35"/>
                  </a:cubicBezTo>
                  <a:cubicBezTo>
                    <a:pt x="42" y="37"/>
                    <a:pt x="46" y="40"/>
                    <a:pt x="44" y="41"/>
                  </a:cubicBezTo>
                  <a:cubicBezTo>
                    <a:pt x="39" y="43"/>
                    <a:pt x="46" y="46"/>
                    <a:pt x="44" y="48"/>
                  </a:cubicBezTo>
                  <a:cubicBezTo>
                    <a:pt x="42" y="49"/>
                    <a:pt x="42" y="51"/>
                    <a:pt x="46" y="49"/>
                  </a:cubicBezTo>
                  <a:cubicBezTo>
                    <a:pt x="49" y="46"/>
                    <a:pt x="50" y="49"/>
                    <a:pt x="52" y="48"/>
                  </a:cubicBezTo>
                  <a:cubicBezTo>
                    <a:pt x="55" y="46"/>
                    <a:pt x="50" y="49"/>
                    <a:pt x="52" y="52"/>
                  </a:cubicBezTo>
                  <a:cubicBezTo>
                    <a:pt x="53" y="56"/>
                    <a:pt x="52" y="59"/>
                    <a:pt x="56" y="59"/>
                  </a:cubicBezTo>
                  <a:cubicBezTo>
                    <a:pt x="61" y="59"/>
                    <a:pt x="58" y="59"/>
                    <a:pt x="56" y="60"/>
                  </a:cubicBezTo>
                  <a:cubicBezTo>
                    <a:pt x="56" y="63"/>
                    <a:pt x="58" y="62"/>
                    <a:pt x="56" y="66"/>
                  </a:cubicBezTo>
                  <a:cubicBezTo>
                    <a:pt x="55" y="69"/>
                    <a:pt x="59" y="68"/>
                    <a:pt x="61" y="68"/>
                  </a:cubicBezTo>
                  <a:cubicBezTo>
                    <a:pt x="62" y="69"/>
                    <a:pt x="61" y="71"/>
                    <a:pt x="62" y="73"/>
                  </a:cubicBezTo>
                  <a:cubicBezTo>
                    <a:pt x="64" y="73"/>
                    <a:pt x="62" y="76"/>
                    <a:pt x="64" y="74"/>
                  </a:cubicBezTo>
                  <a:cubicBezTo>
                    <a:pt x="65" y="74"/>
                    <a:pt x="65" y="77"/>
                    <a:pt x="68" y="73"/>
                  </a:cubicBezTo>
                  <a:cubicBezTo>
                    <a:pt x="72" y="69"/>
                    <a:pt x="72" y="73"/>
                    <a:pt x="72" y="74"/>
                  </a:cubicBezTo>
                  <a:cubicBezTo>
                    <a:pt x="70" y="76"/>
                    <a:pt x="67" y="74"/>
                    <a:pt x="67" y="79"/>
                  </a:cubicBezTo>
                  <a:cubicBezTo>
                    <a:pt x="65" y="84"/>
                    <a:pt x="64" y="79"/>
                    <a:pt x="64" y="85"/>
                  </a:cubicBezTo>
                  <a:cubicBezTo>
                    <a:pt x="61" y="85"/>
                    <a:pt x="62" y="87"/>
                    <a:pt x="59" y="87"/>
                  </a:cubicBezTo>
                  <a:cubicBezTo>
                    <a:pt x="56" y="85"/>
                    <a:pt x="59" y="88"/>
                    <a:pt x="58" y="88"/>
                  </a:cubicBezTo>
                  <a:cubicBezTo>
                    <a:pt x="56" y="90"/>
                    <a:pt x="56" y="87"/>
                    <a:pt x="55" y="90"/>
                  </a:cubicBezTo>
                  <a:cubicBezTo>
                    <a:pt x="55" y="93"/>
                    <a:pt x="53" y="91"/>
                    <a:pt x="50" y="93"/>
                  </a:cubicBezTo>
                  <a:cubicBezTo>
                    <a:pt x="47" y="94"/>
                    <a:pt x="47" y="90"/>
                    <a:pt x="47" y="93"/>
                  </a:cubicBezTo>
                  <a:cubicBezTo>
                    <a:pt x="46" y="96"/>
                    <a:pt x="44" y="94"/>
                    <a:pt x="46" y="97"/>
                  </a:cubicBezTo>
                  <a:cubicBezTo>
                    <a:pt x="47" y="101"/>
                    <a:pt x="42" y="97"/>
                    <a:pt x="44" y="102"/>
                  </a:cubicBezTo>
                  <a:cubicBezTo>
                    <a:pt x="46" y="107"/>
                    <a:pt x="41" y="102"/>
                    <a:pt x="41" y="105"/>
                  </a:cubicBezTo>
                  <a:cubicBezTo>
                    <a:pt x="42" y="108"/>
                    <a:pt x="44" y="104"/>
                    <a:pt x="44" y="108"/>
                  </a:cubicBezTo>
                  <a:cubicBezTo>
                    <a:pt x="44" y="113"/>
                    <a:pt x="46" y="115"/>
                    <a:pt x="49" y="118"/>
                  </a:cubicBezTo>
                  <a:cubicBezTo>
                    <a:pt x="50" y="121"/>
                    <a:pt x="50" y="118"/>
                    <a:pt x="50" y="121"/>
                  </a:cubicBezTo>
                  <a:cubicBezTo>
                    <a:pt x="50" y="124"/>
                    <a:pt x="52" y="127"/>
                    <a:pt x="52" y="127"/>
                  </a:cubicBezTo>
                  <a:cubicBezTo>
                    <a:pt x="55" y="122"/>
                    <a:pt x="55" y="129"/>
                    <a:pt x="52" y="129"/>
                  </a:cubicBezTo>
                  <a:cubicBezTo>
                    <a:pt x="50" y="129"/>
                    <a:pt x="52" y="136"/>
                    <a:pt x="50" y="136"/>
                  </a:cubicBezTo>
                  <a:cubicBezTo>
                    <a:pt x="49" y="135"/>
                    <a:pt x="50" y="138"/>
                    <a:pt x="49" y="136"/>
                  </a:cubicBezTo>
                  <a:cubicBezTo>
                    <a:pt x="47" y="136"/>
                    <a:pt x="47" y="141"/>
                    <a:pt x="52" y="146"/>
                  </a:cubicBezTo>
                  <a:cubicBezTo>
                    <a:pt x="56" y="150"/>
                    <a:pt x="58" y="153"/>
                    <a:pt x="55" y="158"/>
                  </a:cubicBezTo>
                  <a:cubicBezTo>
                    <a:pt x="58" y="163"/>
                    <a:pt x="58" y="166"/>
                    <a:pt x="58" y="167"/>
                  </a:cubicBezTo>
                  <a:cubicBezTo>
                    <a:pt x="58" y="169"/>
                    <a:pt x="59" y="167"/>
                    <a:pt x="59" y="169"/>
                  </a:cubicBezTo>
                  <a:cubicBezTo>
                    <a:pt x="59" y="172"/>
                    <a:pt x="61" y="170"/>
                    <a:pt x="59" y="172"/>
                  </a:cubicBezTo>
                  <a:cubicBezTo>
                    <a:pt x="56" y="175"/>
                    <a:pt x="58" y="175"/>
                    <a:pt x="55" y="180"/>
                  </a:cubicBezTo>
                  <a:cubicBezTo>
                    <a:pt x="52" y="183"/>
                    <a:pt x="53" y="183"/>
                    <a:pt x="52" y="186"/>
                  </a:cubicBezTo>
                  <a:cubicBezTo>
                    <a:pt x="52" y="189"/>
                    <a:pt x="50" y="191"/>
                    <a:pt x="50" y="188"/>
                  </a:cubicBezTo>
                  <a:cubicBezTo>
                    <a:pt x="50" y="178"/>
                    <a:pt x="52" y="181"/>
                    <a:pt x="52" y="178"/>
                  </a:cubicBezTo>
                  <a:cubicBezTo>
                    <a:pt x="52" y="175"/>
                    <a:pt x="55" y="172"/>
                    <a:pt x="52" y="172"/>
                  </a:cubicBezTo>
                  <a:cubicBezTo>
                    <a:pt x="49" y="172"/>
                    <a:pt x="53" y="169"/>
                    <a:pt x="52" y="167"/>
                  </a:cubicBezTo>
                  <a:cubicBezTo>
                    <a:pt x="50" y="166"/>
                    <a:pt x="52" y="164"/>
                    <a:pt x="52" y="161"/>
                  </a:cubicBezTo>
                  <a:cubicBezTo>
                    <a:pt x="50" y="160"/>
                    <a:pt x="50" y="157"/>
                    <a:pt x="49" y="153"/>
                  </a:cubicBezTo>
                  <a:cubicBezTo>
                    <a:pt x="47" y="149"/>
                    <a:pt x="47" y="158"/>
                    <a:pt x="47" y="149"/>
                  </a:cubicBezTo>
                  <a:cubicBezTo>
                    <a:pt x="47" y="146"/>
                    <a:pt x="44" y="144"/>
                    <a:pt x="44" y="136"/>
                  </a:cubicBezTo>
                  <a:cubicBezTo>
                    <a:pt x="44" y="130"/>
                    <a:pt x="42" y="130"/>
                    <a:pt x="42" y="127"/>
                  </a:cubicBezTo>
                  <a:cubicBezTo>
                    <a:pt x="42" y="125"/>
                    <a:pt x="46" y="124"/>
                    <a:pt x="44" y="124"/>
                  </a:cubicBezTo>
                  <a:cubicBezTo>
                    <a:pt x="42" y="124"/>
                    <a:pt x="41" y="125"/>
                    <a:pt x="41" y="122"/>
                  </a:cubicBezTo>
                  <a:cubicBezTo>
                    <a:pt x="39" y="118"/>
                    <a:pt x="39" y="119"/>
                    <a:pt x="39" y="118"/>
                  </a:cubicBezTo>
                  <a:cubicBezTo>
                    <a:pt x="39" y="116"/>
                    <a:pt x="38" y="116"/>
                    <a:pt x="38" y="115"/>
                  </a:cubicBezTo>
                  <a:cubicBezTo>
                    <a:pt x="39" y="122"/>
                    <a:pt x="35" y="124"/>
                    <a:pt x="32" y="125"/>
                  </a:cubicBezTo>
                  <a:cubicBezTo>
                    <a:pt x="27" y="127"/>
                    <a:pt x="27" y="135"/>
                    <a:pt x="24" y="132"/>
                  </a:cubicBezTo>
                  <a:cubicBezTo>
                    <a:pt x="21" y="129"/>
                    <a:pt x="23" y="133"/>
                    <a:pt x="20" y="130"/>
                  </a:cubicBezTo>
                  <a:cubicBezTo>
                    <a:pt x="18" y="129"/>
                    <a:pt x="21" y="127"/>
                    <a:pt x="20" y="127"/>
                  </a:cubicBezTo>
                  <a:cubicBezTo>
                    <a:pt x="18" y="125"/>
                    <a:pt x="18" y="130"/>
                    <a:pt x="16" y="130"/>
                  </a:cubicBezTo>
                  <a:cubicBezTo>
                    <a:pt x="15" y="130"/>
                    <a:pt x="18" y="122"/>
                    <a:pt x="20" y="116"/>
                  </a:cubicBezTo>
                  <a:cubicBezTo>
                    <a:pt x="21" y="111"/>
                    <a:pt x="16" y="105"/>
                    <a:pt x="15" y="101"/>
                  </a:cubicBezTo>
                  <a:cubicBezTo>
                    <a:pt x="15" y="96"/>
                    <a:pt x="13" y="99"/>
                    <a:pt x="13" y="101"/>
                  </a:cubicBezTo>
                  <a:cubicBezTo>
                    <a:pt x="13" y="102"/>
                    <a:pt x="9" y="97"/>
                    <a:pt x="10" y="96"/>
                  </a:cubicBezTo>
                  <a:cubicBezTo>
                    <a:pt x="12" y="94"/>
                    <a:pt x="12" y="97"/>
                    <a:pt x="13" y="96"/>
                  </a:cubicBezTo>
                  <a:cubicBezTo>
                    <a:pt x="16" y="94"/>
                    <a:pt x="13" y="94"/>
                    <a:pt x="12" y="93"/>
                  </a:cubicBezTo>
                  <a:cubicBezTo>
                    <a:pt x="10" y="90"/>
                    <a:pt x="9" y="87"/>
                    <a:pt x="7" y="90"/>
                  </a:cubicBezTo>
                  <a:cubicBezTo>
                    <a:pt x="7" y="93"/>
                    <a:pt x="7" y="90"/>
                    <a:pt x="4" y="87"/>
                  </a:cubicBezTo>
                  <a:cubicBezTo>
                    <a:pt x="1" y="84"/>
                    <a:pt x="1" y="79"/>
                    <a:pt x="0" y="79"/>
                  </a:cubicBezTo>
                  <a:cubicBezTo>
                    <a:pt x="0" y="68"/>
                    <a:pt x="4" y="85"/>
                    <a:pt x="3" y="69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53" name="Freeform 68">
              <a:extLst>
                <a:ext uri="{FF2B5EF4-FFF2-40B4-BE49-F238E27FC236}">
                  <a16:creationId xmlns:a16="http://schemas.microsoft.com/office/drawing/2014/main" id="{47A467FD-D7DB-3730-D75C-D955E232F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39534" y="4124153"/>
              <a:ext cx="208881" cy="461138"/>
            </a:xfrm>
            <a:custGeom>
              <a:avLst/>
              <a:gdLst/>
              <a:ahLst/>
              <a:cxnLst>
                <a:cxn ang="0">
                  <a:pos x="41" y="82"/>
                </a:cxn>
                <a:cxn ang="0">
                  <a:pos x="32" y="78"/>
                </a:cxn>
                <a:cxn ang="0">
                  <a:pos x="26" y="69"/>
                </a:cxn>
                <a:cxn ang="0">
                  <a:pos x="18" y="89"/>
                </a:cxn>
                <a:cxn ang="0">
                  <a:pos x="15" y="110"/>
                </a:cxn>
                <a:cxn ang="0">
                  <a:pos x="23" y="120"/>
                </a:cxn>
                <a:cxn ang="0">
                  <a:pos x="34" y="135"/>
                </a:cxn>
                <a:cxn ang="0">
                  <a:pos x="35" y="145"/>
                </a:cxn>
                <a:cxn ang="0">
                  <a:pos x="30" y="142"/>
                </a:cxn>
                <a:cxn ang="0">
                  <a:pos x="24" y="137"/>
                </a:cxn>
                <a:cxn ang="0">
                  <a:pos x="20" y="135"/>
                </a:cxn>
                <a:cxn ang="0">
                  <a:pos x="15" y="129"/>
                </a:cxn>
                <a:cxn ang="0">
                  <a:pos x="8" y="121"/>
                </a:cxn>
                <a:cxn ang="0">
                  <a:pos x="9" y="109"/>
                </a:cxn>
                <a:cxn ang="0">
                  <a:pos x="11" y="101"/>
                </a:cxn>
                <a:cxn ang="0">
                  <a:pos x="18" y="87"/>
                </a:cxn>
                <a:cxn ang="0">
                  <a:pos x="17" y="82"/>
                </a:cxn>
                <a:cxn ang="0">
                  <a:pos x="11" y="61"/>
                </a:cxn>
                <a:cxn ang="0">
                  <a:pos x="9" y="51"/>
                </a:cxn>
                <a:cxn ang="0">
                  <a:pos x="11" y="42"/>
                </a:cxn>
                <a:cxn ang="0">
                  <a:pos x="8" y="33"/>
                </a:cxn>
                <a:cxn ang="0">
                  <a:pos x="0" y="20"/>
                </a:cxn>
                <a:cxn ang="0">
                  <a:pos x="5" y="13"/>
                </a:cxn>
                <a:cxn ang="0">
                  <a:pos x="9" y="8"/>
                </a:cxn>
                <a:cxn ang="0">
                  <a:pos x="17" y="3"/>
                </a:cxn>
                <a:cxn ang="0">
                  <a:pos x="23" y="0"/>
                </a:cxn>
                <a:cxn ang="0">
                  <a:pos x="26" y="9"/>
                </a:cxn>
                <a:cxn ang="0">
                  <a:pos x="32" y="13"/>
                </a:cxn>
                <a:cxn ang="0">
                  <a:pos x="29" y="30"/>
                </a:cxn>
                <a:cxn ang="0">
                  <a:pos x="41" y="25"/>
                </a:cxn>
                <a:cxn ang="0">
                  <a:pos x="50" y="20"/>
                </a:cxn>
                <a:cxn ang="0">
                  <a:pos x="59" y="36"/>
                </a:cxn>
                <a:cxn ang="0">
                  <a:pos x="65" y="56"/>
                </a:cxn>
                <a:cxn ang="0">
                  <a:pos x="58" y="61"/>
                </a:cxn>
                <a:cxn ang="0">
                  <a:pos x="41" y="69"/>
                </a:cxn>
                <a:cxn ang="0">
                  <a:pos x="43" y="79"/>
                </a:cxn>
              </a:cxnLst>
              <a:rect l="0" t="0" r="r" b="b"/>
              <a:pathLst>
                <a:path w="67" h="148">
                  <a:moveTo>
                    <a:pt x="44" y="87"/>
                  </a:moveTo>
                  <a:cubicBezTo>
                    <a:pt x="43" y="87"/>
                    <a:pt x="44" y="84"/>
                    <a:pt x="41" y="82"/>
                  </a:cubicBezTo>
                  <a:cubicBezTo>
                    <a:pt x="40" y="82"/>
                    <a:pt x="38" y="79"/>
                    <a:pt x="35" y="78"/>
                  </a:cubicBezTo>
                  <a:cubicBezTo>
                    <a:pt x="34" y="76"/>
                    <a:pt x="34" y="79"/>
                    <a:pt x="32" y="78"/>
                  </a:cubicBezTo>
                  <a:cubicBezTo>
                    <a:pt x="29" y="76"/>
                    <a:pt x="27" y="81"/>
                    <a:pt x="27" y="76"/>
                  </a:cubicBezTo>
                  <a:cubicBezTo>
                    <a:pt x="29" y="70"/>
                    <a:pt x="30" y="69"/>
                    <a:pt x="26" y="69"/>
                  </a:cubicBezTo>
                  <a:cubicBezTo>
                    <a:pt x="21" y="69"/>
                    <a:pt x="20" y="72"/>
                    <a:pt x="21" y="73"/>
                  </a:cubicBezTo>
                  <a:cubicBezTo>
                    <a:pt x="23" y="73"/>
                    <a:pt x="20" y="86"/>
                    <a:pt x="18" y="89"/>
                  </a:cubicBezTo>
                  <a:cubicBezTo>
                    <a:pt x="18" y="90"/>
                    <a:pt x="18" y="95"/>
                    <a:pt x="17" y="96"/>
                  </a:cubicBezTo>
                  <a:cubicBezTo>
                    <a:pt x="14" y="100"/>
                    <a:pt x="15" y="109"/>
                    <a:pt x="15" y="110"/>
                  </a:cubicBezTo>
                  <a:cubicBezTo>
                    <a:pt x="15" y="115"/>
                    <a:pt x="20" y="109"/>
                    <a:pt x="20" y="112"/>
                  </a:cubicBezTo>
                  <a:cubicBezTo>
                    <a:pt x="20" y="115"/>
                    <a:pt x="21" y="120"/>
                    <a:pt x="23" y="120"/>
                  </a:cubicBezTo>
                  <a:cubicBezTo>
                    <a:pt x="24" y="118"/>
                    <a:pt x="24" y="129"/>
                    <a:pt x="27" y="132"/>
                  </a:cubicBezTo>
                  <a:cubicBezTo>
                    <a:pt x="32" y="138"/>
                    <a:pt x="30" y="132"/>
                    <a:pt x="34" y="135"/>
                  </a:cubicBezTo>
                  <a:cubicBezTo>
                    <a:pt x="37" y="138"/>
                    <a:pt x="37" y="140"/>
                    <a:pt x="38" y="142"/>
                  </a:cubicBezTo>
                  <a:cubicBezTo>
                    <a:pt x="37" y="146"/>
                    <a:pt x="37" y="146"/>
                    <a:pt x="35" y="145"/>
                  </a:cubicBezTo>
                  <a:cubicBezTo>
                    <a:pt x="32" y="142"/>
                    <a:pt x="32" y="148"/>
                    <a:pt x="30" y="146"/>
                  </a:cubicBezTo>
                  <a:cubicBezTo>
                    <a:pt x="29" y="145"/>
                    <a:pt x="30" y="143"/>
                    <a:pt x="30" y="142"/>
                  </a:cubicBezTo>
                  <a:cubicBezTo>
                    <a:pt x="30" y="138"/>
                    <a:pt x="29" y="142"/>
                    <a:pt x="27" y="140"/>
                  </a:cubicBezTo>
                  <a:cubicBezTo>
                    <a:pt x="27" y="137"/>
                    <a:pt x="26" y="138"/>
                    <a:pt x="24" y="137"/>
                  </a:cubicBezTo>
                  <a:cubicBezTo>
                    <a:pt x="23" y="135"/>
                    <a:pt x="23" y="135"/>
                    <a:pt x="23" y="138"/>
                  </a:cubicBezTo>
                  <a:cubicBezTo>
                    <a:pt x="21" y="137"/>
                    <a:pt x="21" y="137"/>
                    <a:pt x="20" y="135"/>
                  </a:cubicBezTo>
                  <a:cubicBezTo>
                    <a:pt x="18" y="134"/>
                    <a:pt x="18" y="132"/>
                    <a:pt x="18" y="131"/>
                  </a:cubicBezTo>
                  <a:cubicBezTo>
                    <a:pt x="18" y="131"/>
                    <a:pt x="17" y="132"/>
                    <a:pt x="15" y="129"/>
                  </a:cubicBezTo>
                  <a:cubicBezTo>
                    <a:pt x="12" y="126"/>
                    <a:pt x="12" y="121"/>
                    <a:pt x="11" y="120"/>
                  </a:cubicBezTo>
                  <a:cubicBezTo>
                    <a:pt x="9" y="120"/>
                    <a:pt x="9" y="124"/>
                    <a:pt x="8" y="121"/>
                  </a:cubicBezTo>
                  <a:cubicBezTo>
                    <a:pt x="8" y="121"/>
                    <a:pt x="6" y="118"/>
                    <a:pt x="8" y="115"/>
                  </a:cubicBezTo>
                  <a:cubicBezTo>
                    <a:pt x="9" y="112"/>
                    <a:pt x="8" y="114"/>
                    <a:pt x="9" y="109"/>
                  </a:cubicBezTo>
                  <a:cubicBezTo>
                    <a:pt x="11" y="107"/>
                    <a:pt x="8" y="109"/>
                    <a:pt x="9" y="106"/>
                  </a:cubicBezTo>
                  <a:cubicBezTo>
                    <a:pt x="11" y="103"/>
                    <a:pt x="12" y="103"/>
                    <a:pt x="11" y="101"/>
                  </a:cubicBezTo>
                  <a:cubicBezTo>
                    <a:pt x="12" y="98"/>
                    <a:pt x="11" y="98"/>
                    <a:pt x="14" y="95"/>
                  </a:cubicBezTo>
                  <a:cubicBezTo>
                    <a:pt x="17" y="90"/>
                    <a:pt x="15" y="90"/>
                    <a:pt x="18" y="87"/>
                  </a:cubicBezTo>
                  <a:cubicBezTo>
                    <a:pt x="20" y="86"/>
                    <a:pt x="18" y="87"/>
                    <a:pt x="18" y="84"/>
                  </a:cubicBezTo>
                  <a:cubicBezTo>
                    <a:pt x="18" y="82"/>
                    <a:pt x="17" y="84"/>
                    <a:pt x="17" y="82"/>
                  </a:cubicBezTo>
                  <a:cubicBezTo>
                    <a:pt x="17" y="81"/>
                    <a:pt x="17" y="78"/>
                    <a:pt x="14" y="73"/>
                  </a:cubicBezTo>
                  <a:cubicBezTo>
                    <a:pt x="17" y="69"/>
                    <a:pt x="15" y="65"/>
                    <a:pt x="11" y="61"/>
                  </a:cubicBezTo>
                  <a:cubicBezTo>
                    <a:pt x="6" y="56"/>
                    <a:pt x="6" y="51"/>
                    <a:pt x="8" y="51"/>
                  </a:cubicBezTo>
                  <a:cubicBezTo>
                    <a:pt x="9" y="53"/>
                    <a:pt x="8" y="50"/>
                    <a:pt x="9" y="51"/>
                  </a:cubicBezTo>
                  <a:cubicBezTo>
                    <a:pt x="11" y="51"/>
                    <a:pt x="9" y="44"/>
                    <a:pt x="11" y="44"/>
                  </a:cubicBezTo>
                  <a:cubicBezTo>
                    <a:pt x="14" y="44"/>
                    <a:pt x="14" y="37"/>
                    <a:pt x="11" y="42"/>
                  </a:cubicBezTo>
                  <a:cubicBezTo>
                    <a:pt x="11" y="42"/>
                    <a:pt x="9" y="39"/>
                    <a:pt x="9" y="36"/>
                  </a:cubicBezTo>
                  <a:cubicBezTo>
                    <a:pt x="9" y="33"/>
                    <a:pt x="9" y="36"/>
                    <a:pt x="8" y="33"/>
                  </a:cubicBezTo>
                  <a:cubicBezTo>
                    <a:pt x="5" y="30"/>
                    <a:pt x="3" y="28"/>
                    <a:pt x="3" y="23"/>
                  </a:cubicBezTo>
                  <a:cubicBezTo>
                    <a:pt x="3" y="19"/>
                    <a:pt x="2" y="23"/>
                    <a:pt x="0" y="20"/>
                  </a:cubicBezTo>
                  <a:cubicBezTo>
                    <a:pt x="0" y="17"/>
                    <a:pt x="5" y="22"/>
                    <a:pt x="3" y="17"/>
                  </a:cubicBezTo>
                  <a:cubicBezTo>
                    <a:pt x="2" y="13"/>
                    <a:pt x="6" y="16"/>
                    <a:pt x="5" y="13"/>
                  </a:cubicBezTo>
                  <a:cubicBezTo>
                    <a:pt x="3" y="9"/>
                    <a:pt x="5" y="11"/>
                    <a:pt x="6" y="8"/>
                  </a:cubicBezTo>
                  <a:cubicBezTo>
                    <a:pt x="6" y="5"/>
                    <a:pt x="6" y="9"/>
                    <a:pt x="9" y="8"/>
                  </a:cubicBezTo>
                  <a:cubicBezTo>
                    <a:pt x="12" y="6"/>
                    <a:pt x="14" y="8"/>
                    <a:pt x="14" y="5"/>
                  </a:cubicBezTo>
                  <a:cubicBezTo>
                    <a:pt x="15" y="2"/>
                    <a:pt x="15" y="5"/>
                    <a:pt x="17" y="3"/>
                  </a:cubicBezTo>
                  <a:cubicBezTo>
                    <a:pt x="18" y="3"/>
                    <a:pt x="15" y="0"/>
                    <a:pt x="18" y="2"/>
                  </a:cubicBezTo>
                  <a:cubicBezTo>
                    <a:pt x="21" y="2"/>
                    <a:pt x="20" y="0"/>
                    <a:pt x="23" y="0"/>
                  </a:cubicBezTo>
                  <a:cubicBezTo>
                    <a:pt x="23" y="3"/>
                    <a:pt x="23" y="0"/>
                    <a:pt x="24" y="2"/>
                  </a:cubicBezTo>
                  <a:cubicBezTo>
                    <a:pt x="27" y="5"/>
                    <a:pt x="23" y="9"/>
                    <a:pt x="26" y="9"/>
                  </a:cubicBezTo>
                  <a:cubicBezTo>
                    <a:pt x="29" y="9"/>
                    <a:pt x="27" y="8"/>
                    <a:pt x="30" y="8"/>
                  </a:cubicBezTo>
                  <a:cubicBezTo>
                    <a:pt x="34" y="9"/>
                    <a:pt x="30" y="11"/>
                    <a:pt x="32" y="13"/>
                  </a:cubicBezTo>
                  <a:cubicBezTo>
                    <a:pt x="34" y="16"/>
                    <a:pt x="29" y="20"/>
                    <a:pt x="30" y="22"/>
                  </a:cubicBezTo>
                  <a:cubicBezTo>
                    <a:pt x="32" y="23"/>
                    <a:pt x="27" y="28"/>
                    <a:pt x="29" y="30"/>
                  </a:cubicBezTo>
                  <a:cubicBezTo>
                    <a:pt x="30" y="30"/>
                    <a:pt x="30" y="30"/>
                    <a:pt x="35" y="25"/>
                  </a:cubicBezTo>
                  <a:cubicBezTo>
                    <a:pt x="40" y="20"/>
                    <a:pt x="38" y="25"/>
                    <a:pt x="41" y="25"/>
                  </a:cubicBezTo>
                  <a:cubicBezTo>
                    <a:pt x="43" y="25"/>
                    <a:pt x="41" y="26"/>
                    <a:pt x="43" y="25"/>
                  </a:cubicBezTo>
                  <a:cubicBezTo>
                    <a:pt x="47" y="23"/>
                    <a:pt x="46" y="19"/>
                    <a:pt x="50" y="20"/>
                  </a:cubicBezTo>
                  <a:cubicBezTo>
                    <a:pt x="53" y="22"/>
                    <a:pt x="53" y="20"/>
                    <a:pt x="55" y="23"/>
                  </a:cubicBezTo>
                  <a:cubicBezTo>
                    <a:pt x="56" y="30"/>
                    <a:pt x="61" y="28"/>
                    <a:pt x="59" y="36"/>
                  </a:cubicBezTo>
                  <a:cubicBezTo>
                    <a:pt x="58" y="44"/>
                    <a:pt x="64" y="44"/>
                    <a:pt x="64" y="45"/>
                  </a:cubicBezTo>
                  <a:cubicBezTo>
                    <a:pt x="64" y="47"/>
                    <a:pt x="67" y="47"/>
                    <a:pt x="65" y="56"/>
                  </a:cubicBezTo>
                  <a:cubicBezTo>
                    <a:pt x="65" y="58"/>
                    <a:pt x="67" y="59"/>
                    <a:pt x="62" y="61"/>
                  </a:cubicBezTo>
                  <a:cubicBezTo>
                    <a:pt x="61" y="62"/>
                    <a:pt x="62" y="59"/>
                    <a:pt x="58" y="61"/>
                  </a:cubicBezTo>
                  <a:cubicBezTo>
                    <a:pt x="53" y="61"/>
                    <a:pt x="46" y="59"/>
                    <a:pt x="44" y="64"/>
                  </a:cubicBezTo>
                  <a:cubicBezTo>
                    <a:pt x="43" y="69"/>
                    <a:pt x="41" y="67"/>
                    <a:pt x="41" y="69"/>
                  </a:cubicBezTo>
                  <a:cubicBezTo>
                    <a:pt x="41" y="70"/>
                    <a:pt x="38" y="67"/>
                    <a:pt x="40" y="72"/>
                  </a:cubicBezTo>
                  <a:cubicBezTo>
                    <a:pt x="43" y="76"/>
                    <a:pt x="40" y="78"/>
                    <a:pt x="43" y="79"/>
                  </a:cubicBezTo>
                  <a:cubicBezTo>
                    <a:pt x="44" y="81"/>
                    <a:pt x="41" y="82"/>
                    <a:pt x="44" y="87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54" name="Freeform 69">
              <a:extLst>
                <a:ext uri="{FF2B5EF4-FFF2-40B4-BE49-F238E27FC236}">
                  <a16:creationId xmlns:a16="http://schemas.microsoft.com/office/drawing/2014/main" id="{861586BF-640A-51CF-F02C-179EE625A5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20632" y="4337852"/>
              <a:ext cx="16068" cy="72304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6"/>
                </a:cxn>
                <a:cxn ang="0">
                  <a:pos x="3" y="11"/>
                </a:cxn>
                <a:cxn ang="0">
                  <a:pos x="3" y="15"/>
                </a:cxn>
                <a:cxn ang="0">
                  <a:pos x="1" y="20"/>
                </a:cxn>
                <a:cxn ang="0">
                  <a:pos x="1" y="9"/>
                </a:cxn>
                <a:cxn ang="0">
                  <a:pos x="3" y="0"/>
                </a:cxn>
              </a:cxnLst>
              <a:rect l="0" t="0" r="r" b="b"/>
              <a:pathLst>
                <a:path w="5" h="23">
                  <a:moveTo>
                    <a:pt x="3" y="0"/>
                  </a:moveTo>
                  <a:cubicBezTo>
                    <a:pt x="5" y="1"/>
                    <a:pt x="5" y="4"/>
                    <a:pt x="3" y="6"/>
                  </a:cubicBezTo>
                  <a:cubicBezTo>
                    <a:pt x="3" y="6"/>
                    <a:pt x="5" y="11"/>
                    <a:pt x="3" y="11"/>
                  </a:cubicBezTo>
                  <a:cubicBezTo>
                    <a:pt x="1" y="12"/>
                    <a:pt x="3" y="12"/>
                    <a:pt x="3" y="15"/>
                  </a:cubicBezTo>
                  <a:cubicBezTo>
                    <a:pt x="1" y="17"/>
                    <a:pt x="1" y="23"/>
                    <a:pt x="1" y="20"/>
                  </a:cubicBezTo>
                  <a:cubicBezTo>
                    <a:pt x="0" y="15"/>
                    <a:pt x="1" y="17"/>
                    <a:pt x="1" y="9"/>
                  </a:cubicBezTo>
                  <a:cubicBezTo>
                    <a:pt x="1" y="3"/>
                    <a:pt x="3" y="0"/>
                    <a:pt x="3" y="0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55" name="Freeform 70">
              <a:extLst>
                <a:ext uri="{FF2B5EF4-FFF2-40B4-BE49-F238E27FC236}">
                  <a16:creationId xmlns:a16="http://schemas.microsoft.com/office/drawing/2014/main" id="{AEA4A80D-D6FA-6165-4218-E51CD4B6FE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14206" y="4419796"/>
              <a:ext cx="9641" cy="16068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5"/>
                </a:cxn>
                <a:cxn ang="0">
                  <a:pos x="2" y="0"/>
                </a:cxn>
              </a:cxnLst>
              <a:rect l="0" t="0" r="r" b="b"/>
              <a:pathLst>
                <a:path w="3" h="5">
                  <a:moveTo>
                    <a:pt x="2" y="0"/>
                  </a:moveTo>
                  <a:cubicBezTo>
                    <a:pt x="3" y="0"/>
                    <a:pt x="2" y="5"/>
                    <a:pt x="0" y="5"/>
                  </a:cubicBezTo>
                  <a:cubicBezTo>
                    <a:pt x="0" y="3"/>
                    <a:pt x="0" y="0"/>
                    <a:pt x="2" y="0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56" name="Freeform 71">
              <a:extLst>
                <a:ext uri="{FF2B5EF4-FFF2-40B4-BE49-F238E27FC236}">
                  <a16:creationId xmlns:a16="http://schemas.microsoft.com/office/drawing/2014/main" id="{AD6885DF-C26C-008B-5127-4DBA635790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46341" y="4532268"/>
              <a:ext cx="12854" cy="17674"/>
            </a:xfrm>
            <a:custGeom>
              <a:avLst/>
              <a:gdLst/>
              <a:ahLst/>
              <a:cxnLst>
                <a:cxn ang="0">
                  <a:pos x="1" y="1"/>
                </a:cxn>
                <a:cxn ang="0">
                  <a:pos x="3" y="4"/>
                </a:cxn>
                <a:cxn ang="0">
                  <a:pos x="1" y="1"/>
                </a:cxn>
              </a:cxnLst>
              <a:rect l="0" t="0" r="r" b="b"/>
              <a:pathLst>
                <a:path w="4" h="6">
                  <a:moveTo>
                    <a:pt x="1" y="1"/>
                  </a:moveTo>
                  <a:cubicBezTo>
                    <a:pt x="3" y="0"/>
                    <a:pt x="4" y="3"/>
                    <a:pt x="3" y="4"/>
                  </a:cubicBezTo>
                  <a:cubicBezTo>
                    <a:pt x="1" y="6"/>
                    <a:pt x="0" y="1"/>
                    <a:pt x="1" y="1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57" name="Freeform 72">
              <a:extLst>
                <a:ext uri="{FF2B5EF4-FFF2-40B4-BE49-F238E27FC236}">
                  <a16:creationId xmlns:a16="http://schemas.microsoft.com/office/drawing/2014/main" id="{E4160988-8EA8-BD5D-666D-03796EBBDA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20632" y="4466391"/>
              <a:ext cx="9641" cy="12854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4"/>
                </a:cxn>
                <a:cxn ang="0">
                  <a:pos x="1" y="0"/>
                </a:cxn>
              </a:cxnLst>
              <a:rect l="0" t="0" r="r" b="b"/>
              <a:pathLst>
                <a:path w="3" h="4">
                  <a:moveTo>
                    <a:pt x="1" y="0"/>
                  </a:moveTo>
                  <a:cubicBezTo>
                    <a:pt x="1" y="0"/>
                    <a:pt x="3" y="2"/>
                    <a:pt x="1" y="4"/>
                  </a:cubicBezTo>
                  <a:cubicBezTo>
                    <a:pt x="1" y="4"/>
                    <a:pt x="0" y="2"/>
                    <a:pt x="1" y="0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58" name="Freeform 73">
              <a:extLst>
                <a:ext uri="{FF2B5EF4-FFF2-40B4-BE49-F238E27FC236}">
                  <a16:creationId xmlns:a16="http://schemas.microsoft.com/office/drawing/2014/main" id="{4E3C379B-5E13-96B7-A8C4-809FC104FE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39913" y="4506560"/>
              <a:ext cx="6427" cy="6427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" y="0"/>
                </a:cxn>
                <a:cxn ang="0">
                  <a:pos x="0" y="2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cubicBezTo>
                    <a:pt x="0" y="2"/>
                    <a:pt x="0" y="0"/>
                    <a:pt x="2" y="0"/>
                  </a:cubicBezTo>
                  <a:cubicBezTo>
                    <a:pt x="2" y="2"/>
                    <a:pt x="2" y="2"/>
                    <a:pt x="0" y="2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59" name="Freeform 74">
              <a:extLst>
                <a:ext uri="{FF2B5EF4-FFF2-40B4-BE49-F238E27FC236}">
                  <a16:creationId xmlns:a16="http://schemas.microsoft.com/office/drawing/2014/main" id="{B13D134F-6DA5-5476-512E-8EB67710FD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58436" y="4026142"/>
              <a:ext cx="183173" cy="473992"/>
            </a:xfrm>
            <a:custGeom>
              <a:avLst/>
              <a:gdLst/>
              <a:ahLst/>
              <a:cxnLst>
                <a:cxn ang="0">
                  <a:pos x="41" y="25"/>
                </a:cxn>
                <a:cxn ang="0">
                  <a:pos x="34" y="34"/>
                </a:cxn>
                <a:cxn ang="0">
                  <a:pos x="35" y="56"/>
                </a:cxn>
                <a:cxn ang="0">
                  <a:pos x="49" y="76"/>
                </a:cxn>
                <a:cxn ang="0">
                  <a:pos x="56" y="104"/>
                </a:cxn>
                <a:cxn ang="0">
                  <a:pos x="56" y="118"/>
                </a:cxn>
                <a:cxn ang="0">
                  <a:pos x="38" y="129"/>
                </a:cxn>
                <a:cxn ang="0">
                  <a:pos x="32" y="141"/>
                </a:cxn>
                <a:cxn ang="0">
                  <a:pos x="21" y="143"/>
                </a:cxn>
                <a:cxn ang="0">
                  <a:pos x="18" y="130"/>
                </a:cxn>
                <a:cxn ang="0">
                  <a:pos x="24" y="126"/>
                </a:cxn>
                <a:cxn ang="0">
                  <a:pos x="31" y="124"/>
                </a:cxn>
                <a:cxn ang="0">
                  <a:pos x="34" y="118"/>
                </a:cxn>
                <a:cxn ang="0">
                  <a:pos x="41" y="112"/>
                </a:cxn>
                <a:cxn ang="0">
                  <a:pos x="43" y="99"/>
                </a:cxn>
                <a:cxn ang="0">
                  <a:pos x="43" y="89"/>
                </a:cxn>
                <a:cxn ang="0">
                  <a:pos x="41" y="76"/>
                </a:cxn>
                <a:cxn ang="0">
                  <a:pos x="37" y="72"/>
                </a:cxn>
                <a:cxn ang="0">
                  <a:pos x="27" y="56"/>
                </a:cxn>
                <a:cxn ang="0">
                  <a:pos x="24" y="48"/>
                </a:cxn>
                <a:cxn ang="0">
                  <a:pos x="15" y="40"/>
                </a:cxn>
                <a:cxn ang="0">
                  <a:pos x="23" y="34"/>
                </a:cxn>
                <a:cxn ang="0">
                  <a:pos x="18" y="31"/>
                </a:cxn>
                <a:cxn ang="0">
                  <a:pos x="14" y="27"/>
                </a:cxn>
                <a:cxn ang="0">
                  <a:pos x="6" y="23"/>
                </a:cxn>
                <a:cxn ang="0">
                  <a:pos x="6" y="19"/>
                </a:cxn>
                <a:cxn ang="0">
                  <a:pos x="0" y="11"/>
                </a:cxn>
                <a:cxn ang="0">
                  <a:pos x="8" y="11"/>
                </a:cxn>
                <a:cxn ang="0">
                  <a:pos x="12" y="8"/>
                </a:cxn>
                <a:cxn ang="0">
                  <a:pos x="17" y="8"/>
                </a:cxn>
                <a:cxn ang="0">
                  <a:pos x="24" y="2"/>
                </a:cxn>
                <a:cxn ang="0">
                  <a:pos x="35" y="6"/>
                </a:cxn>
                <a:cxn ang="0">
                  <a:pos x="37" y="14"/>
                </a:cxn>
                <a:cxn ang="0">
                  <a:pos x="41" y="19"/>
                </a:cxn>
                <a:cxn ang="0">
                  <a:pos x="43" y="22"/>
                </a:cxn>
              </a:cxnLst>
              <a:rect l="0" t="0" r="r" b="b"/>
              <a:pathLst>
                <a:path w="59" h="152">
                  <a:moveTo>
                    <a:pt x="43" y="22"/>
                  </a:moveTo>
                  <a:cubicBezTo>
                    <a:pt x="41" y="23"/>
                    <a:pt x="43" y="25"/>
                    <a:pt x="41" y="25"/>
                  </a:cubicBezTo>
                  <a:cubicBezTo>
                    <a:pt x="40" y="27"/>
                    <a:pt x="40" y="25"/>
                    <a:pt x="38" y="27"/>
                  </a:cubicBezTo>
                  <a:cubicBezTo>
                    <a:pt x="35" y="28"/>
                    <a:pt x="38" y="31"/>
                    <a:pt x="34" y="34"/>
                  </a:cubicBezTo>
                  <a:cubicBezTo>
                    <a:pt x="31" y="37"/>
                    <a:pt x="27" y="44"/>
                    <a:pt x="29" y="50"/>
                  </a:cubicBezTo>
                  <a:cubicBezTo>
                    <a:pt x="32" y="54"/>
                    <a:pt x="34" y="53"/>
                    <a:pt x="35" y="56"/>
                  </a:cubicBezTo>
                  <a:cubicBezTo>
                    <a:pt x="35" y="59"/>
                    <a:pt x="38" y="64"/>
                    <a:pt x="43" y="68"/>
                  </a:cubicBezTo>
                  <a:cubicBezTo>
                    <a:pt x="47" y="73"/>
                    <a:pt x="49" y="72"/>
                    <a:pt x="49" y="76"/>
                  </a:cubicBezTo>
                  <a:cubicBezTo>
                    <a:pt x="50" y="79"/>
                    <a:pt x="53" y="79"/>
                    <a:pt x="56" y="89"/>
                  </a:cubicBezTo>
                  <a:cubicBezTo>
                    <a:pt x="58" y="98"/>
                    <a:pt x="56" y="103"/>
                    <a:pt x="56" y="104"/>
                  </a:cubicBezTo>
                  <a:cubicBezTo>
                    <a:pt x="58" y="106"/>
                    <a:pt x="59" y="109"/>
                    <a:pt x="58" y="109"/>
                  </a:cubicBezTo>
                  <a:cubicBezTo>
                    <a:pt x="56" y="109"/>
                    <a:pt x="58" y="113"/>
                    <a:pt x="56" y="118"/>
                  </a:cubicBezTo>
                  <a:cubicBezTo>
                    <a:pt x="55" y="124"/>
                    <a:pt x="50" y="123"/>
                    <a:pt x="46" y="127"/>
                  </a:cubicBezTo>
                  <a:cubicBezTo>
                    <a:pt x="40" y="134"/>
                    <a:pt x="40" y="130"/>
                    <a:pt x="38" y="129"/>
                  </a:cubicBezTo>
                  <a:cubicBezTo>
                    <a:pt x="37" y="127"/>
                    <a:pt x="37" y="138"/>
                    <a:pt x="34" y="140"/>
                  </a:cubicBezTo>
                  <a:cubicBezTo>
                    <a:pt x="32" y="140"/>
                    <a:pt x="35" y="140"/>
                    <a:pt x="32" y="141"/>
                  </a:cubicBezTo>
                  <a:cubicBezTo>
                    <a:pt x="29" y="143"/>
                    <a:pt x="27" y="144"/>
                    <a:pt x="24" y="148"/>
                  </a:cubicBezTo>
                  <a:cubicBezTo>
                    <a:pt x="21" y="152"/>
                    <a:pt x="21" y="149"/>
                    <a:pt x="21" y="143"/>
                  </a:cubicBezTo>
                  <a:cubicBezTo>
                    <a:pt x="21" y="135"/>
                    <a:pt x="24" y="137"/>
                    <a:pt x="23" y="134"/>
                  </a:cubicBezTo>
                  <a:cubicBezTo>
                    <a:pt x="21" y="130"/>
                    <a:pt x="20" y="135"/>
                    <a:pt x="18" y="130"/>
                  </a:cubicBezTo>
                  <a:cubicBezTo>
                    <a:pt x="20" y="129"/>
                    <a:pt x="24" y="130"/>
                    <a:pt x="23" y="127"/>
                  </a:cubicBezTo>
                  <a:cubicBezTo>
                    <a:pt x="23" y="127"/>
                    <a:pt x="24" y="124"/>
                    <a:pt x="24" y="126"/>
                  </a:cubicBezTo>
                  <a:cubicBezTo>
                    <a:pt x="26" y="127"/>
                    <a:pt x="29" y="123"/>
                    <a:pt x="29" y="126"/>
                  </a:cubicBezTo>
                  <a:cubicBezTo>
                    <a:pt x="31" y="127"/>
                    <a:pt x="35" y="127"/>
                    <a:pt x="31" y="124"/>
                  </a:cubicBezTo>
                  <a:cubicBezTo>
                    <a:pt x="29" y="123"/>
                    <a:pt x="31" y="121"/>
                    <a:pt x="31" y="120"/>
                  </a:cubicBezTo>
                  <a:cubicBezTo>
                    <a:pt x="29" y="118"/>
                    <a:pt x="31" y="117"/>
                    <a:pt x="34" y="118"/>
                  </a:cubicBezTo>
                  <a:cubicBezTo>
                    <a:pt x="37" y="120"/>
                    <a:pt x="32" y="115"/>
                    <a:pt x="37" y="115"/>
                  </a:cubicBezTo>
                  <a:cubicBezTo>
                    <a:pt x="40" y="115"/>
                    <a:pt x="40" y="112"/>
                    <a:pt x="41" y="112"/>
                  </a:cubicBezTo>
                  <a:cubicBezTo>
                    <a:pt x="44" y="113"/>
                    <a:pt x="44" y="110"/>
                    <a:pt x="43" y="107"/>
                  </a:cubicBezTo>
                  <a:cubicBezTo>
                    <a:pt x="43" y="104"/>
                    <a:pt x="44" y="103"/>
                    <a:pt x="43" y="99"/>
                  </a:cubicBezTo>
                  <a:cubicBezTo>
                    <a:pt x="43" y="96"/>
                    <a:pt x="43" y="96"/>
                    <a:pt x="41" y="95"/>
                  </a:cubicBezTo>
                  <a:cubicBezTo>
                    <a:pt x="41" y="95"/>
                    <a:pt x="43" y="90"/>
                    <a:pt x="43" y="89"/>
                  </a:cubicBezTo>
                  <a:cubicBezTo>
                    <a:pt x="43" y="85"/>
                    <a:pt x="46" y="84"/>
                    <a:pt x="43" y="81"/>
                  </a:cubicBezTo>
                  <a:cubicBezTo>
                    <a:pt x="40" y="78"/>
                    <a:pt x="40" y="78"/>
                    <a:pt x="41" y="76"/>
                  </a:cubicBezTo>
                  <a:cubicBezTo>
                    <a:pt x="43" y="76"/>
                    <a:pt x="43" y="75"/>
                    <a:pt x="41" y="75"/>
                  </a:cubicBezTo>
                  <a:cubicBezTo>
                    <a:pt x="41" y="76"/>
                    <a:pt x="38" y="70"/>
                    <a:pt x="37" y="72"/>
                  </a:cubicBezTo>
                  <a:cubicBezTo>
                    <a:pt x="35" y="72"/>
                    <a:pt x="37" y="64"/>
                    <a:pt x="34" y="62"/>
                  </a:cubicBezTo>
                  <a:cubicBezTo>
                    <a:pt x="31" y="62"/>
                    <a:pt x="27" y="59"/>
                    <a:pt x="27" y="56"/>
                  </a:cubicBezTo>
                  <a:cubicBezTo>
                    <a:pt x="26" y="51"/>
                    <a:pt x="26" y="54"/>
                    <a:pt x="24" y="51"/>
                  </a:cubicBezTo>
                  <a:cubicBezTo>
                    <a:pt x="23" y="50"/>
                    <a:pt x="24" y="50"/>
                    <a:pt x="24" y="48"/>
                  </a:cubicBezTo>
                  <a:cubicBezTo>
                    <a:pt x="23" y="48"/>
                    <a:pt x="21" y="48"/>
                    <a:pt x="17" y="45"/>
                  </a:cubicBezTo>
                  <a:cubicBezTo>
                    <a:pt x="12" y="40"/>
                    <a:pt x="17" y="42"/>
                    <a:pt x="15" y="40"/>
                  </a:cubicBezTo>
                  <a:cubicBezTo>
                    <a:pt x="14" y="36"/>
                    <a:pt x="20" y="40"/>
                    <a:pt x="21" y="39"/>
                  </a:cubicBezTo>
                  <a:cubicBezTo>
                    <a:pt x="21" y="36"/>
                    <a:pt x="24" y="36"/>
                    <a:pt x="23" y="34"/>
                  </a:cubicBezTo>
                  <a:cubicBezTo>
                    <a:pt x="21" y="33"/>
                    <a:pt x="21" y="34"/>
                    <a:pt x="20" y="33"/>
                  </a:cubicBezTo>
                  <a:cubicBezTo>
                    <a:pt x="20" y="31"/>
                    <a:pt x="17" y="33"/>
                    <a:pt x="18" y="31"/>
                  </a:cubicBezTo>
                  <a:cubicBezTo>
                    <a:pt x="21" y="30"/>
                    <a:pt x="21" y="28"/>
                    <a:pt x="18" y="27"/>
                  </a:cubicBezTo>
                  <a:cubicBezTo>
                    <a:pt x="15" y="25"/>
                    <a:pt x="15" y="25"/>
                    <a:pt x="14" y="27"/>
                  </a:cubicBezTo>
                  <a:cubicBezTo>
                    <a:pt x="12" y="31"/>
                    <a:pt x="11" y="27"/>
                    <a:pt x="9" y="27"/>
                  </a:cubicBezTo>
                  <a:cubicBezTo>
                    <a:pt x="8" y="28"/>
                    <a:pt x="8" y="25"/>
                    <a:pt x="6" y="23"/>
                  </a:cubicBezTo>
                  <a:cubicBezTo>
                    <a:pt x="6" y="22"/>
                    <a:pt x="8" y="22"/>
                    <a:pt x="6" y="22"/>
                  </a:cubicBezTo>
                  <a:cubicBezTo>
                    <a:pt x="6" y="20"/>
                    <a:pt x="8" y="19"/>
                    <a:pt x="6" y="19"/>
                  </a:cubicBezTo>
                  <a:cubicBezTo>
                    <a:pt x="6" y="19"/>
                    <a:pt x="6" y="16"/>
                    <a:pt x="5" y="19"/>
                  </a:cubicBezTo>
                  <a:cubicBezTo>
                    <a:pt x="5" y="20"/>
                    <a:pt x="6" y="17"/>
                    <a:pt x="0" y="11"/>
                  </a:cubicBezTo>
                  <a:cubicBezTo>
                    <a:pt x="3" y="11"/>
                    <a:pt x="2" y="6"/>
                    <a:pt x="5" y="8"/>
                  </a:cubicBezTo>
                  <a:cubicBezTo>
                    <a:pt x="8" y="9"/>
                    <a:pt x="6" y="11"/>
                    <a:pt x="8" y="11"/>
                  </a:cubicBezTo>
                  <a:cubicBezTo>
                    <a:pt x="9" y="11"/>
                    <a:pt x="9" y="5"/>
                    <a:pt x="11" y="8"/>
                  </a:cubicBezTo>
                  <a:cubicBezTo>
                    <a:pt x="12" y="9"/>
                    <a:pt x="12" y="8"/>
                    <a:pt x="12" y="8"/>
                  </a:cubicBezTo>
                  <a:cubicBezTo>
                    <a:pt x="14" y="9"/>
                    <a:pt x="15" y="13"/>
                    <a:pt x="15" y="9"/>
                  </a:cubicBezTo>
                  <a:cubicBezTo>
                    <a:pt x="15" y="6"/>
                    <a:pt x="17" y="6"/>
                    <a:pt x="17" y="8"/>
                  </a:cubicBezTo>
                  <a:cubicBezTo>
                    <a:pt x="18" y="9"/>
                    <a:pt x="23" y="6"/>
                    <a:pt x="21" y="5"/>
                  </a:cubicBezTo>
                  <a:cubicBezTo>
                    <a:pt x="21" y="3"/>
                    <a:pt x="23" y="5"/>
                    <a:pt x="24" y="2"/>
                  </a:cubicBezTo>
                  <a:cubicBezTo>
                    <a:pt x="26" y="0"/>
                    <a:pt x="27" y="6"/>
                    <a:pt x="31" y="6"/>
                  </a:cubicBezTo>
                  <a:cubicBezTo>
                    <a:pt x="34" y="5"/>
                    <a:pt x="32" y="8"/>
                    <a:pt x="35" y="6"/>
                  </a:cubicBezTo>
                  <a:cubicBezTo>
                    <a:pt x="37" y="6"/>
                    <a:pt x="38" y="6"/>
                    <a:pt x="37" y="9"/>
                  </a:cubicBezTo>
                  <a:cubicBezTo>
                    <a:pt x="34" y="13"/>
                    <a:pt x="37" y="11"/>
                    <a:pt x="37" y="14"/>
                  </a:cubicBezTo>
                  <a:cubicBezTo>
                    <a:pt x="37" y="16"/>
                    <a:pt x="38" y="14"/>
                    <a:pt x="40" y="17"/>
                  </a:cubicBezTo>
                  <a:cubicBezTo>
                    <a:pt x="40" y="19"/>
                    <a:pt x="41" y="17"/>
                    <a:pt x="41" y="19"/>
                  </a:cubicBezTo>
                  <a:cubicBezTo>
                    <a:pt x="43" y="20"/>
                    <a:pt x="44" y="19"/>
                    <a:pt x="47" y="20"/>
                  </a:cubicBezTo>
                  <a:cubicBezTo>
                    <a:pt x="47" y="20"/>
                    <a:pt x="46" y="20"/>
                    <a:pt x="43" y="22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60" name="Freeform 75">
              <a:extLst>
                <a:ext uri="{FF2B5EF4-FFF2-40B4-BE49-F238E27FC236}">
                  <a16:creationId xmlns:a16="http://schemas.microsoft.com/office/drawing/2014/main" id="{57629743-011B-F8AE-7C9C-B10666214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11839" y="4061491"/>
              <a:ext cx="186387" cy="271541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22"/>
                </a:cxn>
                <a:cxn ang="0">
                  <a:pos x="3" y="29"/>
                </a:cxn>
                <a:cxn ang="0">
                  <a:pos x="8" y="28"/>
                </a:cxn>
                <a:cxn ang="0">
                  <a:pos x="9" y="32"/>
                </a:cxn>
                <a:cxn ang="0">
                  <a:pos x="8" y="42"/>
                </a:cxn>
                <a:cxn ang="0">
                  <a:pos x="6" y="50"/>
                </a:cxn>
                <a:cxn ang="0">
                  <a:pos x="12" y="45"/>
                </a:cxn>
                <a:cxn ang="0">
                  <a:pos x="18" y="45"/>
                </a:cxn>
                <a:cxn ang="0">
                  <a:pos x="20" y="45"/>
                </a:cxn>
                <a:cxn ang="0">
                  <a:pos x="27" y="40"/>
                </a:cxn>
                <a:cxn ang="0">
                  <a:pos x="32" y="43"/>
                </a:cxn>
                <a:cxn ang="0">
                  <a:pos x="36" y="56"/>
                </a:cxn>
                <a:cxn ang="0">
                  <a:pos x="41" y="65"/>
                </a:cxn>
                <a:cxn ang="0">
                  <a:pos x="42" y="76"/>
                </a:cxn>
                <a:cxn ang="0">
                  <a:pos x="39" y="81"/>
                </a:cxn>
                <a:cxn ang="0">
                  <a:pos x="44" y="84"/>
                </a:cxn>
                <a:cxn ang="0">
                  <a:pos x="47" y="83"/>
                </a:cxn>
                <a:cxn ang="0">
                  <a:pos x="50" y="79"/>
                </a:cxn>
                <a:cxn ang="0">
                  <a:pos x="53" y="81"/>
                </a:cxn>
                <a:cxn ang="0">
                  <a:pos x="56" y="79"/>
                </a:cxn>
                <a:cxn ang="0">
                  <a:pos x="57" y="78"/>
                </a:cxn>
                <a:cxn ang="0">
                  <a:pos x="57" y="70"/>
                </a:cxn>
                <a:cxn ang="0">
                  <a:pos x="56" y="65"/>
                </a:cxn>
                <a:cxn ang="0">
                  <a:pos x="56" y="64"/>
                </a:cxn>
                <a:cxn ang="0">
                  <a:pos x="51" y="61"/>
                </a:cxn>
                <a:cxn ang="0">
                  <a:pos x="48" y="51"/>
                </a:cxn>
                <a:cxn ang="0">
                  <a:pos x="42" y="45"/>
                </a:cxn>
                <a:cxn ang="0">
                  <a:pos x="39" y="40"/>
                </a:cxn>
                <a:cxn ang="0">
                  <a:pos x="39" y="37"/>
                </a:cxn>
                <a:cxn ang="0">
                  <a:pos x="32" y="34"/>
                </a:cxn>
                <a:cxn ang="0">
                  <a:pos x="30" y="29"/>
                </a:cxn>
                <a:cxn ang="0">
                  <a:pos x="36" y="28"/>
                </a:cxn>
                <a:cxn ang="0">
                  <a:pos x="38" y="23"/>
                </a:cxn>
                <a:cxn ang="0">
                  <a:pos x="35" y="22"/>
                </a:cxn>
                <a:cxn ang="0">
                  <a:pos x="33" y="20"/>
                </a:cxn>
                <a:cxn ang="0">
                  <a:pos x="33" y="15"/>
                </a:cxn>
                <a:cxn ang="0">
                  <a:pos x="29" y="15"/>
                </a:cxn>
                <a:cxn ang="0">
                  <a:pos x="24" y="15"/>
                </a:cxn>
                <a:cxn ang="0">
                  <a:pos x="21" y="12"/>
                </a:cxn>
                <a:cxn ang="0">
                  <a:pos x="21" y="11"/>
                </a:cxn>
                <a:cxn ang="0">
                  <a:pos x="21" y="7"/>
                </a:cxn>
                <a:cxn ang="0">
                  <a:pos x="20" y="7"/>
                </a:cxn>
                <a:cxn ang="0">
                  <a:pos x="15" y="0"/>
                </a:cxn>
                <a:cxn ang="0">
                  <a:pos x="12" y="4"/>
                </a:cxn>
                <a:cxn ang="0">
                  <a:pos x="12" y="11"/>
                </a:cxn>
                <a:cxn ang="0">
                  <a:pos x="12" y="12"/>
                </a:cxn>
                <a:cxn ang="0">
                  <a:pos x="8" y="9"/>
                </a:cxn>
                <a:cxn ang="0">
                  <a:pos x="3" y="14"/>
                </a:cxn>
                <a:cxn ang="0">
                  <a:pos x="0" y="20"/>
                </a:cxn>
              </a:cxnLst>
              <a:rect l="0" t="0" r="r" b="b"/>
              <a:pathLst>
                <a:path w="60" h="87">
                  <a:moveTo>
                    <a:pt x="0" y="20"/>
                  </a:moveTo>
                  <a:cubicBezTo>
                    <a:pt x="0" y="23"/>
                    <a:pt x="0" y="20"/>
                    <a:pt x="2" y="22"/>
                  </a:cubicBezTo>
                  <a:cubicBezTo>
                    <a:pt x="5" y="25"/>
                    <a:pt x="0" y="29"/>
                    <a:pt x="3" y="29"/>
                  </a:cubicBezTo>
                  <a:cubicBezTo>
                    <a:pt x="6" y="29"/>
                    <a:pt x="5" y="28"/>
                    <a:pt x="8" y="28"/>
                  </a:cubicBezTo>
                  <a:cubicBezTo>
                    <a:pt x="11" y="29"/>
                    <a:pt x="8" y="31"/>
                    <a:pt x="9" y="32"/>
                  </a:cubicBezTo>
                  <a:cubicBezTo>
                    <a:pt x="11" y="36"/>
                    <a:pt x="6" y="40"/>
                    <a:pt x="8" y="42"/>
                  </a:cubicBezTo>
                  <a:cubicBezTo>
                    <a:pt x="9" y="43"/>
                    <a:pt x="5" y="48"/>
                    <a:pt x="6" y="50"/>
                  </a:cubicBezTo>
                  <a:cubicBezTo>
                    <a:pt x="8" y="50"/>
                    <a:pt x="8" y="50"/>
                    <a:pt x="12" y="45"/>
                  </a:cubicBezTo>
                  <a:cubicBezTo>
                    <a:pt x="17" y="40"/>
                    <a:pt x="15" y="45"/>
                    <a:pt x="18" y="45"/>
                  </a:cubicBezTo>
                  <a:cubicBezTo>
                    <a:pt x="20" y="45"/>
                    <a:pt x="18" y="46"/>
                    <a:pt x="20" y="45"/>
                  </a:cubicBezTo>
                  <a:cubicBezTo>
                    <a:pt x="24" y="43"/>
                    <a:pt x="23" y="39"/>
                    <a:pt x="27" y="40"/>
                  </a:cubicBezTo>
                  <a:cubicBezTo>
                    <a:pt x="30" y="42"/>
                    <a:pt x="30" y="40"/>
                    <a:pt x="32" y="43"/>
                  </a:cubicBezTo>
                  <a:cubicBezTo>
                    <a:pt x="33" y="50"/>
                    <a:pt x="38" y="48"/>
                    <a:pt x="36" y="56"/>
                  </a:cubicBezTo>
                  <a:cubicBezTo>
                    <a:pt x="35" y="64"/>
                    <a:pt x="41" y="64"/>
                    <a:pt x="41" y="65"/>
                  </a:cubicBezTo>
                  <a:cubicBezTo>
                    <a:pt x="41" y="67"/>
                    <a:pt x="44" y="67"/>
                    <a:pt x="42" y="76"/>
                  </a:cubicBezTo>
                  <a:cubicBezTo>
                    <a:pt x="42" y="78"/>
                    <a:pt x="44" y="79"/>
                    <a:pt x="39" y="81"/>
                  </a:cubicBezTo>
                  <a:cubicBezTo>
                    <a:pt x="41" y="86"/>
                    <a:pt x="42" y="81"/>
                    <a:pt x="44" y="84"/>
                  </a:cubicBezTo>
                  <a:cubicBezTo>
                    <a:pt x="45" y="87"/>
                    <a:pt x="48" y="86"/>
                    <a:pt x="47" y="83"/>
                  </a:cubicBezTo>
                  <a:cubicBezTo>
                    <a:pt x="44" y="79"/>
                    <a:pt x="48" y="81"/>
                    <a:pt x="50" y="79"/>
                  </a:cubicBezTo>
                  <a:cubicBezTo>
                    <a:pt x="51" y="78"/>
                    <a:pt x="51" y="83"/>
                    <a:pt x="53" y="81"/>
                  </a:cubicBezTo>
                  <a:cubicBezTo>
                    <a:pt x="54" y="81"/>
                    <a:pt x="56" y="78"/>
                    <a:pt x="56" y="79"/>
                  </a:cubicBezTo>
                  <a:cubicBezTo>
                    <a:pt x="57" y="79"/>
                    <a:pt x="57" y="78"/>
                    <a:pt x="57" y="78"/>
                  </a:cubicBezTo>
                  <a:cubicBezTo>
                    <a:pt x="57" y="75"/>
                    <a:pt x="60" y="73"/>
                    <a:pt x="57" y="70"/>
                  </a:cubicBezTo>
                  <a:cubicBezTo>
                    <a:pt x="54" y="67"/>
                    <a:pt x="54" y="67"/>
                    <a:pt x="56" y="65"/>
                  </a:cubicBezTo>
                  <a:cubicBezTo>
                    <a:pt x="57" y="65"/>
                    <a:pt x="57" y="64"/>
                    <a:pt x="56" y="64"/>
                  </a:cubicBezTo>
                  <a:cubicBezTo>
                    <a:pt x="56" y="65"/>
                    <a:pt x="53" y="59"/>
                    <a:pt x="51" y="61"/>
                  </a:cubicBezTo>
                  <a:cubicBezTo>
                    <a:pt x="50" y="61"/>
                    <a:pt x="51" y="53"/>
                    <a:pt x="48" y="51"/>
                  </a:cubicBezTo>
                  <a:cubicBezTo>
                    <a:pt x="45" y="51"/>
                    <a:pt x="42" y="48"/>
                    <a:pt x="42" y="45"/>
                  </a:cubicBezTo>
                  <a:cubicBezTo>
                    <a:pt x="41" y="40"/>
                    <a:pt x="41" y="43"/>
                    <a:pt x="39" y="40"/>
                  </a:cubicBezTo>
                  <a:cubicBezTo>
                    <a:pt x="38" y="39"/>
                    <a:pt x="39" y="39"/>
                    <a:pt x="39" y="37"/>
                  </a:cubicBezTo>
                  <a:cubicBezTo>
                    <a:pt x="38" y="37"/>
                    <a:pt x="36" y="37"/>
                    <a:pt x="32" y="34"/>
                  </a:cubicBezTo>
                  <a:cubicBezTo>
                    <a:pt x="27" y="29"/>
                    <a:pt x="32" y="31"/>
                    <a:pt x="30" y="29"/>
                  </a:cubicBezTo>
                  <a:cubicBezTo>
                    <a:pt x="29" y="25"/>
                    <a:pt x="35" y="29"/>
                    <a:pt x="36" y="28"/>
                  </a:cubicBezTo>
                  <a:cubicBezTo>
                    <a:pt x="36" y="25"/>
                    <a:pt x="39" y="25"/>
                    <a:pt x="38" y="23"/>
                  </a:cubicBezTo>
                  <a:cubicBezTo>
                    <a:pt x="36" y="22"/>
                    <a:pt x="36" y="23"/>
                    <a:pt x="35" y="22"/>
                  </a:cubicBezTo>
                  <a:cubicBezTo>
                    <a:pt x="35" y="20"/>
                    <a:pt x="32" y="22"/>
                    <a:pt x="33" y="20"/>
                  </a:cubicBezTo>
                  <a:cubicBezTo>
                    <a:pt x="36" y="18"/>
                    <a:pt x="36" y="17"/>
                    <a:pt x="33" y="15"/>
                  </a:cubicBezTo>
                  <a:cubicBezTo>
                    <a:pt x="30" y="14"/>
                    <a:pt x="30" y="14"/>
                    <a:pt x="29" y="15"/>
                  </a:cubicBezTo>
                  <a:cubicBezTo>
                    <a:pt x="27" y="20"/>
                    <a:pt x="26" y="15"/>
                    <a:pt x="24" y="15"/>
                  </a:cubicBezTo>
                  <a:cubicBezTo>
                    <a:pt x="23" y="17"/>
                    <a:pt x="23" y="14"/>
                    <a:pt x="21" y="12"/>
                  </a:cubicBezTo>
                  <a:cubicBezTo>
                    <a:pt x="21" y="11"/>
                    <a:pt x="23" y="11"/>
                    <a:pt x="21" y="11"/>
                  </a:cubicBezTo>
                  <a:cubicBezTo>
                    <a:pt x="21" y="9"/>
                    <a:pt x="23" y="7"/>
                    <a:pt x="21" y="7"/>
                  </a:cubicBezTo>
                  <a:cubicBezTo>
                    <a:pt x="21" y="7"/>
                    <a:pt x="21" y="4"/>
                    <a:pt x="20" y="7"/>
                  </a:cubicBezTo>
                  <a:cubicBezTo>
                    <a:pt x="20" y="9"/>
                    <a:pt x="21" y="6"/>
                    <a:pt x="15" y="0"/>
                  </a:cubicBezTo>
                  <a:cubicBezTo>
                    <a:pt x="14" y="0"/>
                    <a:pt x="9" y="0"/>
                    <a:pt x="12" y="4"/>
                  </a:cubicBezTo>
                  <a:cubicBezTo>
                    <a:pt x="14" y="11"/>
                    <a:pt x="12" y="9"/>
                    <a:pt x="12" y="11"/>
                  </a:cubicBezTo>
                  <a:cubicBezTo>
                    <a:pt x="14" y="12"/>
                    <a:pt x="12" y="14"/>
                    <a:pt x="12" y="12"/>
                  </a:cubicBezTo>
                  <a:cubicBezTo>
                    <a:pt x="11" y="11"/>
                    <a:pt x="9" y="15"/>
                    <a:pt x="8" y="9"/>
                  </a:cubicBezTo>
                  <a:cubicBezTo>
                    <a:pt x="6" y="11"/>
                    <a:pt x="3" y="9"/>
                    <a:pt x="3" y="14"/>
                  </a:cubicBezTo>
                  <a:cubicBezTo>
                    <a:pt x="2" y="18"/>
                    <a:pt x="0" y="14"/>
                    <a:pt x="0" y="20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61" name="Freeform 76">
              <a:extLst>
                <a:ext uri="{FF2B5EF4-FFF2-40B4-BE49-F238E27FC236}">
                  <a16:creationId xmlns:a16="http://schemas.microsoft.com/office/drawing/2014/main" id="{691293E9-13CE-85BE-7DA7-8EC519F8EC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58436" y="4304110"/>
              <a:ext cx="136577" cy="131754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41" y="6"/>
                </a:cxn>
                <a:cxn ang="0">
                  <a:pos x="42" y="11"/>
                </a:cxn>
                <a:cxn ang="0">
                  <a:pos x="42" y="18"/>
                </a:cxn>
                <a:cxn ang="0">
                  <a:pos x="41" y="23"/>
                </a:cxn>
                <a:cxn ang="0">
                  <a:pos x="36" y="26"/>
                </a:cxn>
                <a:cxn ang="0">
                  <a:pos x="33" y="29"/>
                </a:cxn>
                <a:cxn ang="0">
                  <a:pos x="30" y="31"/>
                </a:cxn>
                <a:cxn ang="0">
                  <a:pos x="30" y="35"/>
                </a:cxn>
                <a:cxn ang="0">
                  <a:pos x="29" y="37"/>
                </a:cxn>
                <a:cxn ang="0">
                  <a:pos x="24" y="37"/>
                </a:cxn>
                <a:cxn ang="0">
                  <a:pos x="23" y="39"/>
                </a:cxn>
                <a:cxn ang="0">
                  <a:pos x="18" y="42"/>
                </a:cxn>
                <a:cxn ang="0">
                  <a:pos x="14" y="40"/>
                </a:cxn>
                <a:cxn ang="0">
                  <a:pos x="12" y="40"/>
                </a:cxn>
                <a:cxn ang="0">
                  <a:pos x="12" y="35"/>
                </a:cxn>
                <a:cxn ang="0">
                  <a:pos x="11" y="37"/>
                </a:cxn>
                <a:cxn ang="0">
                  <a:pos x="8" y="35"/>
                </a:cxn>
                <a:cxn ang="0">
                  <a:pos x="6" y="29"/>
                </a:cxn>
                <a:cxn ang="0">
                  <a:pos x="5" y="21"/>
                </a:cxn>
                <a:cxn ang="0">
                  <a:pos x="2" y="14"/>
                </a:cxn>
                <a:cxn ang="0">
                  <a:pos x="3" y="11"/>
                </a:cxn>
                <a:cxn ang="0">
                  <a:pos x="6" y="6"/>
                </a:cxn>
                <a:cxn ang="0">
                  <a:pos x="20" y="3"/>
                </a:cxn>
                <a:cxn ang="0">
                  <a:pos x="24" y="3"/>
                </a:cxn>
                <a:cxn ang="0">
                  <a:pos x="29" y="6"/>
                </a:cxn>
                <a:cxn ang="0">
                  <a:pos x="32" y="4"/>
                </a:cxn>
                <a:cxn ang="0">
                  <a:pos x="35" y="1"/>
                </a:cxn>
                <a:cxn ang="0">
                  <a:pos x="38" y="3"/>
                </a:cxn>
                <a:cxn ang="0">
                  <a:pos x="41" y="1"/>
                </a:cxn>
                <a:cxn ang="0">
                  <a:pos x="42" y="0"/>
                </a:cxn>
              </a:cxnLst>
              <a:rect l="0" t="0" r="r" b="b"/>
              <a:pathLst>
                <a:path w="44" h="42">
                  <a:moveTo>
                    <a:pt x="42" y="0"/>
                  </a:moveTo>
                  <a:cubicBezTo>
                    <a:pt x="42" y="1"/>
                    <a:pt x="41" y="6"/>
                    <a:pt x="41" y="6"/>
                  </a:cubicBezTo>
                  <a:cubicBezTo>
                    <a:pt x="42" y="7"/>
                    <a:pt x="42" y="7"/>
                    <a:pt x="42" y="11"/>
                  </a:cubicBezTo>
                  <a:cubicBezTo>
                    <a:pt x="44" y="14"/>
                    <a:pt x="42" y="15"/>
                    <a:pt x="42" y="18"/>
                  </a:cubicBezTo>
                  <a:cubicBezTo>
                    <a:pt x="44" y="21"/>
                    <a:pt x="44" y="25"/>
                    <a:pt x="41" y="23"/>
                  </a:cubicBezTo>
                  <a:cubicBezTo>
                    <a:pt x="39" y="23"/>
                    <a:pt x="39" y="26"/>
                    <a:pt x="36" y="26"/>
                  </a:cubicBezTo>
                  <a:cubicBezTo>
                    <a:pt x="32" y="26"/>
                    <a:pt x="36" y="31"/>
                    <a:pt x="33" y="29"/>
                  </a:cubicBezTo>
                  <a:cubicBezTo>
                    <a:pt x="30" y="28"/>
                    <a:pt x="29" y="29"/>
                    <a:pt x="30" y="31"/>
                  </a:cubicBezTo>
                  <a:cubicBezTo>
                    <a:pt x="30" y="32"/>
                    <a:pt x="29" y="34"/>
                    <a:pt x="30" y="35"/>
                  </a:cubicBezTo>
                  <a:cubicBezTo>
                    <a:pt x="35" y="39"/>
                    <a:pt x="30" y="39"/>
                    <a:pt x="29" y="37"/>
                  </a:cubicBezTo>
                  <a:cubicBezTo>
                    <a:pt x="29" y="34"/>
                    <a:pt x="26" y="39"/>
                    <a:pt x="24" y="37"/>
                  </a:cubicBezTo>
                  <a:cubicBezTo>
                    <a:pt x="24" y="35"/>
                    <a:pt x="23" y="39"/>
                    <a:pt x="23" y="39"/>
                  </a:cubicBezTo>
                  <a:cubicBezTo>
                    <a:pt x="24" y="42"/>
                    <a:pt x="20" y="40"/>
                    <a:pt x="18" y="42"/>
                  </a:cubicBezTo>
                  <a:cubicBezTo>
                    <a:pt x="17" y="40"/>
                    <a:pt x="15" y="42"/>
                    <a:pt x="14" y="40"/>
                  </a:cubicBezTo>
                  <a:cubicBezTo>
                    <a:pt x="14" y="39"/>
                    <a:pt x="14" y="42"/>
                    <a:pt x="12" y="40"/>
                  </a:cubicBezTo>
                  <a:cubicBezTo>
                    <a:pt x="9" y="39"/>
                    <a:pt x="14" y="39"/>
                    <a:pt x="12" y="35"/>
                  </a:cubicBezTo>
                  <a:cubicBezTo>
                    <a:pt x="9" y="32"/>
                    <a:pt x="11" y="37"/>
                    <a:pt x="11" y="37"/>
                  </a:cubicBezTo>
                  <a:cubicBezTo>
                    <a:pt x="9" y="37"/>
                    <a:pt x="8" y="40"/>
                    <a:pt x="8" y="35"/>
                  </a:cubicBezTo>
                  <a:cubicBezTo>
                    <a:pt x="8" y="32"/>
                    <a:pt x="9" y="34"/>
                    <a:pt x="6" y="29"/>
                  </a:cubicBezTo>
                  <a:cubicBezTo>
                    <a:pt x="3" y="25"/>
                    <a:pt x="6" y="23"/>
                    <a:pt x="5" y="21"/>
                  </a:cubicBezTo>
                  <a:cubicBezTo>
                    <a:pt x="2" y="20"/>
                    <a:pt x="5" y="18"/>
                    <a:pt x="2" y="14"/>
                  </a:cubicBezTo>
                  <a:cubicBezTo>
                    <a:pt x="0" y="9"/>
                    <a:pt x="3" y="12"/>
                    <a:pt x="3" y="11"/>
                  </a:cubicBezTo>
                  <a:cubicBezTo>
                    <a:pt x="3" y="9"/>
                    <a:pt x="5" y="11"/>
                    <a:pt x="6" y="6"/>
                  </a:cubicBezTo>
                  <a:cubicBezTo>
                    <a:pt x="8" y="1"/>
                    <a:pt x="15" y="3"/>
                    <a:pt x="20" y="3"/>
                  </a:cubicBezTo>
                  <a:cubicBezTo>
                    <a:pt x="24" y="1"/>
                    <a:pt x="23" y="4"/>
                    <a:pt x="24" y="3"/>
                  </a:cubicBezTo>
                  <a:cubicBezTo>
                    <a:pt x="26" y="7"/>
                    <a:pt x="27" y="3"/>
                    <a:pt x="29" y="6"/>
                  </a:cubicBezTo>
                  <a:cubicBezTo>
                    <a:pt x="30" y="9"/>
                    <a:pt x="33" y="7"/>
                    <a:pt x="32" y="4"/>
                  </a:cubicBezTo>
                  <a:cubicBezTo>
                    <a:pt x="29" y="1"/>
                    <a:pt x="33" y="3"/>
                    <a:pt x="35" y="1"/>
                  </a:cubicBezTo>
                  <a:cubicBezTo>
                    <a:pt x="36" y="0"/>
                    <a:pt x="36" y="4"/>
                    <a:pt x="38" y="3"/>
                  </a:cubicBezTo>
                  <a:cubicBezTo>
                    <a:pt x="39" y="3"/>
                    <a:pt x="41" y="0"/>
                    <a:pt x="41" y="1"/>
                  </a:cubicBezTo>
                  <a:cubicBezTo>
                    <a:pt x="42" y="1"/>
                    <a:pt x="42" y="0"/>
                    <a:pt x="42" y="0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62" name="Freeform 77">
              <a:extLst>
                <a:ext uri="{FF2B5EF4-FFF2-40B4-BE49-F238E27FC236}">
                  <a16:creationId xmlns:a16="http://schemas.microsoft.com/office/drawing/2014/main" id="{5F5BA46B-03E5-5BBC-2F9F-5021AAB885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90597" y="3743353"/>
              <a:ext cx="517383" cy="530228"/>
            </a:xfrm>
            <a:custGeom>
              <a:avLst/>
              <a:gdLst/>
              <a:ahLst/>
              <a:cxnLst>
                <a:cxn ang="0">
                  <a:pos x="125" y="141"/>
                </a:cxn>
                <a:cxn ang="0">
                  <a:pos x="107" y="151"/>
                </a:cxn>
                <a:cxn ang="0">
                  <a:pos x="92" y="162"/>
                </a:cxn>
                <a:cxn ang="0">
                  <a:pos x="75" y="153"/>
                </a:cxn>
                <a:cxn ang="0">
                  <a:pos x="74" y="153"/>
                </a:cxn>
                <a:cxn ang="0">
                  <a:pos x="72" y="153"/>
                </a:cxn>
                <a:cxn ang="0">
                  <a:pos x="68" y="153"/>
                </a:cxn>
                <a:cxn ang="0">
                  <a:pos x="68" y="158"/>
                </a:cxn>
                <a:cxn ang="0">
                  <a:pos x="65" y="162"/>
                </a:cxn>
                <a:cxn ang="0">
                  <a:pos x="54" y="144"/>
                </a:cxn>
                <a:cxn ang="0">
                  <a:pos x="50" y="133"/>
                </a:cxn>
                <a:cxn ang="0">
                  <a:pos x="36" y="117"/>
                </a:cxn>
                <a:cxn ang="0">
                  <a:pos x="34" y="100"/>
                </a:cxn>
                <a:cxn ang="0">
                  <a:pos x="21" y="77"/>
                </a:cxn>
                <a:cxn ang="0">
                  <a:pos x="15" y="64"/>
                </a:cxn>
                <a:cxn ang="0">
                  <a:pos x="1" y="41"/>
                </a:cxn>
                <a:cxn ang="0">
                  <a:pos x="12" y="32"/>
                </a:cxn>
                <a:cxn ang="0">
                  <a:pos x="24" y="24"/>
                </a:cxn>
                <a:cxn ang="0">
                  <a:pos x="27" y="18"/>
                </a:cxn>
                <a:cxn ang="0">
                  <a:pos x="24" y="7"/>
                </a:cxn>
                <a:cxn ang="0">
                  <a:pos x="47" y="4"/>
                </a:cxn>
                <a:cxn ang="0">
                  <a:pos x="59" y="11"/>
                </a:cxn>
                <a:cxn ang="0">
                  <a:pos x="80" y="32"/>
                </a:cxn>
                <a:cxn ang="0">
                  <a:pos x="101" y="35"/>
                </a:cxn>
                <a:cxn ang="0">
                  <a:pos x="109" y="39"/>
                </a:cxn>
                <a:cxn ang="0">
                  <a:pos x="116" y="50"/>
                </a:cxn>
                <a:cxn ang="0">
                  <a:pos x="122" y="60"/>
                </a:cxn>
                <a:cxn ang="0">
                  <a:pos x="124" y="71"/>
                </a:cxn>
                <a:cxn ang="0">
                  <a:pos x="130" y="80"/>
                </a:cxn>
                <a:cxn ang="0">
                  <a:pos x="136" y="92"/>
                </a:cxn>
                <a:cxn ang="0">
                  <a:pos x="163" y="99"/>
                </a:cxn>
                <a:cxn ang="0">
                  <a:pos x="165" y="113"/>
                </a:cxn>
                <a:cxn ang="0">
                  <a:pos x="150" y="131"/>
                </a:cxn>
              </a:cxnLst>
              <a:rect l="0" t="0" r="r" b="b"/>
              <a:pathLst>
                <a:path w="166" h="170">
                  <a:moveTo>
                    <a:pt x="138" y="136"/>
                  </a:moveTo>
                  <a:cubicBezTo>
                    <a:pt x="133" y="137"/>
                    <a:pt x="130" y="139"/>
                    <a:pt x="125" y="141"/>
                  </a:cubicBezTo>
                  <a:cubicBezTo>
                    <a:pt x="122" y="141"/>
                    <a:pt x="115" y="142"/>
                    <a:pt x="112" y="144"/>
                  </a:cubicBezTo>
                  <a:cubicBezTo>
                    <a:pt x="110" y="145"/>
                    <a:pt x="107" y="150"/>
                    <a:pt x="107" y="151"/>
                  </a:cubicBezTo>
                  <a:cubicBezTo>
                    <a:pt x="103" y="158"/>
                    <a:pt x="97" y="164"/>
                    <a:pt x="92" y="170"/>
                  </a:cubicBezTo>
                  <a:cubicBezTo>
                    <a:pt x="92" y="167"/>
                    <a:pt x="92" y="164"/>
                    <a:pt x="92" y="162"/>
                  </a:cubicBezTo>
                  <a:cubicBezTo>
                    <a:pt x="92" y="161"/>
                    <a:pt x="92" y="159"/>
                    <a:pt x="92" y="159"/>
                  </a:cubicBezTo>
                  <a:cubicBezTo>
                    <a:pt x="92" y="159"/>
                    <a:pt x="77" y="151"/>
                    <a:pt x="75" y="153"/>
                  </a:cubicBezTo>
                  <a:cubicBezTo>
                    <a:pt x="75" y="153"/>
                    <a:pt x="75" y="153"/>
                    <a:pt x="74" y="153"/>
                  </a:cubicBezTo>
                  <a:cubicBezTo>
                    <a:pt x="74" y="153"/>
                    <a:pt x="74" y="153"/>
                    <a:pt x="74" y="153"/>
                  </a:cubicBezTo>
                  <a:cubicBezTo>
                    <a:pt x="74" y="153"/>
                    <a:pt x="74" y="153"/>
                    <a:pt x="74" y="153"/>
                  </a:cubicBezTo>
                  <a:cubicBezTo>
                    <a:pt x="72" y="153"/>
                    <a:pt x="72" y="153"/>
                    <a:pt x="72" y="153"/>
                  </a:cubicBezTo>
                  <a:cubicBezTo>
                    <a:pt x="72" y="153"/>
                    <a:pt x="71" y="151"/>
                    <a:pt x="69" y="151"/>
                  </a:cubicBezTo>
                  <a:cubicBezTo>
                    <a:pt x="68" y="153"/>
                    <a:pt x="68" y="153"/>
                    <a:pt x="68" y="153"/>
                  </a:cubicBezTo>
                  <a:cubicBezTo>
                    <a:pt x="68" y="153"/>
                    <a:pt x="69" y="153"/>
                    <a:pt x="68" y="153"/>
                  </a:cubicBezTo>
                  <a:cubicBezTo>
                    <a:pt x="68" y="155"/>
                    <a:pt x="68" y="156"/>
                    <a:pt x="68" y="158"/>
                  </a:cubicBezTo>
                  <a:cubicBezTo>
                    <a:pt x="68" y="158"/>
                    <a:pt x="68" y="158"/>
                    <a:pt x="68" y="159"/>
                  </a:cubicBezTo>
                  <a:cubicBezTo>
                    <a:pt x="68" y="159"/>
                    <a:pt x="66" y="161"/>
                    <a:pt x="65" y="162"/>
                  </a:cubicBezTo>
                  <a:cubicBezTo>
                    <a:pt x="62" y="151"/>
                    <a:pt x="62" y="159"/>
                    <a:pt x="60" y="155"/>
                  </a:cubicBezTo>
                  <a:cubicBezTo>
                    <a:pt x="60" y="150"/>
                    <a:pt x="54" y="147"/>
                    <a:pt x="54" y="144"/>
                  </a:cubicBezTo>
                  <a:cubicBezTo>
                    <a:pt x="54" y="141"/>
                    <a:pt x="53" y="141"/>
                    <a:pt x="53" y="137"/>
                  </a:cubicBezTo>
                  <a:cubicBezTo>
                    <a:pt x="53" y="134"/>
                    <a:pt x="51" y="136"/>
                    <a:pt x="50" y="133"/>
                  </a:cubicBezTo>
                  <a:cubicBezTo>
                    <a:pt x="48" y="130"/>
                    <a:pt x="47" y="125"/>
                    <a:pt x="44" y="123"/>
                  </a:cubicBezTo>
                  <a:cubicBezTo>
                    <a:pt x="39" y="123"/>
                    <a:pt x="40" y="122"/>
                    <a:pt x="36" y="117"/>
                  </a:cubicBezTo>
                  <a:cubicBezTo>
                    <a:pt x="33" y="111"/>
                    <a:pt x="37" y="114"/>
                    <a:pt x="34" y="109"/>
                  </a:cubicBezTo>
                  <a:cubicBezTo>
                    <a:pt x="33" y="105"/>
                    <a:pt x="37" y="106"/>
                    <a:pt x="34" y="100"/>
                  </a:cubicBezTo>
                  <a:cubicBezTo>
                    <a:pt x="33" y="95"/>
                    <a:pt x="30" y="85"/>
                    <a:pt x="27" y="85"/>
                  </a:cubicBezTo>
                  <a:cubicBezTo>
                    <a:pt x="22" y="83"/>
                    <a:pt x="19" y="78"/>
                    <a:pt x="21" y="77"/>
                  </a:cubicBezTo>
                  <a:cubicBezTo>
                    <a:pt x="22" y="74"/>
                    <a:pt x="21" y="71"/>
                    <a:pt x="18" y="69"/>
                  </a:cubicBezTo>
                  <a:cubicBezTo>
                    <a:pt x="16" y="66"/>
                    <a:pt x="18" y="66"/>
                    <a:pt x="15" y="64"/>
                  </a:cubicBezTo>
                  <a:cubicBezTo>
                    <a:pt x="12" y="60"/>
                    <a:pt x="7" y="44"/>
                    <a:pt x="4" y="44"/>
                  </a:cubicBezTo>
                  <a:cubicBezTo>
                    <a:pt x="0" y="43"/>
                    <a:pt x="0" y="47"/>
                    <a:pt x="1" y="41"/>
                  </a:cubicBezTo>
                  <a:cubicBezTo>
                    <a:pt x="3" y="36"/>
                    <a:pt x="1" y="39"/>
                    <a:pt x="3" y="30"/>
                  </a:cubicBezTo>
                  <a:cubicBezTo>
                    <a:pt x="4" y="30"/>
                    <a:pt x="10" y="32"/>
                    <a:pt x="12" y="32"/>
                  </a:cubicBezTo>
                  <a:cubicBezTo>
                    <a:pt x="15" y="32"/>
                    <a:pt x="15" y="27"/>
                    <a:pt x="18" y="25"/>
                  </a:cubicBezTo>
                  <a:cubicBezTo>
                    <a:pt x="18" y="24"/>
                    <a:pt x="22" y="25"/>
                    <a:pt x="24" y="24"/>
                  </a:cubicBezTo>
                  <a:cubicBezTo>
                    <a:pt x="24" y="22"/>
                    <a:pt x="24" y="21"/>
                    <a:pt x="24" y="21"/>
                  </a:cubicBezTo>
                  <a:cubicBezTo>
                    <a:pt x="25" y="19"/>
                    <a:pt x="27" y="19"/>
                    <a:pt x="27" y="1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22" y="7"/>
                    <a:pt x="24" y="7"/>
                  </a:cubicBezTo>
                  <a:cubicBezTo>
                    <a:pt x="25" y="5"/>
                    <a:pt x="34" y="4"/>
                    <a:pt x="36" y="0"/>
                  </a:cubicBezTo>
                  <a:cubicBezTo>
                    <a:pt x="39" y="2"/>
                    <a:pt x="44" y="2"/>
                    <a:pt x="47" y="4"/>
                  </a:cubicBezTo>
                  <a:cubicBezTo>
                    <a:pt x="50" y="4"/>
                    <a:pt x="51" y="7"/>
                    <a:pt x="54" y="10"/>
                  </a:cubicBezTo>
                  <a:cubicBezTo>
                    <a:pt x="56" y="10"/>
                    <a:pt x="57" y="11"/>
                    <a:pt x="59" y="11"/>
                  </a:cubicBezTo>
                  <a:cubicBezTo>
                    <a:pt x="62" y="15"/>
                    <a:pt x="65" y="16"/>
                    <a:pt x="66" y="19"/>
                  </a:cubicBezTo>
                  <a:cubicBezTo>
                    <a:pt x="69" y="21"/>
                    <a:pt x="78" y="32"/>
                    <a:pt x="80" y="32"/>
                  </a:cubicBezTo>
                  <a:cubicBezTo>
                    <a:pt x="81" y="33"/>
                    <a:pt x="94" y="33"/>
                    <a:pt x="95" y="33"/>
                  </a:cubicBezTo>
                  <a:cubicBezTo>
                    <a:pt x="95" y="33"/>
                    <a:pt x="101" y="33"/>
                    <a:pt x="101" y="35"/>
                  </a:cubicBezTo>
                  <a:cubicBezTo>
                    <a:pt x="103" y="35"/>
                    <a:pt x="103" y="38"/>
                    <a:pt x="103" y="38"/>
                  </a:cubicBezTo>
                  <a:cubicBezTo>
                    <a:pt x="104" y="39"/>
                    <a:pt x="109" y="39"/>
                    <a:pt x="109" y="39"/>
                  </a:cubicBezTo>
                  <a:cubicBezTo>
                    <a:pt x="112" y="44"/>
                    <a:pt x="113" y="46"/>
                    <a:pt x="113" y="47"/>
                  </a:cubicBezTo>
                  <a:cubicBezTo>
                    <a:pt x="113" y="49"/>
                    <a:pt x="116" y="47"/>
                    <a:pt x="116" y="50"/>
                  </a:cubicBezTo>
                  <a:cubicBezTo>
                    <a:pt x="116" y="53"/>
                    <a:pt x="122" y="57"/>
                    <a:pt x="122" y="58"/>
                  </a:cubicBezTo>
                  <a:cubicBezTo>
                    <a:pt x="124" y="60"/>
                    <a:pt x="121" y="57"/>
                    <a:pt x="122" y="60"/>
                  </a:cubicBezTo>
                  <a:cubicBezTo>
                    <a:pt x="124" y="63"/>
                    <a:pt x="121" y="64"/>
                    <a:pt x="122" y="67"/>
                  </a:cubicBezTo>
                  <a:cubicBezTo>
                    <a:pt x="124" y="69"/>
                    <a:pt x="122" y="69"/>
                    <a:pt x="124" y="71"/>
                  </a:cubicBezTo>
                  <a:cubicBezTo>
                    <a:pt x="127" y="72"/>
                    <a:pt x="125" y="75"/>
                    <a:pt x="128" y="78"/>
                  </a:cubicBezTo>
                  <a:cubicBezTo>
                    <a:pt x="128" y="80"/>
                    <a:pt x="130" y="80"/>
                    <a:pt x="130" y="80"/>
                  </a:cubicBezTo>
                  <a:cubicBezTo>
                    <a:pt x="130" y="83"/>
                    <a:pt x="130" y="83"/>
                    <a:pt x="133" y="85"/>
                  </a:cubicBezTo>
                  <a:cubicBezTo>
                    <a:pt x="136" y="88"/>
                    <a:pt x="136" y="88"/>
                    <a:pt x="136" y="92"/>
                  </a:cubicBezTo>
                  <a:cubicBezTo>
                    <a:pt x="138" y="95"/>
                    <a:pt x="136" y="95"/>
                    <a:pt x="145" y="97"/>
                  </a:cubicBezTo>
                  <a:cubicBezTo>
                    <a:pt x="154" y="99"/>
                    <a:pt x="162" y="103"/>
                    <a:pt x="163" y="99"/>
                  </a:cubicBezTo>
                  <a:cubicBezTo>
                    <a:pt x="163" y="100"/>
                    <a:pt x="166" y="105"/>
                    <a:pt x="166" y="106"/>
                  </a:cubicBezTo>
                  <a:cubicBezTo>
                    <a:pt x="166" y="108"/>
                    <a:pt x="165" y="111"/>
                    <a:pt x="165" y="113"/>
                  </a:cubicBezTo>
                  <a:cubicBezTo>
                    <a:pt x="165" y="114"/>
                    <a:pt x="162" y="125"/>
                    <a:pt x="162" y="127"/>
                  </a:cubicBezTo>
                  <a:cubicBezTo>
                    <a:pt x="160" y="128"/>
                    <a:pt x="153" y="130"/>
                    <a:pt x="150" y="131"/>
                  </a:cubicBezTo>
                  <a:cubicBezTo>
                    <a:pt x="145" y="133"/>
                    <a:pt x="142" y="134"/>
                    <a:pt x="138" y="136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63" name="Freeform 78">
              <a:extLst>
                <a:ext uri="{FF2B5EF4-FFF2-40B4-BE49-F238E27FC236}">
                  <a16:creationId xmlns:a16="http://schemas.microsoft.com/office/drawing/2014/main" id="{AC8D3F8B-7ABC-3A78-2300-6F165A1BC8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90218" y="3571431"/>
              <a:ext cx="242624" cy="277968"/>
            </a:xfrm>
            <a:custGeom>
              <a:avLst/>
              <a:gdLst/>
              <a:ahLst/>
              <a:cxnLst>
                <a:cxn ang="0">
                  <a:pos x="48" y="3"/>
                </a:cxn>
                <a:cxn ang="0">
                  <a:pos x="52" y="14"/>
                </a:cxn>
                <a:cxn ang="0">
                  <a:pos x="61" y="17"/>
                </a:cxn>
                <a:cxn ang="0">
                  <a:pos x="58" y="22"/>
                </a:cxn>
                <a:cxn ang="0">
                  <a:pos x="54" y="34"/>
                </a:cxn>
                <a:cxn ang="0">
                  <a:pos x="60" y="45"/>
                </a:cxn>
                <a:cxn ang="0">
                  <a:pos x="70" y="56"/>
                </a:cxn>
                <a:cxn ang="0">
                  <a:pos x="72" y="68"/>
                </a:cxn>
                <a:cxn ang="0">
                  <a:pos x="75" y="75"/>
                </a:cxn>
                <a:cxn ang="0">
                  <a:pos x="78" y="79"/>
                </a:cxn>
                <a:cxn ang="0">
                  <a:pos x="73" y="79"/>
                </a:cxn>
                <a:cxn ang="0">
                  <a:pos x="67" y="79"/>
                </a:cxn>
                <a:cxn ang="0">
                  <a:pos x="63" y="89"/>
                </a:cxn>
                <a:cxn ang="0">
                  <a:pos x="48" y="87"/>
                </a:cxn>
                <a:cxn ang="0">
                  <a:pos x="34" y="75"/>
                </a:cxn>
                <a:cxn ang="0">
                  <a:pos x="26" y="67"/>
                </a:cxn>
                <a:cxn ang="0">
                  <a:pos x="22" y="65"/>
                </a:cxn>
                <a:cxn ang="0">
                  <a:pos x="14" y="59"/>
                </a:cxn>
                <a:cxn ang="0">
                  <a:pos x="3" y="56"/>
                </a:cxn>
                <a:cxn ang="0">
                  <a:pos x="5" y="56"/>
                </a:cxn>
                <a:cxn ang="0">
                  <a:pos x="2" y="54"/>
                </a:cxn>
                <a:cxn ang="0">
                  <a:pos x="2" y="53"/>
                </a:cxn>
                <a:cxn ang="0">
                  <a:pos x="3" y="53"/>
                </a:cxn>
                <a:cxn ang="0">
                  <a:pos x="3" y="51"/>
                </a:cxn>
                <a:cxn ang="0">
                  <a:pos x="0" y="43"/>
                </a:cxn>
                <a:cxn ang="0">
                  <a:pos x="11" y="37"/>
                </a:cxn>
                <a:cxn ang="0">
                  <a:pos x="19" y="33"/>
                </a:cxn>
                <a:cxn ang="0">
                  <a:pos x="20" y="28"/>
                </a:cxn>
                <a:cxn ang="0">
                  <a:pos x="20" y="28"/>
                </a:cxn>
                <a:cxn ang="0">
                  <a:pos x="20" y="26"/>
                </a:cxn>
                <a:cxn ang="0">
                  <a:pos x="20" y="23"/>
                </a:cxn>
                <a:cxn ang="0">
                  <a:pos x="22" y="17"/>
                </a:cxn>
                <a:cxn ang="0">
                  <a:pos x="20" y="11"/>
                </a:cxn>
                <a:cxn ang="0">
                  <a:pos x="25" y="9"/>
                </a:cxn>
                <a:cxn ang="0">
                  <a:pos x="29" y="3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34" y="2"/>
                </a:cxn>
                <a:cxn ang="0">
                  <a:pos x="34" y="0"/>
                </a:cxn>
                <a:cxn ang="0">
                  <a:pos x="35" y="0"/>
                </a:cxn>
                <a:cxn ang="0">
                  <a:pos x="38" y="2"/>
                </a:cxn>
                <a:cxn ang="0">
                  <a:pos x="43" y="2"/>
                </a:cxn>
                <a:cxn ang="0">
                  <a:pos x="44" y="5"/>
                </a:cxn>
                <a:cxn ang="0">
                  <a:pos x="46" y="3"/>
                </a:cxn>
                <a:cxn ang="0">
                  <a:pos x="48" y="3"/>
                </a:cxn>
              </a:cxnLst>
              <a:rect l="0" t="0" r="r" b="b"/>
              <a:pathLst>
                <a:path w="78" h="89">
                  <a:moveTo>
                    <a:pt x="48" y="3"/>
                  </a:moveTo>
                  <a:cubicBezTo>
                    <a:pt x="49" y="8"/>
                    <a:pt x="52" y="11"/>
                    <a:pt x="52" y="14"/>
                  </a:cubicBezTo>
                  <a:cubicBezTo>
                    <a:pt x="52" y="17"/>
                    <a:pt x="60" y="16"/>
                    <a:pt x="61" y="17"/>
                  </a:cubicBezTo>
                  <a:cubicBezTo>
                    <a:pt x="61" y="19"/>
                    <a:pt x="57" y="17"/>
                    <a:pt x="58" y="22"/>
                  </a:cubicBezTo>
                  <a:cubicBezTo>
                    <a:pt x="61" y="26"/>
                    <a:pt x="54" y="28"/>
                    <a:pt x="54" y="34"/>
                  </a:cubicBezTo>
                  <a:cubicBezTo>
                    <a:pt x="52" y="40"/>
                    <a:pt x="58" y="39"/>
                    <a:pt x="60" y="45"/>
                  </a:cubicBezTo>
                  <a:cubicBezTo>
                    <a:pt x="60" y="50"/>
                    <a:pt x="67" y="51"/>
                    <a:pt x="70" y="56"/>
                  </a:cubicBezTo>
                  <a:cubicBezTo>
                    <a:pt x="73" y="62"/>
                    <a:pt x="70" y="65"/>
                    <a:pt x="72" y="68"/>
                  </a:cubicBezTo>
                  <a:cubicBezTo>
                    <a:pt x="73" y="71"/>
                    <a:pt x="73" y="75"/>
                    <a:pt x="75" y="75"/>
                  </a:cubicBezTo>
                  <a:cubicBezTo>
                    <a:pt x="76" y="76"/>
                    <a:pt x="78" y="76"/>
                    <a:pt x="78" y="79"/>
                  </a:cubicBezTo>
                  <a:cubicBezTo>
                    <a:pt x="76" y="81"/>
                    <a:pt x="72" y="76"/>
                    <a:pt x="73" y="79"/>
                  </a:cubicBezTo>
                  <a:cubicBezTo>
                    <a:pt x="72" y="79"/>
                    <a:pt x="69" y="78"/>
                    <a:pt x="67" y="79"/>
                  </a:cubicBezTo>
                  <a:cubicBezTo>
                    <a:pt x="66" y="81"/>
                    <a:pt x="64" y="87"/>
                    <a:pt x="63" y="89"/>
                  </a:cubicBezTo>
                  <a:cubicBezTo>
                    <a:pt x="61" y="89"/>
                    <a:pt x="49" y="89"/>
                    <a:pt x="48" y="87"/>
                  </a:cubicBezTo>
                  <a:cubicBezTo>
                    <a:pt x="46" y="87"/>
                    <a:pt x="37" y="76"/>
                    <a:pt x="34" y="75"/>
                  </a:cubicBezTo>
                  <a:cubicBezTo>
                    <a:pt x="32" y="71"/>
                    <a:pt x="29" y="70"/>
                    <a:pt x="26" y="67"/>
                  </a:cubicBezTo>
                  <a:cubicBezTo>
                    <a:pt x="25" y="67"/>
                    <a:pt x="23" y="65"/>
                    <a:pt x="22" y="65"/>
                  </a:cubicBezTo>
                  <a:cubicBezTo>
                    <a:pt x="19" y="62"/>
                    <a:pt x="17" y="59"/>
                    <a:pt x="14" y="59"/>
                  </a:cubicBezTo>
                  <a:cubicBezTo>
                    <a:pt x="11" y="57"/>
                    <a:pt x="7" y="57"/>
                    <a:pt x="3" y="56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5" y="53"/>
                    <a:pt x="3" y="54"/>
                    <a:pt x="2" y="54"/>
                  </a:cubicBezTo>
                  <a:cubicBezTo>
                    <a:pt x="2" y="53"/>
                    <a:pt x="2" y="53"/>
                    <a:pt x="2" y="53"/>
                  </a:cubicBezTo>
                  <a:cubicBezTo>
                    <a:pt x="3" y="53"/>
                    <a:pt x="3" y="53"/>
                    <a:pt x="3" y="53"/>
                  </a:cubicBezTo>
                  <a:cubicBezTo>
                    <a:pt x="3" y="53"/>
                    <a:pt x="3" y="53"/>
                    <a:pt x="3" y="51"/>
                  </a:cubicBezTo>
                  <a:cubicBezTo>
                    <a:pt x="2" y="50"/>
                    <a:pt x="2" y="47"/>
                    <a:pt x="0" y="43"/>
                  </a:cubicBezTo>
                  <a:cubicBezTo>
                    <a:pt x="3" y="40"/>
                    <a:pt x="8" y="39"/>
                    <a:pt x="11" y="37"/>
                  </a:cubicBezTo>
                  <a:cubicBezTo>
                    <a:pt x="13" y="36"/>
                    <a:pt x="16" y="34"/>
                    <a:pt x="19" y="33"/>
                  </a:cubicBezTo>
                  <a:cubicBezTo>
                    <a:pt x="19" y="31"/>
                    <a:pt x="20" y="30"/>
                    <a:pt x="20" y="28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20" y="28"/>
                    <a:pt x="20" y="28"/>
                    <a:pt x="20" y="26"/>
                  </a:cubicBezTo>
                  <a:cubicBezTo>
                    <a:pt x="20" y="26"/>
                    <a:pt x="20" y="25"/>
                    <a:pt x="20" y="23"/>
                  </a:cubicBezTo>
                  <a:cubicBezTo>
                    <a:pt x="20" y="22"/>
                    <a:pt x="22" y="19"/>
                    <a:pt x="22" y="17"/>
                  </a:cubicBezTo>
                  <a:cubicBezTo>
                    <a:pt x="20" y="16"/>
                    <a:pt x="20" y="14"/>
                    <a:pt x="20" y="11"/>
                  </a:cubicBezTo>
                  <a:cubicBezTo>
                    <a:pt x="22" y="9"/>
                    <a:pt x="23" y="9"/>
                    <a:pt x="25" y="9"/>
                  </a:cubicBezTo>
                  <a:cubicBezTo>
                    <a:pt x="26" y="8"/>
                    <a:pt x="28" y="5"/>
                    <a:pt x="29" y="3"/>
                  </a:cubicBezTo>
                  <a:cubicBezTo>
                    <a:pt x="31" y="3"/>
                    <a:pt x="31" y="2"/>
                    <a:pt x="32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4" y="0"/>
                    <a:pt x="34" y="2"/>
                    <a:pt x="34" y="2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7" y="0"/>
                    <a:pt x="37" y="2"/>
                    <a:pt x="38" y="2"/>
                  </a:cubicBezTo>
                  <a:cubicBezTo>
                    <a:pt x="41" y="3"/>
                    <a:pt x="41" y="0"/>
                    <a:pt x="43" y="2"/>
                  </a:cubicBezTo>
                  <a:cubicBezTo>
                    <a:pt x="44" y="2"/>
                    <a:pt x="43" y="3"/>
                    <a:pt x="44" y="5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48" y="3"/>
                    <a:pt x="48" y="3"/>
                    <a:pt x="48" y="3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64" name="Freeform 79">
              <a:extLst>
                <a:ext uri="{FF2B5EF4-FFF2-40B4-BE49-F238E27FC236}">
                  <a16:creationId xmlns:a16="http://schemas.microsoft.com/office/drawing/2014/main" id="{8F84CE5C-1167-8E55-F63C-C13975395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86245" y="3815658"/>
              <a:ext cx="43383" cy="53023"/>
            </a:xfrm>
            <a:custGeom>
              <a:avLst/>
              <a:gdLst/>
              <a:ahLst/>
              <a:cxnLst>
                <a:cxn ang="0">
                  <a:pos x="14" y="17"/>
                </a:cxn>
                <a:cxn ang="0">
                  <a:pos x="8" y="15"/>
                </a:cxn>
                <a:cxn ang="0">
                  <a:pos x="6" y="12"/>
                </a:cxn>
                <a:cxn ang="0">
                  <a:pos x="0" y="10"/>
                </a:cxn>
                <a:cxn ang="0">
                  <a:pos x="5" y="1"/>
                </a:cxn>
                <a:cxn ang="0">
                  <a:pos x="11" y="1"/>
                </a:cxn>
                <a:cxn ang="0">
                  <a:pos x="9" y="6"/>
                </a:cxn>
                <a:cxn ang="0">
                  <a:pos x="12" y="9"/>
                </a:cxn>
                <a:cxn ang="0">
                  <a:pos x="14" y="17"/>
                </a:cxn>
              </a:cxnLst>
              <a:rect l="0" t="0" r="r" b="b"/>
              <a:pathLst>
                <a:path w="14" h="17">
                  <a:moveTo>
                    <a:pt x="14" y="17"/>
                  </a:moveTo>
                  <a:cubicBezTo>
                    <a:pt x="14" y="17"/>
                    <a:pt x="9" y="17"/>
                    <a:pt x="8" y="15"/>
                  </a:cubicBezTo>
                  <a:cubicBezTo>
                    <a:pt x="8" y="15"/>
                    <a:pt x="8" y="12"/>
                    <a:pt x="6" y="12"/>
                  </a:cubicBezTo>
                  <a:cubicBezTo>
                    <a:pt x="6" y="10"/>
                    <a:pt x="0" y="10"/>
                    <a:pt x="0" y="10"/>
                  </a:cubicBezTo>
                  <a:cubicBezTo>
                    <a:pt x="1" y="9"/>
                    <a:pt x="3" y="3"/>
                    <a:pt x="5" y="1"/>
                  </a:cubicBezTo>
                  <a:cubicBezTo>
                    <a:pt x="6" y="0"/>
                    <a:pt x="9" y="1"/>
                    <a:pt x="11" y="1"/>
                  </a:cubicBezTo>
                  <a:cubicBezTo>
                    <a:pt x="14" y="9"/>
                    <a:pt x="11" y="3"/>
                    <a:pt x="9" y="6"/>
                  </a:cubicBezTo>
                  <a:cubicBezTo>
                    <a:pt x="8" y="9"/>
                    <a:pt x="12" y="6"/>
                    <a:pt x="12" y="9"/>
                  </a:cubicBezTo>
                  <a:cubicBezTo>
                    <a:pt x="12" y="13"/>
                    <a:pt x="14" y="10"/>
                    <a:pt x="14" y="17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65" name="Freeform 80">
              <a:extLst>
                <a:ext uri="{FF2B5EF4-FFF2-40B4-BE49-F238E27FC236}">
                  <a16:creationId xmlns:a16="http://schemas.microsoft.com/office/drawing/2014/main" id="{F5B1783B-F122-C963-A6B0-3CC0E9827F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14788" y="3973119"/>
              <a:ext cx="199241" cy="268327"/>
            </a:xfrm>
            <a:custGeom>
              <a:avLst/>
              <a:gdLst/>
              <a:ahLst/>
              <a:cxnLst>
                <a:cxn ang="0">
                  <a:pos x="1" y="62"/>
                </a:cxn>
                <a:cxn ang="0">
                  <a:pos x="0" y="67"/>
                </a:cxn>
                <a:cxn ang="0">
                  <a:pos x="6" y="78"/>
                </a:cxn>
                <a:cxn ang="0">
                  <a:pos x="8" y="82"/>
                </a:cxn>
                <a:cxn ang="0">
                  <a:pos x="11" y="86"/>
                </a:cxn>
                <a:cxn ang="0">
                  <a:pos x="14" y="86"/>
                </a:cxn>
                <a:cxn ang="0">
                  <a:pos x="23" y="82"/>
                </a:cxn>
                <a:cxn ang="0">
                  <a:pos x="32" y="73"/>
                </a:cxn>
                <a:cxn ang="0">
                  <a:pos x="44" y="64"/>
                </a:cxn>
                <a:cxn ang="0">
                  <a:pos x="47" y="51"/>
                </a:cxn>
                <a:cxn ang="0">
                  <a:pos x="54" y="45"/>
                </a:cxn>
                <a:cxn ang="0">
                  <a:pos x="63" y="34"/>
                </a:cxn>
                <a:cxn ang="0">
                  <a:pos x="61" y="26"/>
                </a:cxn>
                <a:cxn ang="0">
                  <a:pos x="54" y="15"/>
                </a:cxn>
                <a:cxn ang="0">
                  <a:pos x="46" y="14"/>
                </a:cxn>
                <a:cxn ang="0">
                  <a:pos x="37" y="1"/>
                </a:cxn>
                <a:cxn ang="0">
                  <a:pos x="34" y="3"/>
                </a:cxn>
                <a:cxn ang="0">
                  <a:pos x="32" y="6"/>
                </a:cxn>
                <a:cxn ang="0">
                  <a:pos x="32" y="9"/>
                </a:cxn>
                <a:cxn ang="0">
                  <a:pos x="32" y="11"/>
                </a:cxn>
                <a:cxn ang="0">
                  <a:pos x="29" y="12"/>
                </a:cxn>
                <a:cxn ang="0">
                  <a:pos x="29" y="17"/>
                </a:cxn>
                <a:cxn ang="0">
                  <a:pos x="28" y="25"/>
                </a:cxn>
                <a:cxn ang="0">
                  <a:pos x="31" y="32"/>
                </a:cxn>
                <a:cxn ang="0">
                  <a:pos x="29" y="39"/>
                </a:cxn>
                <a:cxn ang="0">
                  <a:pos x="26" y="53"/>
                </a:cxn>
                <a:cxn ang="0">
                  <a:pos x="14" y="57"/>
                </a:cxn>
                <a:cxn ang="0">
                  <a:pos x="1" y="62"/>
                </a:cxn>
              </a:cxnLst>
              <a:rect l="0" t="0" r="r" b="b"/>
              <a:pathLst>
                <a:path w="64" h="86">
                  <a:moveTo>
                    <a:pt x="1" y="62"/>
                  </a:moveTo>
                  <a:cubicBezTo>
                    <a:pt x="1" y="64"/>
                    <a:pt x="0" y="65"/>
                    <a:pt x="0" y="67"/>
                  </a:cubicBezTo>
                  <a:cubicBezTo>
                    <a:pt x="1" y="70"/>
                    <a:pt x="5" y="75"/>
                    <a:pt x="6" y="78"/>
                  </a:cubicBezTo>
                  <a:cubicBezTo>
                    <a:pt x="8" y="79"/>
                    <a:pt x="6" y="79"/>
                    <a:pt x="8" y="82"/>
                  </a:cubicBezTo>
                  <a:cubicBezTo>
                    <a:pt x="8" y="84"/>
                    <a:pt x="9" y="86"/>
                    <a:pt x="11" y="86"/>
                  </a:cubicBezTo>
                  <a:cubicBezTo>
                    <a:pt x="11" y="86"/>
                    <a:pt x="12" y="86"/>
                    <a:pt x="14" y="86"/>
                  </a:cubicBezTo>
                  <a:cubicBezTo>
                    <a:pt x="15" y="86"/>
                    <a:pt x="17" y="82"/>
                    <a:pt x="23" y="82"/>
                  </a:cubicBezTo>
                  <a:cubicBezTo>
                    <a:pt x="29" y="84"/>
                    <a:pt x="26" y="73"/>
                    <a:pt x="32" y="73"/>
                  </a:cubicBezTo>
                  <a:cubicBezTo>
                    <a:pt x="41" y="73"/>
                    <a:pt x="35" y="65"/>
                    <a:pt x="44" y="64"/>
                  </a:cubicBezTo>
                  <a:cubicBezTo>
                    <a:pt x="52" y="62"/>
                    <a:pt x="44" y="61"/>
                    <a:pt x="47" y="51"/>
                  </a:cubicBezTo>
                  <a:cubicBezTo>
                    <a:pt x="52" y="40"/>
                    <a:pt x="50" y="54"/>
                    <a:pt x="54" y="45"/>
                  </a:cubicBezTo>
                  <a:cubicBezTo>
                    <a:pt x="57" y="39"/>
                    <a:pt x="60" y="42"/>
                    <a:pt x="63" y="34"/>
                  </a:cubicBezTo>
                  <a:cubicBezTo>
                    <a:pt x="64" y="28"/>
                    <a:pt x="64" y="28"/>
                    <a:pt x="61" y="26"/>
                  </a:cubicBezTo>
                  <a:cubicBezTo>
                    <a:pt x="60" y="25"/>
                    <a:pt x="57" y="15"/>
                    <a:pt x="54" y="15"/>
                  </a:cubicBezTo>
                  <a:cubicBezTo>
                    <a:pt x="50" y="17"/>
                    <a:pt x="52" y="14"/>
                    <a:pt x="46" y="14"/>
                  </a:cubicBezTo>
                  <a:cubicBezTo>
                    <a:pt x="41" y="14"/>
                    <a:pt x="37" y="6"/>
                    <a:pt x="37" y="1"/>
                  </a:cubicBezTo>
                  <a:cubicBezTo>
                    <a:pt x="34" y="3"/>
                    <a:pt x="35" y="6"/>
                    <a:pt x="34" y="3"/>
                  </a:cubicBezTo>
                  <a:cubicBezTo>
                    <a:pt x="32" y="0"/>
                    <a:pt x="32" y="3"/>
                    <a:pt x="32" y="6"/>
                  </a:cubicBezTo>
                  <a:cubicBezTo>
                    <a:pt x="32" y="9"/>
                    <a:pt x="31" y="9"/>
                    <a:pt x="32" y="9"/>
                  </a:cubicBezTo>
                  <a:cubicBezTo>
                    <a:pt x="34" y="9"/>
                    <a:pt x="35" y="11"/>
                    <a:pt x="32" y="11"/>
                  </a:cubicBezTo>
                  <a:cubicBezTo>
                    <a:pt x="31" y="12"/>
                    <a:pt x="29" y="12"/>
                    <a:pt x="29" y="12"/>
                  </a:cubicBezTo>
                  <a:cubicBezTo>
                    <a:pt x="31" y="14"/>
                    <a:pt x="31" y="12"/>
                    <a:pt x="29" y="17"/>
                  </a:cubicBezTo>
                  <a:cubicBezTo>
                    <a:pt x="26" y="21"/>
                    <a:pt x="28" y="23"/>
                    <a:pt x="28" y="25"/>
                  </a:cubicBezTo>
                  <a:cubicBezTo>
                    <a:pt x="28" y="26"/>
                    <a:pt x="31" y="31"/>
                    <a:pt x="31" y="32"/>
                  </a:cubicBezTo>
                  <a:cubicBezTo>
                    <a:pt x="31" y="34"/>
                    <a:pt x="29" y="37"/>
                    <a:pt x="29" y="39"/>
                  </a:cubicBezTo>
                  <a:cubicBezTo>
                    <a:pt x="29" y="40"/>
                    <a:pt x="26" y="51"/>
                    <a:pt x="26" y="53"/>
                  </a:cubicBezTo>
                  <a:cubicBezTo>
                    <a:pt x="24" y="54"/>
                    <a:pt x="17" y="56"/>
                    <a:pt x="14" y="57"/>
                  </a:cubicBezTo>
                  <a:cubicBezTo>
                    <a:pt x="9" y="59"/>
                    <a:pt x="6" y="61"/>
                    <a:pt x="1" y="62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66" name="Freeform 81">
              <a:extLst>
                <a:ext uri="{FF2B5EF4-FFF2-40B4-BE49-F238E27FC236}">
                  <a16:creationId xmlns:a16="http://schemas.microsoft.com/office/drawing/2014/main" id="{DB928796-79D1-1D72-9864-F9115CF49C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80197" y="4167536"/>
              <a:ext cx="268333" cy="202450"/>
            </a:xfrm>
            <a:custGeom>
              <a:avLst/>
              <a:gdLst/>
              <a:ahLst/>
              <a:cxnLst>
                <a:cxn ang="0">
                  <a:pos x="77" y="0"/>
                </a:cxn>
                <a:cxn ang="0">
                  <a:pos x="75" y="5"/>
                </a:cxn>
                <a:cxn ang="0">
                  <a:pos x="81" y="16"/>
                </a:cxn>
                <a:cxn ang="0">
                  <a:pos x="83" y="20"/>
                </a:cxn>
                <a:cxn ang="0">
                  <a:pos x="86" y="23"/>
                </a:cxn>
                <a:cxn ang="0">
                  <a:pos x="77" y="36"/>
                </a:cxn>
                <a:cxn ang="0">
                  <a:pos x="69" y="39"/>
                </a:cxn>
                <a:cxn ang="0">
                  <a:pos x="61" y="42"/>
                </a:cxn>
                <a:cxn ang="0">
                  <a:pos x="46" y="50"/>
                </a:cxn>
                <a:cxn ang="0">
                  <a:pos x="31" y="56"/>
                </a:cxn>
                <a:cxn ang="0">
                  <a:pos x="23" y="61"/>
                </a:cxn>
                <a:cxn ang="0">
                  <a:pos x="19" y="62"/>
                </a:cxn>
                <a:cxn ang="0">
                  <a:pos x="16" y="64"/>
                </a:cxn>
                <a:cxn ang="0">
                  <a:pos x="13" y="64"/>
                </a:cxn>
                <a:cxn ang="0">
                  <a:pos x="8" y="62"/>
                </a:cxn>
                <a:cxn ang="0">
                  <a:pos x="7" y="56"/>
                </a:cxn>
                <a:cxn ang="0">
                  <a:pos x="5" y="47"/>
                </a:cxn>
                <a:cxn ang="0">
                  <a:pos x="4" y="40"/>
                </a:cxn>
                <a:cxn ang="0">
                  <a:pos x="2" y="37"/>
                </a:cxn>
                <a:cxn ang="0">
                  <a:pos x="2" y="33"/>
                </a:cxn>
                <a:cxn ang="0">
                  <a:pos x="4" y="26"/>
                </a:cxn>
                <a:cxn ang="0">
                  <a:pos x="7" y="23"/>
                </a:cxn>
                <a:cxn ang="0">
                  <a:pos x="7" y="22"/>
                </a:cxn>
                <a:cxn ang="0">
                  <a:pos x="7" y="17"/>
                </a:cxn>
                <a:cxn ang="0">
                  <a:pos x="7" y="17"/>
                </a:cxn>
                <a:cxn ang="0">
                  <a:pos x="8" y="16"/>
                </a:cxn>
                <a:cxn ang="0">
                  <a:pos x="11" y="17"/>
                </a:cxn>
                <a:cxn ang="0">
                  <a:pos x="13" y="17"/>
                </a:cxn>
                <a:cxn ang="0">
                  <a:pos x="13" y="17"/>
                </a:cxn>
                <a:cxn ang="0">
                  <a:pos x="13" y="17"/>
                </a:cxn>
                <a:cxn ang="0">
                  <a:pos x="14" y="17"/>
                </a:cxn>
                <a:cxn ang="0">
                  <a:pos x="31" y="23"/>
                </a:cxn>
                <a:cxn ang="0">
                  <a:pos x="31" y="26"/>
                </a:cxn>
                <a:cxn ang="0">
                  <a:pos x="31" y="34"/>
                </a:cxn>
                <a:cxn ang="0">
                  <a:pos x="46" y="16"/>
                </a:cxn>
                <a:cxn ang="0">
                  <a:pos x="51" y="8"/>
                </a:cxn>
                <a:cxn ang="0">
                  <a:pos x="65" y="5"/>
                </a:cxn>
                <a:cxn ang="0">
                  <a:pos x="77" y="0"/>
                </a:cxn>
              </a:cxnLst>
              <a:rect l="0" t="0" r="r" b="b"/>
              <a:pathLst>
                <a:path w="86" h="65">
                  <a:moveTo>
                    <a:pt x="77" y="0"/>
                  </a:moveTo>
                  <a:cubicBezTo>
                    <a:pt x="77" y="2"/>
                    <a:pt x="75" y="3"/>
                    <a:pt x="75" y="5"/>
                  </a:cubicBezTo>
                  <a:cubicBezTo>
                    <a:pt x="77" y="8"/>
                    <a:pt x="80" y="12"/>
                    <a:pt x="81" y="16"/>
                  </a:cubicBezTo>
                  <a:cubicBezTo>
                    <a:pt x="83" y="17"/>
                    <a:pt x="81" y="17"/>
                    <a:pt x="83" y="20"/>
                  </a:cubicBezTo>
                  <a:cubicBezTo>
                    <a:pt x="83" y="22"/>
                    <a:pt x="84" y="23"/>
                    <a:pt x="86" y="23"/>
                  </a:cubicBezTo>
                  <a:cubicBezTo>
                    <a:pt x="74" y="30"/>
                    <a:pt x="83" y="34"/>
                    <a:pt x="77" y="36"/>
                  </a:cubicBezTo>
                  <a:cubicBezTo>
                    <a:pt x="74" y="36"/>
                    <a:pt x="77" y="37"/>
                    <a:pt x="69" y="39"/>
                  </a:cubicBezTo>
                  <a:cubicBezTo>
                    <a:pt x="63" y="40"/>
                    <a:pt x="63" y="43"/>
                    <a:pt x="61" y="42"/>
                  </a:cubicBezTo>
                  <a:cubicBezTo>
                    <a:pt x="54" y="42"/>
                    <a:pt x="52" y="53"/>
                    <a:pt x="46" y="50"/>
                  </a:cubicBezTo>
                  <a:cubicBezTo>
                    <a:pt x="42" y="48"/>
                    <a:pt x="40" y="57"/>
                    <a:pt x="31" y="56"/>
                  </a:cubicBezTo>
                  <a:cubicBezTo>
                    <a:pt x="25" y="56"/>
                    <a:pt x="26" y="61"/>
                    <a:pt x="23" y="61"/>
                  </a:cubicBezTo>
                  <a:cubicBezTo>
                    <a:pt x="20" y="61"/>
                    <a:pt x="23" y="64"/>
                    <a:pt x="19" y="62"/>
                  </a:cubicBezTo>
                  <a:cubicBezTo>
                    <a:pt x="16" y="62"/>
                    <a:pt x="17" y="64"/>
                    <a:pt x="16" y="64"/>
                  </a:cubicBezTo>
                  <a:cubicBezTo>
                    <a:pt x="14" y="64"/>
                    <a:pt x="14" y="65"/>
                    <a:pt x="13" y="64"/>
                  </a:cubicBezTo>
                  <a:cubicBezTo>
                    <a:pt x="10" y="62"/>
                    <a:pt x="10" y="65"/>
                    <a:pt x="8" y="62"/>
                  </a:cubicBezTo>
                  <a:cubicBezTo>
                    <a:pt x="8" y="57"/>
                    <a:pt x="7" y="59"/>
                    <a:pt x="7" y="56"/>
                  </a:cubicBezTo>
                  <a:cubicBezTo>
                    <a:pt x="8" y="53"/>
                    <a:pt x="5" y="51"/>
                    <a:pt x="5" y="47"/>
                  </a:cubicBezTo>
                  <a:cubicBezTo>
                    <a:pt x="5" y="43"/>
                    <a:pt x="4" y="43"/>
                    <a:pt x="4" y="40"/>
                  </a:cubicBezTo>
                  <a:cubicBezTo>
                    <a:pt x="4" y="39"/>
                    <a:pt x="0" y="39"/>
                    <a:pt x="2" y="37"/>
                  </a:cubicBezTo>
                  <a:cubicBezTo>
                    <a:pt x="5" y="36"/>
                    <a:pt x="2" y="36"/>
                    <a:pt x="2" y="33"/>
                  </a:cubicBezTo>
                  <a:cubicBezTo>
                    <a:pt x="4" y="31"/>
                    <a:pt x="4" y="30"/>
                    <a:pt x="4" y="26"/>
                  </a:cubicBezTo>
                  <a:cubicBezTo>
                    <a:pt x="5" y="25"/>
                    <a:pt x="7" y="23"/>
                    <a:pt x="7" y="23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0"/>
                    <a:pt x="7" y="19"/>
                    <a:pt x="7" y="17"/>
                  </a:cubicBezTo>
                  <a:cubicBezTo>
                    <a:pt x="8" y="17"/>
                    <a:pt x="7" y="17"/>
                    <a:pt x="7" y="17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10" y="16"/>
                    <a:pt x="11" y="17"/>
                    <a:pt x="11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6" y="16"/>
                    <a:pt x="31" y="23"/>
                    <a:pt x="31" y="23"/>
                  </a:cubicBezTo>
                  <a:cubicBezTo>
                    <a:pt x="31" y="23"/>
                    <a:pt x="31" y="25"/>
                    <a:pt x="31" y="26"/>
                  </a:cubicBezTo>
                  <a:cubicBezTo>
                    <a:pt x="31" y="28"/>
                    <a:pt x="31" y="31"/>
                    <a:pt x="31" y="34"/>
                  </a:cubicBezTo>
                  <a:cubicBezTo>
                    <a:pt x="36" y="28"/>
                    <a:pt x="42" y="22"/>
                    <a:pt x="46" y="16"/>
                  </a:cubicBezTo>
                  <a:cubicBezTo>
                    <a:pt x="46" y="14"/>
                    <a:pt x="49" y="9"/>
                    <a:pt x="51" y="8"/>
                  </a:cubicBezTo>
                  <a:cubicBezTo>
                    <a:pt x="54" y="6"/>
                    <a:pt x="61" y="5"/>
                    <a:pt x="65" y="5"/>
                  </a:cubicBezTo>
                  <a:cubicBezTo>
                    <a:pt x="69" y="3"/>
                    <a:pt x="72" y="2"/>
                    <a:pt x="77" y="0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67" name="Freeform 82">
              <a:extLst>
                <a:ext uri="{FF2B5EF4-FFF2-40B4-BE49-F238E27FC236}">
                  <a16:creationId xmlns:a16="http://schemas.microsoft.com/office/drawing/2014/main" id="{1873B925-E45E-B1FF-F906-D5F438A4ED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54312" y="3714432"/>
              <a:ext cx="404908" cy="437036"/>
            </a:xfrm>
            <a:custGeom>
              <a:avLst/>
              <a:gdLst/>
              <a:ahLst/>
              <a:cxnLst>
                <a:cxn ang="0">
                  <a:pos x="119" y="140"/>
                </a:cxn>
                <a:cxn ang="0">
                  <a:pos x="119" y="135"/>
                </a:cxn>
                <a:cxn ang="0">
                  <a:pos x="129" y="135"/>
                </a:cxn>
                <a:cxn ang="0">
                  <a:pos x="129" y="115"/>
                </a:cxn>
                <a:cxn ang="0">
                  <a:pos x="129" y="39"/>
                </a:cxn>
                <a:cxn ang="0">
                  <a:pos x="127" y="28"/>
                </a:cxn>
                <a:cxn ang="0">
                  <a:pos x="129" y="18"/>
                </a:cxn>
                <a:cxn ang="0">
                  <a:pos x="129" y="16"/>
                </a:cxn>
                <a:cxn ang="0">
                  <a:pos x="124" y="11"/>
                </a:cxn>
                <a:cxn ang="0">
                  <a:pos x="116" y="10"/>
                </a:cxn>
                <a:cxn ang="0">
                  <a:pos x="109" y="4"/>
                </a:cxn>
                <a:cxn ang="0">
                  <a:pos x="100" y="4"/>
                </a:cxn>
                <a:cxn ang="0">
                  <a:pos x="89" y="10"/>
                </a:cxn>
                <a:cxn ang="0">
                  <a:pos x="87" y="25"/>
                </a:cxn>
                <a:cxn ang="0">
                  <a:pos x="77" y="27"/>
                </a:cxn>
                <a:cxn ang="0">
                  <a:pos x="61" y="21"/>
                </a:cxn>
                <a:cxn ang="0">
                  <a:pos x="52" y="13"/>
                </a:cxn>
                <a:cxn ang="0">
                  <a:pos x="43" y="5"/>
                </a:cxn>
                <a:cxn ang="0">
                  <a:pos x="31" y="4"/>
                </a:cxn>
                <a:cxn ang="0">
                  <a:pos x="22" y="0"/>
                </a:cxn>
                <a:cxn ang="0">
                  <a:pos x="20" y="8"/>
                </a:cxn>
                <a:cxn ang="0">
                  <a:pos x="11" y="14"/>
                </a:cxn>
                <a:cxn ang="0">
                  <a:pos x="5" y="30"/>
                </a:cxn>
                <a:cxn ang="0">
                  <a:pos x="8" y="53"/>
                </a:cxn>
                <a:cxn ang="0">
                  <a:pos x="8" y="64"/>
                </a:cxn>
                <a:cxn ang="0">
                  <a:pos x="6" y="76"/>
                </a:cxn>
                <a:cxn ang="0">
                  <a:pos x="9" y="87"/>
                </a:cxn>
                <a:cxn ang="0">
                  <a:pos x="19" y="90"/>
                </a:cxn>
                <a:cxn ang="0">
                  <a:pos x="25" y="100"/>
                </a:cxn>
                <a:cxn ang="0">
                  <a:pos x="40" y="106"/>
                </a:cxn>
                <a:cxn ang="0">
                  <a:pos x="48" y="104"/>
                </a:cxn>
                <a:cxn ang="0">
                  <a:pos x="57" y="100"/>
                </a:cxn>
                <a:cxn ang="0">
                  <a:pos x="119" y="140"/>
                </a:cxn>
              </a:cxnLst>
              <a:rect l="0" t="0" r="r" b="b"/>
              <a:pathLst>
                <a:path w="130" h="140">
                  <a:moveTo>
                    <a:pt x="119" y="140"/>
                  </a:moveTo>
                  <a:cubicBezTo>
                    <a:pt x="119" y="135"/>
                    <a:pt x="119" y="135"/>
                    <a:pt x="119" y="135"/>
                  </a:cubicBezTo>
                  <a:cubicBezTo>
                    <a:pt x="129" y="135"/>
                    <a:pt x="129" y="135"/>
                    <a:pt x="129" y="135"/>
                  </a:cubicBezTo>
                  <a:cubicBezTo>
                    <a:pt x="129" y="115"/>
                    <a:pt x="129" y="115"/>
                    <a:pt x="129" y="115"/>
                  </a:cubicBezTo>
                  <a:cubicBezTo>
                    <a:pt x="129" y="39"/>
                    <a:pt x="129" y="39"/>
                    <a:pt x="129" y="39"/>
                  </a:cubicBezTo>
                  <a:cubicBezTo>
                    <a:pt x="129" y="36"/>
                    <a:pt x="124" y="35"/>
                    <a:pt x="127" y="28"/>
                  </a:cubicBezTo>
                  <a:cubicBezTo>
                    <a:pt x="130" y="24"/>
                    <a:pt x="125" y="21"/>
                    <a:pt x="129" y="18"/>
                  </a:cubicBezTo>
                  <a:cubicBezTo>
                    <a:pt x="129" y="16"/>
                    <a:pt x="129" y="16"/>
                    <a:pt x="129" y="16"/>
                  </a:cubicBezTo>
                  <a:cubicBezTo>
                    <a:pt x="129" y="14"/>
                    <a:pt x="129" y="11"/>
                    <a:pt x="124" y="11"/>
                  </a:cubicBezTo>
                  <a:cubicBezTo>
                    <a:pt x="119" y="11"/>
                    <a:pt x="121" y="11"/>
                    <a:pt x="116" y="10"/>
                  </a:cubicBezTo>
                  <a:cubicBezTo>
                    <a:pt x="112" y="10"/>
                    <a:pt x="116" y="7"/>
                    <a:pt x="109" y="4"/>
                  </a:cubicBezTo>
                  <a:cubicBezTo>
                    <a:pt x="103" y="0"/>
                    <a:pt x="101" y="2"/>
                    <a:pt x="100" y="4"/>
                  </a:cubicBezTo>
                  <a:cubicBezTo>
                    <a:pt x="98" y="5"/>
                    <a:pt x="96" y="2"/>
                    <a:pt x="89" y="10"/>
                  </a:cubicBezTo>
                  <a:cubicBezTo>
                    <a:pt x="86" y="14"/>
                    <a:pt x="92" y="21"/>
                    <a:pt x="87" y="25"/>
                  </a:cubicBezTo>
                  <a:cubicBezTo>
                    <a:pt x="83" y="32"/>
                    <a:pt x="80" y="32"/>
                    <a:pt x="77" y="27"/>
                  </a:cubicBezTo>
                  <a:cubicBezTo>
                    <a:pt x="74" y="24"/>
                    <a:pt x="67" y="21"/>
                    <a:pt x="61" y="21"/>
                  </a:cubicBezTo>
                  <a:cubicBezTo>
                    <a:pt x="57" y="19"/>
                    <a:pt x="54" y="19"/>
                    <a:pt x="52" y="13"/>
                  </a:cubicBezTo>
                  <a:cubicBezTo>
                    <a:pt x="51" y="5"/>
                    <a:pt x="46" y="8"/>
                    <a:pt x="43" y="5"/>
                  </a:cubicBezTo>
                  <a:cubicBezTo>
                    <a:pt x="41" y="4"/>
                    <a:pt x="35" y="2"/>
                    <a:pt x="31" y="4"/>
                  </a:cubicBezTo>
                  <a:cubicBezTo>
                    <a:pt x="28" y="4"/>
                    <a:pt x="23" y="0"/>
                    <a:pt x="22" y="0"/>
                  </a:cubicBezTo>
                  <a:cubicBezTo>
                    <a:pt x="19" y="5"/>
                    <a:pt x="23" y="7"/>
                    <a:pt x="20" y="8"/>
                  </a:cubicBezTo>
                  <a:cubicBezTo>
                    <a:pt x="17" y="10"/>
                    <a:pt x="15" y="11"/>
                    <a:pt x="11" y="14"/>
                  </a:cubicBezTo>
                  <a:cubicBezTo>
                    <a:pt x="6" y="19"/>
                    <a:pt x="15" y="24"/>
                    <a:pt x="5" y="30"/>
                  </a:cubicBezTo>
                  <a:cubicBezTo>
                    <a:pt x="9" y="44"/>
                    <a:pt x="6" y="47"/>
                    <a:pt x="8" y="53"/>
                  </a:cubicBezTo>
                  <a:cubicBezTo>
                    <a:pt x="9" y="58"/>
                    <a:pt x="6" y="59"/>
                    <a:pt x="8" y="64"/>
                  </a:cubicBezTo>
                  <a:cubicBezTo>
                    <a:pt x="9" y="72"/>
                    <a:pt x="0" y="69"/>
                    <a:pt x="6" y="76"/>
                  </a:cubicBezTo>
                  <a:cubicBezTo>
                    <a:pt x="11" y="84"/>
                    <a:pt x="8" y="83"/>
                    <a:pt x="9" y="87"/>
                  </a:cubicBezTo>
                  <a:cubicBezTo>
                    <a:pt x="12" y="92"/>
                    <a:pt x="12" y="87"/>
                    <a:pt x="19" y="90"/>
                  </a:cubicBezTo>
                  <a:cubicBezTo>
                    <a:pt x="23" y="94"/>
                    <a:pt x="22" y="94"/>
                    <a:pt x="25" y="100"/>
                  </a:cubicBezTo>
                  <a:cubicBezTo>
                    <a:pt x="28" y="103"/>
                    <a:pt x="37" y="101"/>
                    <a:pt x="40" y="106"/>
                  </a:cubicBezTo>
                  <a:cubicBezTo>
                    <a:pt x="43" y="111"/>
                    <a:pt x="41" y="109"/>
                    <a:pt x="48" y="104"/>
                  </a:cubicBezTo>
                  <a:cubicBezTo>
                    <a:pt x="51" y="103"/>
                    <a:pt x="55" y="100"/>
                    <a:pt x="57" y="100"/>
                  </a:cubicBezTo>
                  <a:cubicBezTo>
                    <a:pt x="78" y="112"/>
                    <a:pt x="119" y="140"/>
                    <a:pt x="119" y="140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68" name="Freeform 84">
              <a:extLst>
                <a:ext uri="{FF2B5EF4-FFF2-40B4-BE49-F238E27FC236}">
                  <a16:creationId xmlns:a16="http://schemas.microsoft.com/office/drawing/2014/main" id="{4D8B9B6B-B37A-9F42-D562-1DFE5C7EF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31146" y="3630881"/>
              <a:ext cx="59451" cy="36955"/>
            </a:xfrm>
            <a:custGeom>
              <a:avLst/>
              <a:gdLst/>
              <a:ahLst/>
              <a:cxnLst>
                <a:cxn ang="0">
                  <a:pos x="2" y="9"/>
                </a:cxn>
                <a:cxn ang="0">
                  <a:pos x="0" y="6"/>
                </a:cxn>
                <a:cxn ang="0">
                  <a:pos x="5" y="6"/>
                </a:cxn>
                <a:cxn ang="0">
                  <a:pos x="8" y="3"/>
                </a:cxn>
                <a:cxn ang="0">
                  <a:pos x="17" y="0"/>
                </a:cxn>
                <a:cxn ang="0">
                  <a:pos x="17" y="1"/>
                </a:cxn>
                <a:cxn ang="0">
                  <a:pos x="14" y="6"/>
                </a:cxn>
                <a:cxn ang="0">
                  <a:pos x="11" y="7"/>
                </a:cxn>
                <a:cxn ang="0">
                  <a:pos x="6" y="10"/>
                </a:cxn>
                <a:cxn ang="0">
                  <a:pos x="5" y="10"/>
                </a:cxn>
                <a:cxn ang="0">
                  <a:pos x="2" y="9"/>
                </a:cxn>
              </a:cxnLst>
              <a:rect l="0" t="0" r="r" b="b"/>
              <a:pathLst>
                <a:path w="19" h="12">
                  <a:moveTo>
                    <a:pt x="2" y="9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2" y="7"/>
                    <a:pt x="2" y="4"/>
                    <a:pt x="5" y="6"/>
                  </a:cubicBezTo>
                  <a:cubicBezTo>
                    <a:pt x="6" y="6"/>
                    <a:pt x="3" y="3"/>
                    <a:pt x="8" y="3"/>
                  </a:cubicBezTo>
                  <a:cubicBezTo>
                    <a:pt x="12" y="4"/>
                    <a:pt x="15" y="1"/>
                    <a:pt x="17" y="0"/>
                  </a:cubicBezTo>
                  <a:cubicBezTo>
                    <a:pt x="19" y="0"/>
                    <a:pt x="19" y="0"/>
                    <a:pt x="17" y="1"/>
                  </a:cubicBezTo>
                  <a:cubicBezTo>
                    <a:pt x="14" y="4"/>
                    <a:pt x="12" y="4"/>
                    <a:pt x="14" y="6"/>
                  </a:cubicBezTo>
                  <a:cubicBezTo>
                    <a:pt x="15" y="7"/>
                    <a:pt x="12" y="6"/>
                    <a:pt x="11" y="7"/>
                  </a:cubicBezTo>
                  <a:cubicBezTo>
                    <a:pt x="9" y="10"/>
                    <a:pt x="6" y="10"/>
                    <a:pt x="6" y="10"/>
                  </a:cubicBezTo>
                  <a:cubicBezTo>
                    <a:pt x="6" y="12"/>
                    <a:pt x="6" y="10"/>
                    <a:pt x="5" y="10"/>
                  </a:cubicBezTo>
                  <a:cubicBezTo>
                    <a:pt x="3" y="10"/>
                    <a:pt x="2" y="10"/>
                    <a:pt x="2" y="9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69" name="Freeform 85">
              <a:extLst>
                <a:ext uri="{FF2B5EF4-FFF2-40B4-BE49-F238E27FC236}">
                  <a16:creationId xmlns:a16="http://schemas.microsoft.com/office/drawing/2014/main" id="{B79CDFAA-A427-B5AE-AE0B-8D744E7943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86068" y="3614814"/>
              <a:ext cx="8034" cy="9640"/>
            </a:xfrm>
            <a:custGeom>
              <a:avLst/>
              <a:gdLst/>
              <a:ahLst/>
              <a:cxnLst>
                <a:cxn ang="0">
                  <a:pos x="1" y="2"/>
                </a:cxn>
                <a:cxn ang="0">
                  <a:pos x="3" y="3"/>
                </a:cxn>
                <a:cxn ang="0">
                  <a:pos x="1" y="2"/>
                </a:cxn>
              </a:cxnLst>
              <a:rect l="0" t="0" r="r" b="b"/>
              <a:pathLst>
                <a:path w="3" h="3">
                  <a:moveTo>
                    <a:pt x="1" y="2"/>
                  </a:moveTo>
                  <a:cubicBezTo>
                    <a:pt x="1" y="0"/>
                    <a:pt x="3" y="3"/>
                    <a:pt x="3" y="3"/>
                  </a:cubicBezTo>
                  <a:cubicBezTo>
                    <a:pt x="1" y="3"/>
                    <a:pt x="0" y="2"/>
                    <a:pt x="1" y="2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70" name="Freeform 86">
              <a:extLst>
                <a:ext uri="{FF2B5EF4-FFF2-40B4-BE49-F238E27FC236}">
                  <a16:creationId xmlns:a16="http://schemas.microsoft.com/office/drawing/2014/main" id="{0528C49E-1EC8-2A29-1BB4-7B073FAA7E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22087" y="3574644"/>
              <a:ext cx="510957" cy="599318"/>
            </a:xfrm>
            <a:custGeom>
              <a:avLst/>
              <a:gdLst/>
              <a:ahLst/>
              <a:cxnLst>
                <a:cxn ang="0">
                  <a:pos x="0" y="102"/>
                </a:cxn>
                <a:cxn ang="0">
                  <a:pos x="0" y="106"/>
                </a:cxn>
                <a:cxn ang="0">
                  <a:pos x="32" y="129"/>
                </a:cxn>
                <a:cxn ang="0">
                  <a:pos x="77" y="168"/>
                </a:cxn>
                <a:cxn ang="0">
                  <a:pos x="80" y="173"/>
                </a:cxn>
                <a:cxn ang="0">
                  <a:pos x="85" y="178"/>
                </a:cxn>
                <a:cxn ang="0">
                  <a:pos x="91" y="181"/>
                </a:cxn>
                <a:cxn ang="0">
                  <a:pos x="94" y="188"/>
                </a:cxn>
                <a:cxn ang="0">
                  <a:pos x="102" y="188"/>
                </a:cxn>
                <a:cxn ang="0">
                  <a:pos x="129" y="171"/>
                </a:cxn>
                <a:cxn ang="0">
                  <a:pos x="164" y="145"/>
                </a:cxn>
                <a:cxn ang="0">
                  <a:pos x="158" y="136"/>
                </a:cxn>
                <a:cxn ang="0">
                  <a:pos x="148" y="133"/>
                </a:cxn>
                <a:cxn ang="0">
                  <a:pos x="145" y="122"/>
                </a:cxn>
                <a:cxn ang="0">
                  <a:pos x="147" y="109"/>
                </a:cxn>
                <a:cxn ang="0">
                  <a:pos x="147" y="98"/>
                </a:cxn>
                <a:cxn ang="0">
                  <a:pos x="144" y="75"/>
                </a:cxn>
                <a:cxn ang="0">
                  <a:pos x="133" y="49"/>
                </a:cxn>
                <a:cxn ang="0">
                  <a:pos x="127" y="36"/>
                </a:cxn>
                <a:cxn ang="0">
                  <a:pos x="133" y="28"/>
                </a:cxn>
                <a:cxn ang="0">
                  <a:pos x="135" y="18"/>
                </a:cxn>
                <a:cxn ang="0">
                  <a:pos x="133" y="10"/>
                </a:cxn>
                <a:cxn ang="0">
                  <a:pos x="136" y="4"/>
                </a:cxn>
                <a:cxn ang="0">
                  <a:pos x="132" y="5"/>
                </a:cxn>
                <a:cxn ang="0">
                  <a:pos x="127" y="2"/>
                </a:cxn>
                <a:cxn ang="0">
                  <a:pos x="123" y="4"/>
                </a:cxn>
                <a:cxn ang="0">
                  <a:pos x="115" y="5"/>
                </a:cxn>
                <a:cxn ang="0">
                  <a:pos x="109" y="7"/>
                </a:cxn>
                <a:cxn ang="0">
                  <a:pos x="98" y="5"/>
                </a:cxn>
                <a:cxn ang="0">
                  <a:pos x="91" y="7"/>
                </a:cxn>
                <a:cxn ang="0">
                  <a:pos x="83" y="8"/>
                </a:cxn>
                <a:cxn ang="0">
                  <a:pos x="70" y="14"/>
                </a:cxn>
                <a:cxn ang="0">
                  <a:pos x="65" y="16"/>
                </a:cxn>
                <a:cxn ang="0">
                  <a:pos x="59" y="19"/>
                </a:cxn>
                <a:cxn ang="0">
                  <a:pos x="51" y="24"/>
                </a:cxn>
                <a:cxn ang="0">
                  <a:pos x="59" y="50"/>
                </a:cxn>
                <a:cxn ang="0">
                  <a:pos x="59" y="55"/>
                </a:cxn>
                <a:cxn ang="0">
                  <a:pos x="45" y="58"/>
                </a:cxn>
                <a:cxn ang="0">
                  <a:pos x="38" y="63"/>
                </a:cxn>
                <a:cxn ang="0">
                  <a:pos x="36" y="70"/>
                </a:cxn>
                <a:cxn ang="0">
                  <a:pos x="27" y="77"/>
                </a:cxn>
                <a:cxn ang="0">
                  <a:pos x="7" y="86"/>
                </a:cxn>
                <a:cxn ang="0">
                  <a:pos x="0" y="91"/>
                </a:cxn>
                <a:cxn ang="0">
                  <a:pos x="0" y="102"/>
                </a:cxn>
              </a:cxnLst>
              <a:rect l="0" t="0" r="r" b="b"/>
              <a:pathLst>
                <a:path w="164" h="192">
                  <a:moveTo>
                    <a:pt x="0" y="102"/>
                  </a:moveTo>
                  <a:cubicBezTo>
                    <a:pt x="0" y="106"/>
                    <a:pt x="0" y="106"/>
                    <a:pt x="0" y="106"/>
                  </a:cubicBezTo>
                  <a:cubicBezTo>
                    <a:pt x="32" y="129"/>
                    <a:pt x="32" y="129"/>
                    <a:pt x="32" y="129"/>
                  </a:cubicBezTo>
                  <a:cubicBezTo>
                    <a:pt x="32" y="129"/>
                    <a:pt x="76" y="167"/>
                    <a:pt x="77" y="168"/>
                  </a:cubicBezTo>
                  <a:cubicBezTo>
                    <a:pt x="80" y="171"/>
                    <a:pt x="77" y="171"/>
                    <a:pt x="80" y="173"/>
                  </a:cubicBezTo>
                  <a:cubicBezTo>
                    <a:pt x="83" y="175"/>
                    <a:pt x="82" y="179"/>
                    <a:pt x="85" y="178"/>
                  </a:cubicBezTo>
                  <a:cubicBezTo>
                    <a:pt x="89" y="178"/>
                    <a:pt x="86" y="181"/>
                    <a:pt x="91" y="181"/>
                  </a:cubicBezTo>
                  <a:cubicBezTo>
                    <a:pt x="95" y="181"/>
                    <a:pt x="95" y="185"/>
                    <a:pt x="94" y="188"/>
                  </a:cubicBezTo>
                  <a:cubicBezTo>
                    <a:pt x="92" y="190"/>
                    <a:pt x="94" y="192"/>
                    <a:pt x="102" y="188"/>
                  </a:cubicBezTo>
                  <a:cubicBezTo>
                    <a:pt x="123" y="188"/>
                    <a:pt x="120" y="178"/>
                    <a:pt x="129" y="171"/>
                  </a:cubicBezTo>
                  <a:cubicBezTo>
                    <a:pt x="138" y="164"/>
                    <a:pt x="159" y="148"/>
                    <a:pt x="164" y="145"/>
                  </a:cubicBezTo>
                  <a:cubicBezTo>
                    <a:pt x="161" y="139"/>
                    <a:pt x="162" y="139"/>
                    <a:pt x="158" y="136"/>
                  </a:cubicBezTo>
                  <a:cubicBezTo>
                    <a:pt x="152" y="133"/>
                    <a:pt x="152" y="137"/>
                    <a:pt x="148" y="133"/>
                  </a:cubicBezTo>
                  <a:cubicBezTo>
                    <a:pt x="147" y="128"/>
                    <a:pt x="150" y="129"/>
                    <a:pt x="145" y="122"/>
                  </a:cubicBezTo>
                  <a:cubicBezTo>
                    <a:pt x="139" y="114"/>
                    <a:pt x="148" y="117"/>
                    <a:pt x="147" y="109"/>
                  </a:cubicBezTo>
                  <a:cubicBezTo>
                    <a:pt x="145" y="105"/>
                    <a:pt x="148" y="103"/>
                    <a:pt x="147" y="98"/>
                  </a:cubicBezTo>
                  <a:cubicBezTo>
                    <a:pt x="145" y="92"/>
                    <a:pt x="148" y="89"/>
                    <a:pt x="144" y="75"/>
                  </a:cubicBezTo>
                  <a:cubicBezTo>
                    <a:pt x="141" y="47"/>
                    <a:pt x="136" y="58"/>
                    <a:pt x="133" y="49"/>
                  </a:cubicBezTo>
                  <a:cubicBezTo>
                    <a:pt x="133" y="46"/>
                    <a:pt x="127" y="39"/>
                    <a:pt x="127" y="36"/>
                  </a:cubicBezTo>
                  <a:cubicBezTo>
                    <a:pt x="129" y="33"/>
                    <a:pt x="133" y="30"/>
                    <a:pt x="133" y="28"/>
                  </a:cubicBezTo>
                  <a:cubicBezTo>
                    <a:pt x="133" y="22"/>
                    <a:pt x="136" y="25"/>
                    <a:pt x="135" y="18"/>
                  </a:cubicBezTo>
                  <a:cubicBezTo>
                    <a:pt x="133" y="13"/>
                    <a:pt x="135" y="10"/>
                    <a:pt x="133" y="10"/>
                  </a:cubicBezTo>
                  <a:cubicBezTo>
                    <a:pt x="132" y="8"/>
                    <a:pt x="136" y="7"/>
                    <a:pt x="136" y="4"/>
                  </a:cubicBezTo>
                  <a:cubicBezTo>
                    <a:pt x="135" y="4"/>
                    <a:pt x="133" y="4"/>
                    <a:pt x="132" y="5"/>
                  </a:cubicBezTo>
                  <a:cubicBezTo>
                    <a:pt x="130" y="7"/>
                    <a:pt x="130" y="4"/>
                    <a:pt x="127" y="2"/>
                  </a:cubicBezTo>
                  <a:cubicBezTo>
                    <a:pt x="124" y="0"/>
                    <a:pt x="126" y="5"/>
                    <a:pt x="123" y="4"/>
                  </a:cubicBezTo>
                  <a:cubicBezTo>
                    <a:pt x="118" y="2"/>
                    <a:pt x="120" y="4"/>
                    <a:pt x="115" y="5"/>
                  </a:cubicBezTo>
                  <a:cubicBezTo>
                    <a:pt x="111" y="5"/>
                    <a:pt x="112" y="8"/>
                    <a:pt x="109" y="7"/>
                  </a:cubicBezTo>
                  <a:cubicBezTo>
                    <a:pt x="108" y="4"/>
                    <a:pt x="102" y="4"/>
                    <a:pt x="98" y="5"/>
                  </a:cubicBezTo>
                  <a:cubicBezTo>
                    <a:pt x="94" y="7"/>
                    <a:pt x="92" y="4"/>
                    <a:pt x="91" y="7"/>
                  </a:cubicBezTo>
                  <a:cubicBezTo>
                    <a:pt x="89" y="8"/>
                    <a:pt x="88" y="8"/>
                    <a:pt x="83" y="8"/>
                  </a:cubicBezTo>
                  <a:cubicBezTo>
                    <a:pt x="77" y="8"/>
                    <a:pt x="70" y="11"/>
                    <a:pt x="70" y="14"/>
                  </a:cubicBezTo>
                  <a:cubicBezTo>
                    <a:pt x="68" y="19"/>
                    <a:pt x="67" y="14"/>
                    <a:pt x="65" y="16"/>
                  </a:cubicBezTo>
                  <a:cubicBezTo>
                    <a:pt x="62" y="19"/>
                    <a:pt x="62" y="14"/>
                    <a:pt x="59" y="19"/>
                  </a:cubicBezTo>
                  <a:cubicBezTo>
                    <a:pt x="58" y="21"/>
                    <a:pt x="54" y="25"/>
                    <a:pt x="51" y="24"/>
                  </a:cubicBezTo>
                  <a:cubicBezTo>
                    <a:pt x="58" y="27"/>
                    <a:pt x="53" y="47"/>
                    <a:pt x="59" y="50"/>
                  </a:cubicBezTo>
                  <a:cubicBezTo>
                    <a:pt x="62" y="52"/>
                    <a:pt x="59" y="52"/>
                    <a:pt x="59" y="55"/>
                  </a:cubicBezTo>
                  <a:cubicBezTo>
                    <a:pt x="59" y="58"/>
                    <a:pt x="48" y="53"/>
                    <a:pt x="45" y="58"/>
                  </a:cubicBezTo>
                  <a:cubicBezTo>
                    <a:pt x="42" y="61"/>
                    <a:pt x="36" y="58"/>
                    <a:pt x="38" y="63"/>
                  </a:cubicBezTo>
                  <a:cubicBezTo>
                    <a:pt x="41" y="67"/>
                    <a:pt x="42" y="67"/>
                    <a:pt x="36" y="70"/>
                  </a:cubicBezTo>
                  <a:cubicBezTo>
                    <a:pt x="30" y="72"/>
                    <a:pt x="30" y="72"/>
                    <a:pt x="27" y="77"/>
                  </a:cubicBezTo>
                  <a:cubicBezTo>
                    <a:pt x="27" y="78"/>
                    <a:pt x="9" y="83"/>
                    <a:pt x="7" y="86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0" y="102"/>
                    <a:pt x="0" y="102"/>
                    <a:pt x="0" y="102"/>
                  </a:cubicBezTo>
                  <a:close/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71" name="Freeform 87">
              <a:extLst>
                <a:ext uri="{FF2B5EF4-FFF2-40B4-BE49-F238E27FC236}">
                  <a16:creationId xmlns:a16="http://schemas.microsoft.com/office/drawing/2014/main" id="{ABA4D7E4-628B-1E48-616E-7CCE2AE945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17356" y="3571431"/>
              <a:ext cx="109261" cy="237799"/>
            </a:xfrm>
            <a:custGeom>
              <a:avLst/>
              <a:gdLst/>
              <a:ahLst/>
              <a:cxnLst>
                <a:cxn ang="0">
                  <a:pos x="9" y="5"/>
                </a:cxn>
                <a:cxn ang="0">
                  <a:pos x="6" y="11"/>
                </a:cxn>
                <a:cxn ang="0">
                  <a:pos x="8" y="19"/>
                </a:cxn>
                <a:cxn ang="0">
                  <a:pos x="6" y="30"/>
                </a:cxn>
                <a:cxn ang="0">
                  <a:pos x="0" y="37"/>
                </a:cxn>
                <a:cxn ang="0">
                  <a:pos x="6" y="50"/>
                </a:cxn>
                <a:cxn ang="0">
                  <a:pos x="17" y="76"/>
                </a:cxn>
                <a:cxn ang="0">
                  <a:pos x="23" y="61"/>
                </a:cxn>
                <a:cxn ang="0">
                  <a:pos x="32" y="54"/>
                </a:cxn>
                <a:cxn ang="0">
                  <a:pos x="34" y="47"/>
                </a:cxn>
                <a:cxn ang="0">
                  <a:pos x="29" y="42"/>
                </a:cxn>
                <a:cxn ang="0">
                  <a:pos x="28" y="40"/>
                </a:cxn>
                <a:cxn ang="0">
                  <a:pos x="21" y="36"/>
                </a:cxn>
                <a:cxn ang="0">
                  <a:pos x="29" y="23"/>
                </a:cxn>
                <a:cxn ang="0">
                  <a:pos x="26" y="17"/>
                </a:cxn>
                <a:cxn ang="0">
                  <a:pos x="25" y="11"/>
                </a:cxn>
                <a:cxn ang="0">
                  <a:pos x="29" y="5"/>
                </a:cxn>
                <a:cxn ang="0">
                  <a:pos x="23" y="8"/>
                </a:cxn>
                <a:cxn ang="0">
                  <a:pos x="20" y="2"/>
                </a:cxn>
                <a:cxn ang="0">
                  <a:pos x="11" y="5"/>
                </a:cxn>
                <a:cxn ang="0">
                  <a:pos x="9" y="5"/>
                </a:cxn>
              </a:cxnLst>
              <a:rect l="0" t="0" r="r" b="b"/>
              <a:pathLst>
                <a:path w="35" h="76">
                  <a:moveTo>
                    <a:pt x="9" y="5"/>
                  </a:moveTo>
                  <a:cubicBezTo>
                    <a:pt x="9" y="8"/>
                    <a:pt x="5" y="9"/>
                    <a:pt x="6" y="11"/>
                  </a:cubicBezTo>
                  <a:cubicBezTo>
                    <a:pt x="8" y="11"/>
                    <a:pt x="6" y="14"/>
                    <a:pt x="8" y="19"/>
                  </a:cubicBezTo>
                  <a:cubicBezTo>
                    <a:pt x="9" y="26"/>
                    <a:pt x="6" y="23"/>
                    <a:pt x="6" y="30"/>
                  </a:cubicBezTo>
                  <a:cubicBezTo>
                    <a:pt x="6" y="31"/>
                    <a:pt x="2" y="34"/>
                    <a:pt x="0" y="37"/>
                  </a:cubicBezTo>
                  <a:cubicBezTo>
                    <a:pt x="0" y="40"/>
                    <a:pt x="6" y="47"/>
                    <a:pt x="6" y="50"/>
                  </a:cubicBezTo>
                  <a:cubicBezTo>
                    <a:pt x="9" y="59"/>
                    <a:pt x="14" y="48"/>
                    <a:pt x="17" y="76"/>
                  </a:cubicBezTo>
                  <a:cubicBezTo>
                    <a:pt x="28" y="70"/>
                    <a:pt x="18" y="65"/>
                    <a:pt x="23" y="61"/>
                  </a:cubicBezTo>
                  <a:cubicBezTo>
                    <a:pt x="28" y="57"/>
                    <a:pt x="29" y="56"/>
                    <a:pt x="32" y="54"/>
                  </a:cubicBezTo>
                  <a:cubicBezTo>
                    <a:pt x="35" y="53"/>
                    <a:pt x="31" y="51"/>
                    <a:pt x="34" y="47"/>
                  </a:cubicBezTo>
                  <a:cubicBezTo>
                    <a:pt x="31" y="45"/>
                    <a:pt x="31" y="45"/>
                    <a:pt x="29" y="42"/>
                  </a:cubicBezTo>
                  <a:cubicBezTo>
                    <a:pt x="29" y="39"/>
                    <a:pt x="28" y="42"/>
                    <a:pt x="28" y="40"/>
                  </a:cubicBezTo>
                  <a:cubicBezTo>
                    <a:pt x="26" y="40"/>
                    <a:pt x="21" y="40"/>
                    <a:pt x="21" y="36"/>
                  </a:cubicBezTo>
                  <a:cubicBezTo>
                    <a:pt x="20" y="33"/>
                    <a:pt x="32" y="26"/>
                    <a:pt x="29" y="23"/>
                  </a:cubicBezTo>
                  <a:cubicBezTo>
                    <a:pt x="28" y="20"/>
                    <a:pt x="31" y="20"/>
                    <a:pt x="26" y="17"/>
                  </a:cubicBezTo>
                  <a:cubicBezTo>
                    <a:pt x="23" y="16"/>
                    <a:pt x="23" y="12"/>
                    <a:pt x="25" y="11"/>
                  </a:cubicBezTo>
                  <a:cubicBezTo>
                    <a:pt x="28" y="9"/>
                    <a:pt x="31" y="6"/>
                    <a:pt x="29" y="5"/>
                  </a:cubicBezTo>
                  <a:cubicBezTo>
                    <a:pt x="28" y="2"/>
                    <a:pt x="25" y="8"/>
                    <a:pt x="23" y="8"/>
                  </a:cubicBezTo>
                  <a:cubicBezTo>
                    <a:pt x="21" y="6"/>
                    <a:pt x="25" y="3"/>
                    <a:pt x="20" y="2"/>
                  </a:cubicBezTo>
                  <a:cubicBezTo>
                    <a:pt x="14" y="0"/>
                    <a:pt x="12" y="5"/>
                    <a:pt x="11" y="5"/>
                  </a:cubicBezTo>
                  <a:cubicBezTo>
                    <a:pt x="11" y="5"/>
                    <a:pt x="11" y="5"/>
                    <a:pt x="9" y="5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72" name="Freeform 88">
              <a:extLst>
                <a:ext uri="{FF2B5EF4-FFF2-40B4-BE49-F238E27FC236}">
                  <a16:creationId xmlns:a16="http://schemas.microsoft.com/office/drawing/2014/main" id="{04043AB2-EA64-831D-A4A0-1F0DD7742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41545" y="3759421"/>
              <a:ext cx="282793" cy="332598"/>
            </a:xfrm>
            <a:custGeom>
              <a:avLst/>
              <a:gdLst/>
              <a:ahLst/>
              <a:cxnLst>
                <a:cxn ang="0">
                  <a:pos x="82" y="24"/>
                </a:cxn>
                <a:cxn ang="0">
                  <a:pos x="77" y="41"/>
                </a:cxn>
                <a:cxn ang="0">
                  <a:pos x="70" y="36"/>
                </a:cxn>
                <a:cxn ang="0">
                  <a:pos x="67" y="27"/>
                </a:cxn>
                <a:cxn ang="0">
                  <a:pos x="64" y="19"/>
                </a:cxn>
                <a:cxn ang="0">
                  <a:pos x="64" y="27"/>
                </a:cxn>
                <a:cxn ang="0">
                  <a:pos x="71" y="44"/>
                </a:cxn>
                <a:cxn ang="0">
                  <a:pos x="74" y="52"/>
                </a:cxn>
                <a:cxn ang="0">
                  <a:pos x="83" y="74"/>
                </a:cxn>
                <a:cxn ang="0">
                  <a:pos x="88" y="82"/>
                </a:cxn>
                <a:cxn ang="0">
                  <a:pos x="88" y="91"/>
                </a:cxn>
                <a:cxn ang="0">
                  <a:pos x="82" y="96"/>
                </a:cxn>
                <a:cxn ang="0">
                  <a:pos x="76" y="102"/>
                </a:cxn>
                <a:cxn ang="0">
                  <a:pos x="68" y="102"/>
                </a:cxn>
                <a:cxn ang="0">
                  <a:pos x="54" y="102"/>
                </a:cxn>
                <a:cxn ang="0">
                  <a:pos x="54" y="100"/>
                </a:cxn>
                <a:cxn ang="0">
                  <a:pos x="53" y="102"/>
                </a:cxn>
                <a:cxn ang="0">
                  <a:pos x="4" y="102"/>
                </a:cxn>
                <a:cxn ang="0">
                  <a:pos x="4" y="25"/>
                </a:cxn>
                <a:cxn ang="0">
                  <a:pos x="3" y="14"/>
                </a:cxn>
                <a:cxn ang="0">
                  <a:pos x="4" y="3"/>
                </a:cxn>
                <a:cxn ang="0">
                  <a:pos x="16" y="3"/>
                </a:cxn>
                <a:cxn ang="0">
                  <a:pos x="24" y="6"/>
                </a:cxn>
                <a:cxn ang="0">
                  <a:pos x="30" y="8"/>
                </a:cxn>
                <a:cxn ang="0">
                  <a:pos x="39" y="9"/>
                </a:cxn>
                <a:cxn ang="0">
                  <a:pos x="45" y="5"/>
                </a:cxn>
                <a:cxn ang="0">
                  <a:pos x="50" y="2"/>
                </a:cxn>
                <a:cxn ang="0">
                  <a:pos x="56" y="3"/>
                </a:cxn>
                <a:cxn ang="0">
                  <a:pos x="59" y="3"/>
                </a:cxn>
                <a:cxn ang="0">
                  <a:pos x="61" y="5"/>
                </a:cxn>
                <a:cxn ang="0">
                  <a:pos x="57" y="3"/>
                </a:cxn>
                <a:cxn ang="0">
                  <a:pos x="57" y="5"/>
                </a:cxn>
                <a:cxn ang="0">
                  <a:pos x="59" y="6"/>
                </a:cxn>
                <a:cxn ang="0">
                  <a:pos x="61" y="6"/>
                </a:cxn>
                <a:cxn ang="0">
                  <a:pos x="62" y="6"/>
                </a:cxn>
                <a:cxn ang="0">
                  <a:pos x="68" y="6"/>
                </a:cxn>
                <a:cxn ang="0">
                  <a:pos x="76" y="5"/>
                </a:cxn>
                <a:cxn ang="0">
                  <a:pos x="77" y="6"/>
                </a:cxn>
                <a:cxn ang="0">
                  <a:pos x="82" y="24"/>
                </a:cxn>
              </a:cxnLst>
              <a:rect l="0" t="0" r="r" b="b"/>
              <a:pathLst>
                <a:path w="91" h="107">
                  <a:moveTo>
                    <a:pt x="82" y="24"/>
                  </a:moveTo>
                  <a:cubicBezTo>
                    <a:pt x="77" y="38"/>
                    <a:pt x="79" y="38"/>
                    <a:pt x="77" y="41"/>
                  </a:cubicBezTo>
                  <a:cubicBezTo>
                    <a:pt x="76" y="44"/>
                    <a:pt x="74" y="41"/>
                    <a:pt x="70" y="36"/>
                  </a:cubicBezTo>
                  <a:cubicBezTo>
                    <a:pt x="67" y="33"/>
                    <a:pt x="70" y="30"/>
                    <a:pt x="67" y="27"/>
                  </a:cubicBezTo>
                  <a:cubicBezTo>
                    <a:pt x="62" y="22"/>
                    <a:pt x="65" y="20"/>
                    <a:pt x="64" y="19"/>
                  </a:cubicBezTo>
                  <a:cubicBezTo>
                    <a:pt x="59" y="25"/>
                    <a:pt x="64" y="22"/>
                    <a:pt x="64" y="27"/>
                  </a:cubicBezTo>
                  <a:cubicBezTo>
                    <a:pt x="64" y="33"/>
                    <a:pt x="71" y="39"/>
                    <a:pt x="71" y="44"/>
                  </a:cubicBezTo>
                  <a:cubicBezTo>
                    <a:pt x="71" y="47"/>
                    <a:pt x="74" y="49"/>
                    <a:pt x="74" y="52"/>
                  </a:cubicBezTo>
                  <a:cubicBezTo>
                    <a:pt x="73" y="56"/>
                    <a:pt x="79" y="63"/>
                    <a:pt x="83" y="74"/>
                  </a:cubicBezTo>
                  <a:cubicBezTo>
                    <a:pt x="86" y="82"/>
                    <a:pt x="91" y="82"/>
                    <a:pt x="88" y="82"/>
                  </a:cubicBezTo>
                  <a:cubicBezTo>
                    <a:pt x="85" y="82"/>
                    <a:pt x="86" y="88"/>
                    <a:pt x="88" y="91"/>
                  </a:cubicBezTo>
                  <a:cubicBezTo>
                    <a:pt x="85" y="96"/>
                    <a:pt x="83" y="91"/>
                    <a:pt x="82" y="96"/>
                  </a:cubicBezTo>
                  <a:cubicBezTo>
                    <a:pt x="80" y="100"/>
                    <a:pt x="77" y="99"/>
                    <a:pt x="76" y="102"/>
                  </a:cubicBezTo>
                  <a:cubicBezTo>
                    <a:pt x="74" y="105"/>
                    <a:pt x="71" y="107"/>
                    <a:pt x="68" y="102"/>
                  </a:cubicBezTo>
                  <a:cubicBezTo>
                    <a:pt x="54" y="102"/>
                    <a:pt x="54" y="102"/>
                    <a:pt x="54" y="102"/>
                  </a:cubicBezTo>
                  <a:cubicBezTo>
                    <a:pt x="54" y="100"/>
                    <a:pt x="54" y="100"/>
                    <a:pt x="54" y="100"/>
                  </a:cubicBezTo>
                  <a:cubicBezTo>
                    <a:pt x="53" y="102"/>
                    <a:pt x="53" y="102"/>
                    <a:pt x="53" y="102"/>
                  </a:cubicBezTo>
                  <a:cubicBezTo>
                    <a:pt x="4" y="102"/>
                    <a:pt x="4" y="102"/>
                    <a:pt x="4" y="102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2"/>
                    <a:pt x="0" y="20"/>
                    <a:pt x="3" y="14"/>
                  </a:cubicBezTo>
                  <a:cubicBezTo>
                    <a:pt x="6" y="9"/>
                    <a:pt x="1" y="6"/>
                    <a:pt x="4" y="3"/>
                  </a:cubicBezTo>
                  <a:cubicBezTo>
                    <a:pt x="6" y="3"/>
                    <a:pt x="7" y="0"/>
                    <a:pt x="16" y="3"/>
                  </a:cubicBezTo>
                  <a:cubicBezTo>
                    <a:pt x="27" y="5"/>
                    <a:pt x="22" y="6"/>
                    <a:pt x="24" y="6"/>
                  </a:cubicBezTo>
                  <a:cubicBezTo>
                    <a:pt x="27" y="5"/>
                    <a:pt x="27" y="8"/>
                    <a:pt x="30" y="8"/>
                  </a:cubicBezTo>
                  <a:cubicBezTo>
                    <a:pt x="32" y="6"/>
                    <a:pt x="36" y="13"/>
                    <a:pt x="39" y="9"/>
                  </a:cubicBezTo>
                  <a:cubicBezTo>
                    <a:pt x="45" y="3"/>
                    <a:pt x="44" y="6"/>
                    <a:pt x="45" y="5"/>
                  </a:cubicBezTo>
                  <a:cubicBezTo>
                    <a:pt x="47" y="2"/>
                    <a:pt x="47" y="3"/>
                    <a:pt x="50" y="2"/>
                  </a:cubicBezTo>
                  <a:cubicBezTo>
                    <a:pt x="53" y="0"/>
                    <a:pt x="54" y="5"/>
                    <a:pt x="56" y="3"/>
                  </a:cubicBezTo>
                  <a:cubicBezTo>
                    <a:pt x="57" y="2"/>
                    <a:pt x="57" y="2"/>
                    <a:pt x="59" y="3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59" y="5"/>
                    <a:pt x="57" y="3"/>
                    <a:pt x="57" y="3"/>
                  </a:cubicBezTo>
                  <a:cubicBezTo>
                    <a:pt x="57" y="5"/>
                    <a:pt x="56" y="5"/>
                    <a:pt x="57" y="5"/>
                  </a:cubicBezTo>
                  <a:cubicBezTo>
                    <a:pt x="57" y="6"/>
                    <a:pt x="59" y="5"/>
                    <a:pt x="59" y="6"/>
                  </a:cubicBezTo>
                  <a:cubicBezTo>
                    <a:pt x="61" y="8"/>
                    <a:pt x="62" y="6"/>
                    <a:pt x="61" y="6"/>
                  </a:cubicBezTo>
                  <a:cubicBezTo>
                    <a:pt x="61" y="5"/>
                    <a:pt x="61" y="5"/>
                    <a:pt x="62" y="6"/>
                  </a:cubicBezTo>
                  <a:cubicBezTo>
                    <a:pt x="65" y="9"/>
                    <a:pt x="67" y="5"/>
                    <a:pt x="68" y="6"/>
                  </a:cubicBezTo>
                  <a:cubicBezTo>
                    <a:pt x="70" y="8"/>
                    <a:pt x="68" y="8"/>
                    <a:pt x="76" y="5"/>
                  </a:cubicBezTo>
                  <a:cubicBezTo>
                    <a:pt x="76" y="5"/>
                    <a:pt x="76" y="6"/>
                    <a:pt x="77" y="6"/>
                  </a:cubicBezTo>
                  <a:cubicBezTo>
                    <a:pt x="79" y="11"/>
                    <a:pt x="80" y="17"/>
                    <a:pt x="82" y="24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73" name="Freeform 89">
              <a:extLst>
                <a:ext uri="{FF2B5EF4-FFF2-40B4-BE49-F238E27FC236}">
                  <a16:creationId xmlns:a16="http://schemas.microsoft.com/office/drawing/2014/main" id="{494CEFA3-22F8-0283-3585-83C0526D3F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14699" y="3571431"/>
              <a:ext cx="165499" cy="168709"/>
            </a:xfrm>
            <a:custGeom>
              <a:avLst/>
              <a:gdLst/>
              <a:ahLst/>
              <a:cxnLst>
                <a:cxn ang="0">
                  <a:pos x="2" y="29"/>
                </a:cxn>
                <a:cxn ang="0">
                  <a:pos x="5" y="29"/>
                </a:cxn>
                <a:cxn ang="0">
                  <a:pos x="5" y="29"/>
                </a:cxn>
                <a:cxn ang="0">
                  <a:pos x="5" y="31"/>
                </a:cxn>
                <a:cxn ang="0">
                  <a:pos x="8" y="34"/>
                </a:cxn>
                <a:cxn ang="0">
                  <a:pos x="5" y="37"/>
                </a:cxn>
                <a:cxn ang="0">
                  <a:pos x="6" y="39"/>
                </a:cxn>
                <a:cxn ang="0">
                  <a:pos x="3" y="39"/>
                </a:cxn>
                <a:cxn ang="0">
                  <a:pos x="2" y="40"/>
                </a:cxn>
                <a:cxn ang="0">
                  <a:pos x="3" y="40"/>
                </a:cxn>
                <a:cxn ang="0">
                  <a:pos x="0" y="45"/>
                </a:cxn>
                <a:cxn ang="0">
                  <a:pos x="0" y="45"/>
                </a:cxn>
                <a:cxn ang="0">
                  <a:pos x="0" y="45"/>
                </a:cxn>
                <a:cxn ang="0">
                  <a:pos x="0" y="48"/>
                </a:cxn>
                <a:cxn ang="0">
                  <a:pos x="0" y="49"/>
                </a:cxn>
                <a:cxn ang="0">
                  <a:pos x="2" y="49"/>
                </a:cxn>
                <a:cxn ang="0">
                  <a:pos x="3" y="52"/>
                </a:cxn>
                <a:cxn ang="0">
                  <a:pos x="9" y="54"/>
                </a:cxn>
                <a:cxn ang="0">
                  <a:pos x="18" y="48"/>
                </a:cxn>
                <a:cxn ang="0">
                  <a:pos x="24" y="43"/>
                </a:cxn>
                <a:cxn ang="0">
                  <a:pos x="35" y="37"/>
                </a:cxn>
                <a:cxn ang="0">
                  <a:pos x="43" y="32"/>
                </a:cxn>
                <a:cxn ang="0">
                  <a:pos x="44" y="28"/>
                </a:cxn>
                <a:cxn ang="0">
                  <a:pos x="44" y="28"/>
                </a:cxn>
                <a:cxn ang="0">
                  <a:pos x="44" y="26"/>
                </a:cxn>
                <a:cxn ang="0">
                  <a:pos x="44" y="23"/>
                </a:cxn>
                <a:cxn ang="0">
                  <a:pos x="46" y="17"/>
                </a:cxn>
                <a:cxn ang="0">
                  <a:pos x="44" y="11"/>
                </a:cxn>
                <a:cxn ang="0">
                  <a:pos x="49" y="9"/>
                </a:cxn>
                <a:cxn ang="0">
                  <a:pos x="53" y="3"/>
                </a:cxn>
                <a:cxn ang="0">
                  <a:pos x="53" y="2"/>
                </a:cxn>
                <a:cxn ang="0">
                  <a:pos x="52" y="2"/>
                </a:cxn>
                <a:cxn ang="0">
                  <a:pos x="47" y="3"/>
                </a:cxn>
                <a:cxn ang="0">
                  <a:pos x="41" y="3"/>
                </a:cxn>
                <a:cxn ang="0">
                  <a:pos x="27" y="8"/>
                </a:cxn>
                <a:cxn ang="0">
                  <a:pos x="21" y="5"/>
                </a:cxn>
                <a:cxn ang="0">
                  <a:pos x="14" y="8"/>
                </a:cxn>
                <a:cxn ang="0">
                  <a:pos x="12" y="8"/>
                </a:cxn>
                <a:cxn ang="0">
                  <a:pos x="8" y="6"/>
                </a:cxn>
                <a:cxn ang="0">
                  <a:pos x="8" y="11"/>
                </a:cxn>
                <a:cxn ang="0">
                  <a:pos x="8" y="12"/>
                </a:cxn>
                <a:cxn ang="0">
                  <a:pos x="6" y="12"/>
                </a:cxn>
                <a:cxn ang="0">
                  <a:pos x="3" y="17"/>
                </a:cxn>
                <a:cxn ang="0">
                  <a:pos x="2" y="15"/>
                </a:cxn>
                <a:cxn ang="0">
                  <a:pos x="2" y="22"/>
                </a:cxn>
                <a:cxn ang="0">
                  <a:pos x="2" y="29"/>
                </a:cxn>
              </a:cxnLst>
              <a:rect l="0" t="0" r="r" b="b"/>
              <a:pathLst>
                <a:path w="53" h="54">
                  <a:moveTo>
                    <a:pt x="2" y="29"/>
                  </a:moveTo>
                  <a:cubicBezTo>
                    <a:pt x="3" y="29"/>
                    <a:pt x="3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5" y="31"/>
                    <a:pt x="5" y="31"/>
                  </a:cubicBezTo>
                  <a:cubicBezTo>
                    <a:pt x="6" y="31"/>
                    <a:pt x="8" y="32"/>
                    <a:pt x="8" y="34"/>
                  </a:cubicBezTo>
                  <a:cubicBezTo>
                    <a:pt x="8" y="36"/>
                    <a:pt x="5" y="36"/>
                    <a:pt x="5" y="37"/>
                  </a:cubicBezTo>
                  <a:cubicBezTo>
                    <a:pt x="5" y="37"/>
                    <a:pt x="6" y="37"/>
                    <a:pt x="6" y="39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3" y="39"/>
                    <a:pt x="3" y="39"/>
                    <a:pt x="2" y="40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3" y="42"/>
                    <a:pt x="0" y="45"/>
                    <a:pt x="0" y="45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6"/>
                    <a:pt x="0" y="48"/>
                    <a:pt x="0" y="48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1"/>
                    <a:pt x="0" y="49"/>
                    <a:pt x="2" y="49"/>
                  </a:cubicBezTo>
                  <a:cubicBezTo>
                    <a:pt x="3" y="51"/>
                    <a:pt x="3" y="51"/>
                    <a:pt x="3" y="52"/>
                  </a:cubicBezTo>
                  <a:cubicBezTo>
                    <a:pt x="5" y="52"/>
                    <a:pt x="8" y="54"/>
                    <a:pt x="9" y="54"/>
                  </a:cubicBezTo>
                  <a:cubicBezTo>
                    <a:pt x="11" y="54"/>
                    <a:pt x="15" y="49"/>
                    <a:pt x="18" y="48"/>
                  </a:cubicBezTo>
                  <a:cubicBezTo>
                    <a:pt x="20" y="46"/>
                    <a:pt x="23" y="45"/>
                    <a:pt x="24" y="43"/>
                  </a:cubicBezTo>
                  <a:cubicBezTo>
                    <a:pt x="27" y="40"/>
                    <a:pt x="32" y="39"/>
                    <a:pt x="35" y="37"/>
                  </a:cubicBezTo>
                  <a:cubicBezTo>
                    <a:pt x="37" y="36"/>
                    <a:pt x="40" y="34"/>
                    <a:pt x="43" y="32"/>
                  </a:cubicBezTo>
                  <a:cubicBezTo>
                    <a:pt x="43" y="31"/>
                    <a:pt x="44" y="29"/>
                    <a:pt x="44" y="28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4" y="28"/>
                    <a:pt x="44" y="28"/>
                    <a:pt x="44" y="26"/>
                  </a:cubicBezTo>
                  <a:cubicBezTo>
                    <a:pt x="44" y="26"/>
                    <a:pt x="44" y="25"/>
                    <a:pt x="44" y="23"/>
                  </a:cubicBezTo>
                  <a:cubicBezTo>
                    <a:pt x="44" y="22"/>
                    <a:pt x="46" y="19"/>
                    <a:pt x="46" y="17"/>
                  </a:cubicBezTo>
                  <a:cubicBezTo>
                    <a:pt x="44" y="15"/>
                    <a:pt x="44" y="14"/>
                    <a:pt x="44" y="11"/>
                  </a:cubicBezTo>
                  <a:cubicBezTo>
                    <a:pt x="46" y="9"/>
                    <a:pt x="47" y="9"/>
                    <a:pt x="49" y="9"/>
                  </a:cubicBezTo>
                  <a:cubicBezTo>
                    <a:pt x="50" y="8"/>
                    <a:pt x="52" y="5"/>
                    <a:pt x="53" y="3"/>
                  </a:cubicBezTo>
                  <a:cubicBezTo>
                    <a:pt x="53" y="2"/>
                    <a:pt x="53" y="2"/>
                    <a:pt x="53" y="2"/>
                  </a:cubicBezTo>
                  <a:cubicBezTo>
                    <a:pt x="53" y="2"/>
                    <a:pt x="52" y="0"/>
                    <a:pt x="52" y="2"/>
                  </a:cubicBezTo>
                  <a:cubicBezTo>
                    <a:pt x="50" y="3"/>
                    <a:pt x="49" y="3"/>
                    <a:pt x="47" y="3"/>
                  </a:cubicBezTo>
                  <a:cubicBezTo>
                    <a:pt x="44" y="3"/>
                    <a:pt x="43" y="3"/>
                    <a:pt x="41" y="3"/>
                  </a:cubicBezTo>
                  <a:cubicBezTo>
                    <a:pt x="37" y="5"/>
                    <a:pt x="34" y="8"/>
                    <a:pt x="27" y="8"/>
                  </a:cubicBezTo>
                  <a:cubicBezTo>
                    <a:pt x="24" y="8"/>
                    <a:pt x="24" y="6"/>
                    <a:pt x="21" y="5"/>
                  </a:cubicBezTo>
                  <a:cubicBezTo>
                    <a:pt x="18" y="5"/>
                    <a:pt x="17" y="8"/>
                    <a:pt x="14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8"/>
                    <a:pt x="8" y="6"/>
                    <a:pt x="8" y="6"/>
                  </a:cubicBezTo>
                  <a:cubicBezTo>
                    <a:pt x="8" y="6"/>
                    <a:pt x="6" y="9"/>
                    <a:pt x="8" y="11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5" y="12"/>
                    <a:pt x="5" y="17"/>
                    <a:pt x="3" y="17"/>
                  </a:cubicBezTo>
                  <a:cubicBezTo>
                    <a:pt x="3" y="17"/>
                    <a:pt x="3" y="15"/>
                    <a:pt x="2" y="15"/>
                  </a:cubicBezTo>
                  <a:cubicBezTo>
                    <a:pt x="2" y="17"/>
                    <a:pt x="0" y="19"/>
                    <a:pt x="2" y="22"/>
                  </a:cubicBezTo>
                  <a:cubicBezTo>
                    <a:pt x="3" y="23"/>
                    <a:pt x="2" y="25"/>
                    <a:pt x="2" y="29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74" name="Freeform 90">
              <a:extLst>
                <a:ext uri="{FF2B5EF4-FFF2-40B4-BE49-F238E27FC236}">
                  <a16:creationId xmlns:a16="http://schemas.microsoft.com/office/drawing/2014/main" id="{66556910-7BC8-C26F-6226-0E48B595F0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0238" y="3661409"/>
              <a:ext cx="36956" cy="53023"/>
            </a:xfrm>
            <a:custGeom>
              <a:avLst/>
              <a:gdLst/>
              <a:ahLst/>
              <a:cxnLst>
                <a:cxn ang="0">
                  <a:pos x="5" y="16"/>
                </a:cxn>
                <a:cxn ang="0">
                  <a:pos x="3" y="16"/>
                </a:cxn>
                <a:cxn ang="0">
                  <a:pos x="3" y="17"/>
                </a:cxn>
                <a:cxn ang="0">
                  <a:pos x="0" y="17"/>
                </a:cxn>
                <a:cxn ang="0">
                  <a:pos x="3" y="11"/>
                </a:cxn>
                <a:cxn ang="0">
                  <a:pos x="5" y="6"/>
                </a:cxn>
                <a:cxn ang="0">
                  <a:pos x="6" y="0"/>
                </a:cxn>
                <a:cxn ang="0">
                  <a:pos x="9" y="0"/>
                </a:cxn>
                <a:cxn ang="0">
                  <a:pos x="9" y="0"/>
                </a:cxn>
                <a:cxn ang="0">
                  <a:pos x="9" y="2"/>
                </a:cxn>
                <a:cxn ang="0">
                  <a:pos x="12" y="5"/>
                </a:cxn>
                <a:cxn ang="0">
                  <a:pos x="9" y="8"/>
                </a:cxn>
                <a:cxn ang="0">
                  <a:pos x="11" y="10"/>
                </a:cxn>
                <a:cxn ang="0">
                  <a:pos x="8" y="10"/>
                </a:cxn>
                <a:cxn ang="0">
                  <a:pos x="6" y="11"/>
                </a:cxn>
                <a:cxn ang="0">
                  <a:pos x="8" y="11"/>
                </a:cxn>
                <a:cxn ang="0">
                  <a:pos x="5" y="16"/>
                </a:cxn>
              </a:cxnLst>
              <a:rect l="0" t="0" r="r" b="b"/>
              <a:pathLst>
                <a:path w="12" h="17">
                  <a:moveTo>
                    <a:pt x="5" y="16"/>
                  </a:moveTo>
                  <a:cubicBezTo>
                    <a:pt x="3" y="16"/>
                    <a:pt x="3" y="14"/>
                    <a:pt x="3" y="16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3" y="17"/>
                    <a:pt x="2" y="17"/>
                    <a:pt x="0" y="17"/>
                  </a:cubicBezTo>
                  <a:cubicBezTo>
                    <a:pt x="2" y="13"/>
                    <a:pt x="2" y="14"/>
                    <a:pt x="3" y="11"/>
                  </a:cubicBezTo>
                  <a:cubicBezTo>
                    <a:pt x="3" y="6"/>
                    <a:pt x="5" y="10"/>
                    <a:pt x="5" y="6"/>
                  </a:cubicBezTo>
                  <a:cubicBezTo>
                    <a:pt x="3" y="2"/>
                    <a:pt x="8" y="3"/>
                    <a:pt x="6" y="0"/>
                  </a:cubicBezTo>
                  <a:cubicBezTo>
                    <a:pt x="8" y="0"/>
                    <a:pt x="8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1" y="2"/>
                    <a:pt x="9" y="2"/>
                    <a:pt x="9" y="2"/>
                  </a:cubicBezTo>
                  <a:cubicBezTo>
                    <a:pt x="11" y="2"/>
                    <a:pt x="12" y="3"/>
                    <a:pt x="12" y="5"/>
                  </a:cubicBezTo>
                  <a:cubicBezTo>
                    <a:pt x="12" y="6"/>
                    <a:pt x="9" y="6"/>
                    <a:pt x="9" y="8"/>
                  </a:cubicBezTo>
                  <a:cubicBezTo>
                    <a:pt x="9" y="8"/>
                    <a:pt x="11" y="8"/>
                    <a:pt x="11" y="10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10"/>
                    <a:pt x="8" y="10"/>
                    <a:pt x="6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3"/>
                    <a:pt x="5" y="16"/>
                    <a:pt x="5" y="16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75" name="Freeform 91">
              <a:extLst>
                <a:ext uri="{FF2B5EF4-FFF2-40B4-BE49-F238E27FC236}">
                  <a16:creationId xmlns:a16="http://schemas.microsoft.com/office/drawing/2014/main" id="{ADF6B450-FA8C-7F64-9BFD-41E09BD5F6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97024" y="3706398"/>
              <a:ext cx="109261" cy="136574"/>
            </a:xfrm>
            <a:custGeom>
              <a:avLst/>
              <a:gdLst/>
              <a:ahLst/>
              <a:cxnLst>
                <a:cxn ang="0">
                  <a:pos x="6" y="7"/>
                </a:cxn>
                <a:cxn ang="0">
                  <a:pos x="5" y="10"/>
                </a:cxn>
                <a:cxn ang="0">
                  <a:pos x="5" y="11"/>
                </a:cxn>
                <a:cxn ang="0">
                  <a:pos x="5" y="19"/>
                </a:cxn>
                <a:cxn ang="0">
                  <a:pos x="5" y="24"/>
                </a:cxn>
                <a:cxn ang="0">
                  <a:pos x="2" y="34"/>
                </a:cxn>
                <a:cxn ang="0">
                  <a:pos x="0" y="40"/>
                </a:cxn>
                <a:cxn ang="0">
                  <a:pos x="0" y="42"/>
                </a:cxn>
                <a:cxn ang="0">
                  <a:pos x="9" y="44"/>
                </a:cxn>
                <a:cxn ang="0">
                  <a:pos x="15" y="37"/>
                </a:cxn>
                <a:cxn ang="0">
                  <a:pos x="21" y="36"/>
                </a:cxn>
                <a:cxn ang="0">
                  <a:pos x="21" y="33"/>
                </a:cxn>
                <a:cxn ang="0">
                  <a:pos x="24" y="30"/>
                </a:cxn>
                <a:cxn ang="0">
                  <a:pos x="17" y="20"/>
                </a:cxn>
                <a:cxn ang="0">
                  <a:pos x="21" y="19"/>
                </a:cxn>
                <a:cxn ang="0">
                  <a:pos x="33" y="13"/>
                </a:cxn>
                <a:cxn ang="0">
                  <a:pos x="35" y="13"/>
                </a:cxn>
                <a:cxn ang="0">
                  <a:pos x="32" y="11"/>
                </a:cxn>
                <a:cxn ang="0">
                  <a:pos x="32" y="10"/>
                </a:cxn>
                <a:cxn ang="0">
                  <a:pos x="33" y="10"/>
                </a:cxn>
                <a:cxn ang="0">
                  <a:pos x="33" y="8"/>
                </a:cxn>
                <a:cxn ang="0">
                  <a:pos x="30" y="0"/>
                </a:cxn>
                <a:cxn ang="0">
                  <a:pos x="24" y="5"/>
                </a:cxn>
                <a:cxn ang="0">
                  <a:pos x="15" y="11"/>
                </a:cxn>
                <a:cxn ang="0">
                  <a:pos x="9" y="10"/>
                </a:cxn>
                <a:cxn ang="0">
                  <a:pos x="8" y="7"/>
                </a:cxn>
                <a:cxn ang="0">
                  <a:pos x="6" y="7"/>
                </a:cxn>
              </a:cxnLst>
              <a:rect l="0" t="0" r="r" b="b"/>
              <a:pathLst>
                <a:path w="35" h="44">
                  <a:moveTo>
                    <a:pt x="6" y="7"/>
                  </a:moveTo>
                  <a:cubicBezTo>
                    <a:pt x="5" y="7"/>
                    <a:pt x="5" y="8"/>
                    <a:pt x="5" y="10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3"/>
                    <a:pt x="6" y="17"/>
                    <a:pt x="5" y="19"/>
                  </a:cubicBezTo>
                  <a:cubicBezTo>
                    <a:pt x="5" y="20"/>
                    <a:pt x="5" y="22"/>
                    <a:pt x="5" y="24"/>
                  </a:cubicBezTo>
                  <a:cubicBezTo>
                    <a:pt x="5" y="25"/>
                    <a:pt x="2" y="30"/>
                    <a:pt x="2" y="34"/>
                  </a:cubicBezTo>
                  <a:cubicBezTo>
                    <a:pt x="2" y="36"/>
                    <a:pt x="0" y="40"/>
                    <a:pt x="0" y="40"/>
                  </a:cubicBezTo>
                  <a:cubicBezTo>
                    <a:pt x="0" y="40"/>
                    <a:pt x="0" y="40"/>
                    <a:pt x="0" y="42"/>
                  </a:cubicBezTo>
                  <a:cubicBezTo>
                    <a:pt x="2" y="42"/>
                    <a:pt x="8" y="44"/>
                    <a:pt x="9" y="44"/>
                  </a:cubicBezTo>
                  <a:cubicBezTo>
                    <a:pt x="12" y="44"/>
                    <a:pt x="12" y="39"/>
                    <a:pt x="15" y="37"/>
                  </a:cubicBezTo>
                  <a:cubicBezTo>
                    <a:pt x="15" y="36"/>
                    <a:pt x="20" y="37"/>
                    <a:pt x="21" y="36"/>
                  </a:cubicBezTo>
                  <a:cubicBezTo>
                    <a:pt x="21" y="34"/>
                    <a:pt x="21" y="33"/>
                    <a:pt x="21" y="33"/>
                  </a:cubicBezTo>
                  <a:cubicBezTo>
                    <a:pt x="23" y="31"/>
                    <a:pt x="24" y="31"/>
                    <a:pt x="24" y="30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7" y="19"/>
                    <a:pt x="20" y="19"/>
                    <a:pt x="21" y="19"/>
                  </a:cubicBezTo>
                  <a:cubicBezTo>
                    <a:pt x="23" y="17"/>
                    <a:pt x="32" y="16"/>
                    <a:pt x="33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5" y="10"/>
                    <a:pt x="33" y="11"/>
                    <a:pt x="32" y="11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0"/>
                    <a:pt x="33" y="8"/>
                  </a:cubicBezTo>
                  <a:cubicBezTo>
                    <a:pt x="32" y="7"/>
                    <a:pt x="32" y="4"/>
                    <a:pt x="30" y="0"/>
                  </a:cubicBezTo>
                  <a:cubicBezTo>
                    <a:pt x="29" y="2"/>
                    <a:pt x="26" y="4"/>
                    <a:pt x="24" y="5"/>
                  </a:cubicBezTo>
                  <a:cubicBezTo>
                    <a:pt x="21" y="7"/>
                    <a:pt x="17" y="11"/>
                    <a:pt x="15" y="11"/>
                  </a:cubicBezTo>
                  <a:cubicBezTo>
                    <a:pt x="14" y="11"/>
                    <a:pt x="11" y="10"/>
                    <a:pt x="9" y="10"/>
                  </a:cubicBezTo>
                  <a:cubicBezTo>
                    <a:pt x="9" y="8"/>
                    <a:pt x="9" y="8"/>
                    <a:pt x="8" y="7"/>
                  </a:cubicBezTo>
                  <a:cubicBezTo>
                    <a:pt x="6" y="7"/>
                    <a:pt x="6" y="8"/>
                    <a:pt x="6" y="7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76" name="Freeform 92">
              <a:extLst>
                <a:ext uri="{FF2B5EF4-FFF2-40B4-BE49-F238E27FC236}">
                  <a16:creationId xmlns:a16="http://schemas.microsoft.com/office/drawing/2014/main" id="{6A63C1D3-C040-CDDF-6DEC-9F1C6A129F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49668" y="4379627"/>
              <a:ext cx="265119" cy="422575"/>
            </a:xfrm>
            <a:custGeom>
              <a:avLst/>
              <a:gdLst/>
              <a:ahLst/>
              <a:cxnLst>
                <a:cxn ang="0">
                  <a:pos x="5" y="136"/>
                </a:cxn>
                <a:cxn ang="0">
                  <a:pos x="0" y="126"/>
                </a:cxn>
                <a:cxn ang="0">
                  <a:pos x="0" y="92"/>
                </a:cxn>
                <a:cxn ang="0">
                  <a:pos x="8" y="81"/>
                </a:cxn>
                <a:cxn ang="0">
                  <a:pos x="12" y="78"/>
                </a:cxn>
                <a:cxn ang="0">
                  <a:pos x="18" y="73"/>
                </a:cxn>
                <a:cxn ang="0">
                  <a:pos x="33" y="69"/>
                </a:cxn>
                <a:cxn ang="0">
                  <a:pos x="49" y="48"/>
                </a:cxn>
                <a:cxn ang="0">
                  <a:pos x="53" y="41"/>
                </a:cxn>
                <a:cxn ang="0">
                  <a:pos x="38" y="38"/>
                </a:cxn>
                <a:cxn ang="0">
                  <a:pos x="23" y="30"/>
                </a:cxn>
                <a:cxn ang="0">
                  <a:pos x="18" y="25"/>
                </a:cxn>
                <a:cxn ang="0">
                  <a:pos x="15" y="20"/>
                </a:cxn>
                <a:cxn ang="0">
                  <a:pos x="15" y="13"/>
                </a:cxn>
                <a:cxn ang="0">
                  <a:pos x="18" y="6"/>
                </a:cxn>
                <a:cxn ang="0">
                  <a:pos x="27" y="17"/>
                </a:cxn>
                <a:cxn ang="0">
                  <a:pos x="41" y="14"/>
                </a:cxn>
                <a:cxn ang="0">
                  <a:pos x="53" y="11"/>
                </a:cxn>
                <a:cxn ang="0">
                  <a:pos x="62" y="8"/>
                </a:cxn>
                <a:cxn ang="0">
                  <a:pos x="79" y="3"/>
                </a:cxn>
                <a:cxn ang="0">
                  <a:pos x="80" y="16"/>
                </a:cxn>
                <a:cxn ang="0">
                  <a:pos x="77" y="24"/>
                </a:cxn>
                <a:cxn ang="0">
                  <a:pos x="68" y="48"/>
                </a:cxn>
                <a:cxn ang="0">
                  <a:pos x="35" y="98"/>
                </a:cxn>
                <a:cxn ang="0">
                  <a:pos x="12" y="122"/>
                </a:cxn>
                <a:cxn ang="0">
                  <a:pos x="5" y="136"/>
                </a:cxn>
              </a:cxnLst>
              <a:rect l="0" t="0" r="r" b="b"/>
              <a:pathLst>
                <a:path w="85" h="136">
                  <a:moveTo>
                    <a:pt x="5" y="136"/>
                  </a:moveTo>
                  <a:cubicBezTo>
                    <a:pt x="3" y="131"/>
                    <a:pt x="0" y="133"/>
                    <a:pt x="0" y="126"/>
                  </a:cubicBezTo>
                  <a:cubicBezTo>
                    <a:pt x="0" y="119"/>
                    <a:pt x="0" y="92"/>
                    <a:pt x="0" y="92"/>
                  </a:cubicBezTo>
                  <a:cubicBezTo>
                    <a:pt x="0" y="92"/>
                    <a:pt x="5" y="84"/>
                    <a:pt x="8" y="81"/>
                  </a:cubicBezTo>
                  <a:cubicBezTo>
                    <a:pt x="9" y="78"/>
                    <a:pt x="9" y="78"/>
                    <a:pt x="12" y="78"/>
                  </a:cubicBezTo>
                  <a:cubicBezTo>
                    <a:pt x="18" y="78"/>
                    <a:pt x="11" y="77"/>
                    <a:pt x="18" y="73"/>
                  </a:cubicBezTo>
                  <a:cubicBezTo>
                    <a:pt x="27" y="69"/>
                    <a:pt x="27" y="77"/>
                    <a:pt x="33" y="69"/>
                  </a:cubicBezTo>
                  <a:cubicBezTo>
                    <a:pt x="39" y="61"/>
                    <a:pt x="42" y="56"/>
                    <a:pt x="49" y="48"/>
                  </a:cubicBezTo>
                  <a:cubicBezTo>
                    <a:pt x="56" y="41"/>
                    <a:pt x="56" y="41"/>
                    <a:pt x="53" y="41"/>
                  </a:cubicBezTo>
                  <a:cubicBezTo>
                    <a:pt x="52" y="41"/>
                    <a:pt x="49" y="42"/>
                    <a:pt x="38" y="38"/>
                  </a:cubicBezTo>
                  <a:cubicBezTo>
                    <a:pt x="27" y="33"/>
                    <a:pt x="26" y="34"/>
                    <a:pt x="23" y="30"/>
                  </a:cubicBezTo>
                  <a:cubicBezTo>
                    <a:pt x="20" y="27"/>
                    <a:pt x="18" y="28"/>
                    <a:pt x="18" y="25"/>
                  </a:cubicBezTo>
                  <a:cubicBezTo>
                    <a:pt x="17" y="22"/>
                    <a:pt x="17" y="24"/>
                    <a:pt x="15" y="20"/>
                  </a:cubicBezTo>
                  <a:cubicBezTo>
                    <a:pt x="14" y="16"/>
                    <a:pt x="12" y="16"/>
                    <a:pt x="15" y="13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21" y="11"/>
                    <a:pt x="20" y="14"/>
                    <a:pt x="27" y="17"/>
                  </a:cubicBezTo>
                  <a:cubicBezTo>
                    <a:pt x="32" y="20"/>
                    <a:pt x="33" y="11"/>
                    <a:pt x="41" y="14"/>
                  </a:cubicBezTo>
                  <a:cubicBezTo>
                    <a:pt x="47" y="17"/>
                    <a:pt x="45" y="10"/>
                    <a:pt x="53" y="11"/>
                  </a:cubicBezTo>
                  <a:cubicBezTo>
                    <a:pt x="61" y="11"/>
                    <a:pt x="52" y="8"/>
                    <a:pt x="62" y="8"/>
                  </a:cubicBezTo>
                  <a:cubicBezTo>
                    <a:pt x="73" y="10"/>
                    <a:pt x="74" y="0"/>
                    <a:pt x="79" y="3"/>
                  </a:cubicBezTo>
                  <a:cubicBezTo>
                    <a:pt x="83" y="5"/>
                    <a:pt x="76" y="8"/>
                    <a:pt x="80" y="16"/>
                  </a:cubicBezTo>
                  <a:cubicBezTo>
                    <a:pt x="85" y="22"/>
                    <a:pt x="79" y="13"/>
                    <a:pt x="77" y="24"/>
                  </a:cubicBezTo>
                  <a:cubicBezTo>
                    <a:pt x="77" y="30"/>
                    <a:pt x="73" y="34"/>
                    <a:pt x="68" y="48"/>
                  </a:cubicBezTo>
                  <a:cubicBezTo>
                    <a:pt x="59" y="72"/>
                    <a:pt x="47" y="89"/>
                    <a:pt x="35" y="98"/>
                  </a:cubicBezTo>
                  <a:cubicBezTo>
                    <a:pt x="21" y="109"/>
                    <a:pt x="21" y="111"/>
                    <a:pt x="12" y="122"/>
                  </a:cubicBezTo>
                  <a:cubicBezTo>
                    <a:pt x="5" y="131"/>
                    <a:pt x="9" y="130"/>
                    <a:pt x="5" y="136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77" name="Freeform 93">
              <a:extLst>
                <a:ext uri="{FF2B5EF4-FFF2-40B4-BE49-F238E27FC236}">
                  <a16:creationId xmlns:a16="http://schemas.microsoft.com/office/drawing/2014/main" id="{65192DF8-D3AD-1336-6312-E3D8687E5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40787" y="4288042"/>
              <a:ext cx="382414" cy="364732"/>
            </a:xfrm>
            <a:custGeom>
              <a:avLst/>
              <a:gdLst/>
              <a:ahLst/>
              <a:cxnLst>
                <a:cxn ang="0">
                  <a:pos x="26" y="104"/>
                </a:cxn>
                <a:cxn ang="0">
                  <a:pos x="38" y="109"/>
                </a:cxn>
                <a:cxn ang="0">
                  <a:pos x="49" y="114"/>
                </a:cxn>
                <a:cxn ang="0">
                  <a:pos x="53" y="115"/>
                </a:cxn>
                <a:cxn ang="0">
                  <a:pos x="61" y="109"/>
                </a:cxn>
                <a:cxn ang="0">
                  <a:pos x="67" y="109"/>
                </a:cxn>
                <a:cxn ang="0">
                  <a:pos x="75" y="110"/>
                </a:cxn>
                <a:cxn ang="0">
                  <a:pos x="79" y="107"/>
                </a:cxn>
                <a:cxn ang="0">
                  <a:pos x="85" y="103"/>
                </a:cxn>
                <a:cxn ang="0">
                  <a:pos x="101" y="98"/>
                </a:cxn>
                <a:cxn ang="0">
                  <a:pos x="116" y="78"/>
                </a:cxn>
                <a:cxn ang="0">
                  <a:pos x="120" y="70"/>
                </a:cxn>
                <a:cxn ang="0">
                  <a:pos x="105" y="67"/>
                </a:cxn>
                <a:cxn ang="0">
                  <a:pos x="90" y="59"/>
                </a:cxn>
                <a:cxn ang="0">
                  <a:pos x="85" y="54"/>
                </a:cxn>
                <a:cxn ang="0">
                  <a:pos x="82" y="50"/>
                </a:cxn>
                <a:cxn ang="0">
                  <a:pos x="82" y="42"/>
                </a:cxn>
                <a:cxn ang="0">
                  <a:pos x="73" y="40"/>
                </a:cxn>
                <a:cxn ang="0">
                  <a:pos x="78" y="26"/>
                </a:cxn>
                <a:cxn ang="0">
                  <a:pos x="72" y="17"/>
                </a:cxn>
                <a:cxn ang="0">
                  <a:pos x="64" y="9"/>
                </a:cxn>
                <a:cxn ang="0">
                  <a:pos x="56" y="6"/>
                </a:cxn>
                <a:cxn ang="0">
                  <a:pos x="52" y="6"/>
                </a:cxn>
                <a:cxn ang="0">
                  <a:pos x="44" y="3"/>
                </a:cxn>
                <a:cxn ang="0">
                  <a:pos x="38" y="7"/>
                </a:cxn>
                <a:cxn ang="0">
                  <a:pos x="32" y="7"/>
                </a:cxn>
                <a:cxn ang="0">
                  <a:pos x="29" y="23"/>
                </a:cxn>
                <a:cxn ang="0">
                  <a:pos x="21" y="31"/>
                </a:cxn>
                <a:cxn ang="0">
                  <a:pos x="18" y="43"/>
                </a:cxn>
                <a:cxn ang="0">
                  <a:pos x="14" y="43"/>
                </a:cxn>
                <a:cxn ang="0">
                  <a:pos x="14" y="51"/>
                </a:cxn>
                <a:cxn ang="0">
                  <a:pos x="9" y="67"/>
                </a:cxn>
                <a:cxn ang="0">
                  <a:pos x="5" y="70"/>
                </a:cxn>
                <a:cxn ang="0">
                  <a:pos x="12" y="78"/>
                </a:cxn>
                <a:cxn ang="0">
                  <a:pos x="18" y="87"/>
                </a:cxn>
                <a:cxn ang="0">
                  <a:pos x="24" y="96"/>
                </a:cxn>
                <a:cxn ang="0">
                  <a:pos x="26" y="104"/>
                </a:cxn>
              </a:cxnLst>
              <a:rect l="0" t="0" r="r" b="b"/>
              <a:pathLst>
                <a:path w="123" h="117">
                  <a:moveTo>
                    <a:pt x="26" y="104"/>
                  </a:moveTo>
                  <a:cubicBezTo>
                    <a:pt x="31" y="109"/>
                    <a:pt x="31" y="101"/>
                    <a:pt x="38" y="109"/>
                  </a:cubicBezTo>
                  <a:cubicBezTo>
                    <a:pt x="46" y="117"/>
                    <a:pt x="46" y="112"/>
                    <a:pt x="49" y="114"/>
                  </a:cubicBezTo>
                  <a:cubicBezTo>
                    <a:pt x="52" y="115"/>
                    <a:pt x="53" y="114"/>
                    <a:pt x="53" y="115"/>
                  </a:cubicBezTo>
                  <a:cubicBezTo>
                    <a:pt x="56" y="117"/>
                    <a:pt x="55" y="112"/>
                    <a:pt x="61" y="109"/>
                  </a:cubicBezTo>
                  <a:cubicBezTo>
                    <a:pt x="66" y="106"/>
                    <a:pt x="66" y="107"/>
                    <a:pt x="67" y="109"/>
                  </a:cubicBezTo>
                  <a:cubicBezTo>
                    <a:pt x="69" y="110"/>
                    <a:pt x="72" y="110"/>
                    <a:pt x="75" y="110"/>
                  </a:cubicBezTo>
                  <a:cubicBezTo>
                    <a:pt x="76" y="107"/>
                    <a:pt x="76" y="107"/>
                    <a:pt x="79" y="107"/>
                  </a:cubicBezTo>
                  <a:cubicBezTo>
                    <a:pt x="85" y="107"/>
                    <a:pt x="78" y="106"/>
                    <a:pt x="85" y="103"/>
                  </a:cubicBezTo>
                  <a:cubicBezTo>
                    <a:pt x="94" y="98"/>
                    <a:pt x="94" y="106"/>
                    <a:pt x="101" y="98"/>
                  </a:cubicBezTo>
                  <a:cubicBezTo>
                    <a:pt x="107" y="90"/>
                    <a:pt x="110" y="85"/>
                    <a:pt x="116" y="78"/>
                  </a:cubicBezTo>
                  <a:cubicBezTo>
                    <a:pt x="123" y="70"/>
                    <a:pt x="123" y="70"/>
                    <a:pt x="120" y="70"/>
                  </a:cubicBezTo>
                  <a:cubicBezTo>
                    <a:pt x="119" y="70"/>
                    <a:pt x="116" y="71"/>
                    <a:pt x="105" y="67"/>
                  </a:cubicBezTo>
                  <a:cubicBezTo>
                    <a:pt x="94" y="62"/>
                    <a:pt x="93" y="64"/>
                    <a:pt x="90" y="59"/>
                  </a:cubicBezTo>
                  <a:cubicBezTo>
                    <a:pt x="87" y="56"/>
                    <a:pt x="85" y="57"/>
                    <a:pt x="85" y="54"/>
                  </a:cubicBezTo>
                  <a:cubicBezTo>
                    <a:pt x="84" y="51"/>
                    <a:pt x="84" y="53"/>
                    <a:pt x="82" y="50"/>
                  </a:cubicBezTo>
                  <a:cubicBezTo>
                    <a:pt x="81" y="45"/>
                    <a:pt x="79" y="45"/>
                    <a:pt x="82" y="42"/>
                  </a:cubicBezTo>
                  <a:cubicBezTo>
                    <a:pt x="81" y="37"/>
                    <a:pt x="76" y="43"/>
                    <a:pt x="73" y="40"/>
                  </a:cubicBezTo>
                  <a:cubicBezTo>
                    <a:pt x="73" y="31"/>
                    <a:pt x="75" y="36"/>
                    <a:pt x="78" y="26"/>
                  </a:cubicBezTo>
                  <a:cubicBezTo>
                    <a:pt x="73" y="23"/>
                    <a:pt x="75" y="20"/>
                    <a:pt x="72" y="17"/>
                  </a:cubicBezTo>
                  <a:cubicBezTo>
                    <a:pt x="69" y="15"/>
                    <a:pt x="67" y="9"/>
                    <a:pt x="64" y="9"/>
                  </a:cubicBezTo>
                  <a:cubicBezTo>
                    <a:pt x="62" y="7"/>
                    <a:pt x="61" y="6"/>
                    <a:pt x="56" y="6"/>
                  </a:cubicBezTo>
                  <a:cubicBezTo>
                    <a:pt x="52" y="4"/>
                    <a:pt x="53" y="7"/>
                    <a:pt x="52" y="6"/>
                  </a:cubicBezTo>
                  <a:cubicBezTo>
                    <a:pt x="50" y="3"/>
                    <a:pt x="50" y="12"/>
                    <a:pt x="44" y="3"/>
                  </a:cubicBezTo>
                  <a:cubicBezTo>
                    <a:pt x="41" y="0"/>
                    <a:pt x="41" y="12"/>
                    <a:pt x="38" y="7"/>
                  </a:cubicBezTo>
                  <a:cubicBezTo>
                    <a:pt x="37" y="3"/>
                    <a:pt x="38" y="11"/>
                    <a:pt x="32" y="7"/>
                  </a:cubicBezTo>
                  <a:cubicBezTo>
                    <a:pt x="31" y="17"/>
                    <a:pt x="27" y="18"/>
                    <a:pt x="29" y="23"/>
                  </a:cubicBezTo>
                  <a:cubicBezTo>
                    <a:pt x="23" y="23"/>
                    <a:pt x="24" y="29"/>
                    <a:pt x="21" y="31"/>
                  </a:cubicBezTo>
                  <a:cubicBezTo>
                    <a:pt x="18" y="34"/>
                    <a:pt x="20" y="42"/>
                    <a:pt x="18" y="43"/>
                  </a:cubicBezTo>
                  <a:cubicBezTo>
                    <a:pt x="17" y="45"/>
                    <a:pt x="17" y="39"/>
                    <a:pt x="14" y="43"/>
                  </a:cubicBezTo>
                  <a:cubicBezTo>
                    <a:pt x="12" y="48"/>
                    <a:pt x="15" y="46"/>
                    <a:pt x="14" y="51"/>
                  </a:cubicBezTo>
                  <a:cubicBezTo>
                    <a:pt x="11" y="57"/>
                    <a:pt x="15" y="68"/>
                    <a:pt x="9" y="67"/>
                  </a:cubicBezTo>
                  <a:cubicBezTo>
                    <a:pt x="2" y="64"/>
                    <a:pt x="6" y="68"/>
                    <a:pt x="5" y="70"/>
                  </a:cubicBezTo>
                  <a:cubicBezTo>
                    <a:pt x="0" y="73"/>
                    <a:pt x="9" y="71"/>
                    <a:pt x="12" y="78"/>
                  </a:cubicBezTo>
                  <a:cubicBezTo>
                    <a:pt x="15" y="82"/>
                    <a:pt x="17" y="79"/>
                    <a:pt x="18" y="87"/>
                  </a:cubicBezTo>
                  <a:cubicBezTo>
                    <a:pt x="20" y="95"/>
                    <a:pt x="20" y="95"/>
                    <a:pt x="24" y="96"/>
                  </a:cubicBezTo>
                  <a:cubicBezTo>
                    <a:pt x="27" y="96"/>
                    <a:pt x="24" y="98"/>
                    <a:pt x="26" y="104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78" name="Freeform 94">
              <a:extLst>
                <a:ext uri="{FF2B5EF4-FFF2-40B4-BE49-F238E27FC236}">
                  <a16:creationId xmlns:a16="http://schemas.microsoft.com/office/drawing/2014/main" id="{7F8E14A9-E4F4-F2D7-B6D6-FDEB88A8CE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27553" y="4198064"/>
              <a:ext cx="171925" cy="181563"/>
            </a:xfrm>
            <a:custGeom>
              <a:avLst/>
              <a:gdLst/>
              <a:ahLst/>
              <a:cxnLst>
                <a:cxn ang="0">
                  <a:pos x="4" y="37"/>
                </a:cxn>
                <a:cxn ang="0">
                  <a:pos x="10" y="37"/>
                </a:cxn>
                <a:cxn ang="0">
                  <a:pos x="16" y="32"/>
                </a:cxn>
                <a:cxn ang="0">
                  <a:pos x="23" y="35"/>
                </a:cxn>
                <a:cxn ang="0">
                  <a:pos x="28" y="35"/>
                </a:cxn>
                <a:cxn ang="0">
                  <a:pos x="36" y="38"/>
                </a:cxn>
                <a:cxn ang="0">
                  <a:pos x="43" y="46"/>
                </a:cxn>
                <a:cxn ang="0">
                  <a:pos x="49" y="55"/>
                </a:cxn>
                <a:cxn ang="0">
                  <a:pos x="55" y="52"/>
                </a:cxn>
                <a:cxn ang="0">
                  <a:pos x="51" y="49"/>
                </a:cxn>
                <a:cxn ang="0">
                  <a:pos x="49" y="46"/>
                </a:cxn>
                <a:cxn ang="0">
                  <a:pos x="46" y="43"/>
                </a:cxn>
                <a:cxn ang="0">
                  <a:pos x="42" y="37"/>
                </a:cxn>
                <a:cxn ang="0">
                  <a:pos x="36" y="32"/>
                </a:cxn>
                <a:cxn ang="0">
                  <a:pos x="31" y="27"/>
                </a:cxn>
                <a:cxn ang="0">
                  <a:pos x="28" y="30"/>
                </a:cxn>
                <a:cxn ang="0">
                  <a:pos x="25" y="23"/>
                </a:cxn>
                <a:cxn ang="0">
                  <a:pos x="19" y="0"/>
                </a:cxn>
                <a:cxn ang="0">
                  <a:pos x="11" y="7"/>
                </a:cxn>
                <a:cxn ang="0">
                  <a:pos x="7" y="12"/>
                </a:cxn>
                <a:cxn ang="0">
                  <a:pos x="2" y="29"/>
                </a:cxn>
                <a:cxn ang="0">
                  <a:pos x="4" y="37"/>
                </a:cxn>
              </a:cxnLst>
              <a:rect l="0" t="0" r="r" b="b"/>
              <a:pathLst>
                <a:path w="55" h="58">
                  <a:moveTo>
                    <a:pt x="4" y="37"/>
                  </a:moveTo>
                  <a:cubicBezTo>
                    <a:pt x="10" y="40"/>
                    <a:pt x="8" y="32"/>
                    <a:pt x="10" y="37"/>
                  </a:cubicBezTo>
                  <a:cubicBezTo>
                    <a:pt x="13" y="41"/>
                    <a:pt x="13" y="29"/>
                    <a:pt x="16" y="32"/>
                  </a:cubicBezTo>
                  <a:cubicBezTo>
                    <a:pt x="22" y="41"/>
                    <a:pt x="22" y="32"/>
                    <a:pt x="23" y="35"/>
                  </a:cubicBezTo>
                  <a:cubicBezTo>
                    <a:pt x="25" y="37"/>
                    <a:pt x="23" y="34"/>
                    <a:pt x="28" y="35"/>
                  </a:cubicBezTo>
                  <a:cubicBezTo>
                    <a:pt x="33" y="35"/>
                    <a:pt x="34" y="37"/>
                    <a:pt x="36" y="38"/>
                  </a:cubicBezTo>
                  <a:cubicBezTo>
                    <a:pt x="39" y="38"/>
                    <a:pt x="40" y="44"/>
                    <a:pt x="43" y="46"/>
                  </a:cubicBezTo>
                  <a:cubicBezTo>
                    <a:pt x="46" y="49"/>
                    <a:pt x="45" y="52"/>
                    <a:pt x="49" y="55"/>
                  </a:cubicBezTo>
                  <a:cubicBezTo>
                    <a:pt x="51" y="54"/>
                    <a:pt x="51" y="58"/>
                    <a:pt x="55" y="52"/>
                  </a:cubicBezTo>
                  <a:cubicBezTo>
                    <a:pt x="54" y="50"/>
                    <a:pt x="52" y="52"/>
                    <a:pt x="51" y="49"/>
                  </a:cubicBezTo>
                  <a:cubicBezTo>
                    <a:pt x="51" y="47"/>
                    <a:pt x="51" y="49"/>
                    <a:pt x="49" y="46"/>
                  </a:cubicBezTo>
                  <a:cubicBezTo>
                    <a:pt x="46" y="40"/>
                    <a:pt x="48" y="46"/>
                    <a:pt x="46" y="43"/>
                  </a:cubicBezTo>
                  <a:cubicBezTo>
                    <a:pt x="45" y="38"/>
                    <a:pt x="45" y="44"/>
                    <a:pt x="42" y="37"/>
                  </a:cubicBezTo>
                  <a:cubicBezTo>
                    <a:pt x="37" y="30"/>
                    <a:pt x="39" y="37"/>
                    <a:pt x="36" y="32"/>
                  </a:cubicBezTo>
                  <a:cubicBezTo>
                    <a:pt x="34" y="27"/>
                    <a:pt x="34" y="35"/>
                    <a:pt x="31" y="27"/>
                  </a:cubicBezTo>
                  <a:cubicBezTo>
                    <a:pt x="28" y="21"/>
                    <a:pt x="29" y="30"/>
                    <a:pt x="28" y="30"/>
                  </a:cubicBezTo>
                  <a:cubicBezTo>
                    <a:pt x="28" y="29"/>
                    <a:pt x="28" y="27"/>
                    <a:pt x="25" y="23"/>
                  </a:cubicBezTo>
                  <a:cubicBezTo>
                    <a:pt x="23" y="18"/>
                    <a:pt x="23" y="7"/>
                    <a:pt x="19" y="0"/>
                  </a:cubicBezTo>
                  <a:cubicBezTo>
                    <a:pt x="16" y="9"/>
                    <a:pt x="13" y="4"/>
                    <a:pt x="11" y="7"/>
                  </a:cubicBezTo>
                  <a:cubicBezTo>
                    <a:pt x="8" y="13"/>
                    <a:pt x="5" y="6"/>
                    <a:pt x="7" y="12"/>
                  </a:cubicBezTo>
                  <a:cubicBezTo>
                    <a:pt x="7" y="21"/>
                    <a:pt x="4" y="26"/>
                    <a:pt x="2" y="29"/>
                  </a:cubicBezTo>
                  <a:cubicBezTo>
                    <a:pt x="0" y="30"/>
                    <a:pt x="4" y="34"/>
                    <a:pt x="4" y="37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79" name="Freeform 95">
              <a:extLst>
                <a:ext uri="{FF2B5EF4-FFF2-40B4-BE49-F238E27FC236}">
                  <a16:creationId xmlns:a16="http://schemas.microsoft.com/office/drawing/2014/main" id="{EB83C99B-4AF0-7B5E-7081-C7BEBCD61F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67343" y="4360346"/>
              <a:ext cx="44990" cy="65877"/>
            </a:xfrm>
            <a:custGeom>
              <a:avLst/>
              <a:gdLst/>
              <a:ahLst/>
              <a:cxnLst>
                <a:cxn ang="0">
                  <a:pos x="9" y="19"/>
                </a:cxn>
                <a:cxn ang="0">
                  <a:pos x="0" y="17"/>
                </a:cxn>
                <a:cxn ang="0">
                  <a:pos x="5" y="3"/>
                </a:cxn>
                <a:cxn ang="0">
                  <a:pos x="11" y="0"/>
                </a:cxn>
                <a:cxn ang="0">
                  <a:pos x="11" y="10"/>
                </a:cxn>
                <a:cxn ang="0">
                  <a:pos x="12" y="13"/>
                </a:cxn>
                <a:cxn ang="0">
                  <a:pos x="9" y="19"/>
                </a:cxn>
              </a:cxnLst>
              <a:rect l="0" t="0" r="r" b="b"/>
              <a:pathLst>
                <a:path w="14" h="21">
                  <a:moveTo>
                    <a:pt x="9" y="19"/>
                  </a:moveTo>
                  <a:cubicBezTo>
                    <a:pt x="8" y="14"/>
                    <a:pt x="3" y="21"/>
                    <a:pt x="0" y="17"/>
                  </a:cubicBezTo>
                  <a:cubicBezTo>
                    <a:pt x="0" y="8"/>
                    <a:pt x="2" y="13"/>
                    <a:pt x="5" y="3"/>
                  </a:cubicBezTo>
                  <a:cubicBezTo>
                    <a:pt x="6" y="2"/>
                    <a:pt x="6" y="6"/>
                    <a:pt x="11" y="0"/>
                  </a:cubicBezTo>
                  <a:cubicBezTo>
                    <a:pt x="12" y="5"/>
                    <a:pt x="14" y="6"/>
                    <a:pt x="11" y="10"/>
                  </a:cubicBezTo>
                  <a:cubicBezTo>
                    <a:pt x="3" y="14"/>
                    <a:pt x="9" y="11"/>
                    <a:pt x="12" y="13"/>
                  </a:cubicBezTo>
                  <a:cubicBezTo>
                    <a:pt x="9" y="19"/>
                    <a:pt x="9" y="19"/>
                    <a:pt x="9" y="19"/>
                  </a:cubicBezTo>
                  <a:close/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80" name="Freeform 96">
              <a:extLst>
                <a:ext uri="{FF2B5EF4-FFF2-40B4-BE49-F238E27FC236}">
                  <a16:creationId xmlns:a16="http://schemas.microsoft.com/office/drawing/2014/main" id="{3FC46CAC-DAE7-69B6-7139-6259605B03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36258" y="4578864"/>
              <a:ext cx="482035" cy="600925"/>
            </a:xfrm>
            <a:custGeom>
              <a:avLst/>
              <a:gdLst/>
              <a:ahLst/>
              <a:cxnLst>
                <a:cxn ang="0">
                  <a:pos x="138" y="114"/>
                </a:cxn>
                <a:cxn ang="0">
                  <a:pos x="148" y="136"/>
                </a:cxn>
                <a:cxn ang="0">
                  <a:pos x="130" y="148"/>
                </a:cxn>
                <a:cxn ang="0">
                  <a:pos x="129" y="170"/>
                </a:cxn>
                <a:cxn ang="0">
                  <a:pos x="141" y="181"/>
                </a:cxn>
                <a:cxn ang="0">
                  <a:pos x="132" y="182"/>
                </a:cxn>
                <a:cxn ang="0">
                  <a:pos x="119" y="171"/>
                </a:cxn>
                <a:cxn ang="0">
                  <a:pos x="107" y="171"/>
                </a:cxn>
                <a:cxn ang="0">
                  <a:pos x="93" y="162"/>
                </a:cxn>
                <a:cxn ang="0">
                  <a:pos x="84" y="164"/>
                </a:cxn>
                <a:cxn ang="0">
                  <a:pos x="78" y="153"/>
                </a:cxn>
                <a:cxn ang="0">
                  <a:pos x="77" y="128"/>
                </a:cxn>
                <a:cxn ang="0">
                  <a:pos x="64" y="123"/>
                </a:cxn>
                <a:cxn ang="0">
                  <a:pos x="57" y="133"/>
                </a:cxn>
                <a:cxn ang="0">
                  <a:pos x="41" y="133"/>
                </a:cxn>
                <a:cxn ang="0">
                  <a:pos x="35" y="117"/>
                </a:cxn>
                <a:cxn ang="0">
                  <a:pos x="8" y="112"/>
                </a:cxn>
                <a:cxn ang="0">
                  <a:pos x="0" y="112"/>
                </a:cxn>
                <a:cxn ang="0">
                  <a:pos x="8" y="101"/>
                </a:cxn>
                <a:cxn ang="0">
                  <a:pos x="19" y="103"/>
                </a:cxn>
                <a:cxn ang="0">
                  <a:pos x="32" y="86"/>
                </a:cxn>
                <a:cxn ang="0">
                  <a:pos x="46" y="53"/>
                </a:cxn>
                <a:cxn ang="0">
                  <a:pos x="48" y="30"/>
                </a:cxn>
                <a:cxn ang="0">
                  <a:pos x="52" y="13"/>
                </a:cxn>
                <a:cxn ang="0">
                  <a:pos x="67" y="13"/>
                </a:cxn>
                <a:cxn ang="0">
                  <a:pos x="93" y="8"/>
                </a:cxn>
                <a:cxn ang="0">
                  <a:pos x="116" y="6"/>
                </a:cxn>
                <a:cxn ang="0">
                  <a:pos x="130" y="13"/>
                </a:cxn>
                <a:cxn ang="0">
                  <a:pos x="142" y="14"/>
                </a:cxn>
                <a:cxn ang="0">
                  <a:pos x="150" y="33"/>
                </a:cxn>
                <a:cxn ang="0">
                  <a:pos x="139" y="69"/>
                </a:cxn>
                <a:cxn ang="0">
                  <a:pos x="133" y="83"/>
                </a:cxn>
                <a:cxn ang="0">
                  <a:pos x="138" y="100"/>
                </a:cxn>
              </a:cxnLst>
              <a:rect l="0" t="0" r="r" b="b"/>
              <a:pathLst>
                <a:path w="155" h="193">
                  <a:moveTo>
                    <a:pt x="138" y="100"/>
                  </a:moveTo>
                  <a:cubicBezTo>
                    <a:pt x="136" y="106"/>
                    <a:pt x="139" y="109"/>
                    <a:pt x="138" y="114"/>
                  </a:cubicBezTo>
                  <a:cubicBezTo>
                    <a:pt x="136" y="119"/>
                    <a:pt x="144" y="125"/>
                    <a:pt x="145" y="128"/>
                  </a:cubicBezTo>
                  <a:cubicBezTo>
                    <a:pt x="145" y="133"/>
                    <a:pt x="147" y="134"/>
                    <a:pt x="148" y="136"/>
                  </a:cubicBezTo>
                  <a:cubicBezTo>
                    <a:pt x="142" y="137"/>
                    <a:pt x="133" y="136"/>
                    <a:pt x="133" y="140"/>
                  </a:cubicBezTo>
                  <a:cubicBezTo>
                    <a:pt x="133" y="147"/>
                    <a:pt x="127" y="145"/>
                    <a:pt x="130" y="148"/>
                  </a:cubicBezTo>
                  <a:cubicBezTo>
                    <a:pt x="135" y="154"/>
                    <a:pt x="129" y="153"/>
                    <a:pt x="130" y="157"/>
                  </a:cubicBezTo>
                  <a:cubicBezTo>
                    <a:pt x="133" y="161"/>
                    <a:pt x="127" y="167"/>
                    <a:pt x="129" y="170"/>
                  </a:cubicBezTo>
                  <a:cubicBezTo>
                    <a:pt x="130" y="173"/>
                    <a:pt x="132" y="176"/>
                    <a:pt x="135" y="178"/>
                  </a:cubicBezTo>
                  <a:cubicBezTo>
                    <a:pt x="139" y="179"/>
                    <a:pt x="141" y="168"/>
                    <a:pt x="141" y="181"/>
                  </a:cubicBezTo>
                  <a:cubicBezTo>
                    <a:pt x="139" y="193"/>
                    <a:pt x="139" y="184"/>
                    <a:pt x="138" y="186"/>
                  </a:cubicBezTo>
                  <a:cubicBezTo>
                    <a:pt x="135" y="189"/>
                    <a:pt x="135" y="189"/>
                    <a:pt x="132" y="182"/>
                  </a:cubicBezTo>
                  <a:cubicBezTo>
                    <a:pt x="129" y="178"/>
                    <a:pt x="127" y="176"/>
                    <a:pt x="124" y="176"/>
                  </a:cubicBezTo>
                  <a:cubicBezTo>
                    <a:pt x="122" y="176"/>
                    <a:pt x="121" y="173"/>
                    <a:pt x="119" y="171"/>
                  </a:cubicBezTo>
                  <a:cubicBezTo>
                    <a:pt x="119" y="168"/>
                    <a:pt x="118" y="167"/>
                    <a:pt x="118" y="171"/>
                  </a:cubicBezTo>
                  <a:cubicBezTo>
                    <a:pt x="116" y="175"/>
                    <a:pt x="115" y="173"/>
                    <a:pt x="107" y="171"/>
                  </a:cubicBezTo>
                  <a:cubicBezTo>
                    <a:pt x="101" y="170"/>
                    <a:pt x="109" y="162"/>
                    <a:pt x="101" y="167"/>
                  </a:cubicBezTo>
                  <a:cubicBezTo>
                    <a:pt x="95" y="170"/>
                    <a:pt x="101" y="162"/>
                    <a:pt x="93" y="162"/>
                  </a:cubicBezTo>
                  <a:cubicBezTo>
                    <a:pt x="93" y="164"/>
                    <a:pt x="93" y="164"/>
                    <a:pt x="90" y="164"/>
                  </a:cubicBezTo>
                  <a:cubicBezTo>
                    <a:pt x="89" y="162"/>
                    <a:pt x="87" y="165"/>
                    <a:pt x="84" y="164"/>
                  </a:cubicBezTo>
                  <a:cubicBezTo>
                    <a:pt x="81" y="164"/>
                    <a:pt x="83" y="167"/>
                    <a:pt x="80" y="167"/>
                  </a:cubicBezTo>
                  <a:cubicBezTo>
                    <a:pt x="77" y="165"/>
                    <a:pt x="83" y="159"/>
                    <a:pt x="78" y="153"/>
                  </a:cubicBezTo>
                  <a:cubicBezTo>
                    <a:pt x="74" y="147"/>
                    <a:pt x="78" y="140"/>
                    <a:pt x="77" y="136"/>
                  </a:cubicBezTo>
                  <a:cubicBezTo>
                    <a:pt x="75" y="131"/>
                    <a:pt x="77" y="131"/>
                    <a:pt x="77" y="128"/>
                  </a:cubicBezTo>
                  <a:cubicBezTo>
                    <a:pt x="77" y="125"/>
                    <a:pt x="64" y="129"/>
                    <a:pt x="67" y="125"/>
                  </a:cubicBezTo>
                  <a:cubicBezTo>
                    <a:pt x="67" y="123"/>
                    <a:pt x="66" y="122"/>
                    <a:pt x="64" y="123"/>
                  </a:cubicBezTo>
                  <a:cubicBezTo>
                    <a:pt x="63" y="125"/>
                    <a:pt x="58" y="122"/>
                    <a:pt x="58" y="126"/>
                  </a:cubicBezTo>
                  <a:cubicBezTo>
                    <a:pt x="58" y="131"/>
                    <a:pt x="57" y="128"/>
                    <a:pt x="57" y="133"/>
                  </a:cubicBezTo>
                  <a:cubicBezTo>
                    <a:pt x="58" y="136"/>
                    <a:pt x="54" y="134"/>
                    <a:pt x="52" y="134"/>
                  </a:cubicBezTo>
                  <a:cubicBezTo>
                    <a:pt x="51" y="133"/>
                    <a:pt x="43" y="137"/>
                    <a:pt x="41" y="133"/>
                  </a:cubicBezTo>
                  <a:cubicBezTo>
                    <a:pt x="40" y="128"/>
                    <a:pt x="38" y="129"/>
                    <a:pt x="38" y="125"/>
                  </a:cubicBezTo>
                  <a:cubicBezTo>
                    <a:pt x="38" y="122"/>
                    <a:pt x="37" y="122"/>
                    <a:pt x="35" y="117"/>
                  </a:cubicBezTo>
                  <a:cubicBezTo>
                    <a:pt x="35" y="112"/>
                    <a:pt x="35" y="112"/>
                    <a:pt x="25" y="114"/>
                  </a:cubicBezTo>
                  <a:cubicBezTo>
                    <a:pt x="12" y="114"/>
                    <a:pt x="14" y="112"/>
                    <a:pt x="8" y="112"/>
                  </a:cubicBezTo>
                  <a:cubicBezTo>
                    <a:pt x="6" y="112"/>
                    <a:pt x="6" y="112"/>
                    <a:pt x="3" y="112"/>
                  </a:cubicBezTo>
                  <a:cubicBezTo>
                    <a:pt x="2" y="114"/>
                    <a:pt x="2" y="114"/>
                    <a:pt x="0" y="112"/>
                  </a:cubicBezTo>
                  <a:cubicBezTo>
                    <a:pt x="5" y="112"/>
                    <a:pt x="2" y="106"/>
                    <a:pt x="3" y="103"/>
                  </a:cubicBezTo>
                  <a:cubicBezTo>
                    <a:pt x="6" y="101"/>
                    <a:pt x="6" y="101"/>
                    <a:pt x="8" y="101"/>
                  </a:cubicBezTo>
                  <a:cubicBezTo>
                    <a:pt x="11" y="106"/>
                    <a:pt x="14" y="97"/>
                    <a:pt x="17" y="98"/>
                  </a:cubicBezTo>
                  <a:cubicBezTo>
                    <a:pt x="20" y="100"/>
                    <a:pt x="15" y="103"/>
                    <a:pt x="19" y="103"/>
                  </a:cubicBezTo>
                  <a:cubicBezTo>
                    <a:pt x="23" y="105"/>
                    <a:pt x="26" y="95"/>
                    <a:pt x="28" y="95"/>
                  </a:cubicBezTo>
                  <a:cubicBezTo>
                    <a:pt x="31" y="95"/>
                    <a:pt x="34" y="89"/>
                    <a:pt x="32" y="86"/>
                  </a:cubicBezTo>
                  <a:cubicBezTo>
                    <a:pt x="29" y="80"/>
                    <a:pt x="37" y="67"/>
                    <a:pt x="41" y="66"/>
                  </a:cubicBezTo>
                  <a:cubicBezTo>
                    <a:pt x="46" y="62"/>
                    <a:pt x="43" y="59"/>
                    <a:pt x="46" y="53"/>
                  </a:cubicBezTo>
                  <a:cubicBezTo>
                    <a:pt x="48" y="48"/>
                    <a:pt x="45" y="50"/>
                    <a:pt x="46" y="42"/>
                  </a:cubicBezTo>
                  <a:cubicBezTo>
                    <a:pt x="48" y="34"/>
                    <a:pt x="45" y="36"/>
                    <a:pt x="48" y="30"/>
                  </a:cubicBezTo>
                  <a:cubicBezTo>
                    <a:pt x="52" y="25"/>
                    <a:pt x="52" y="24"/>
                    <a:pt x="52" y="22"/>
                  </a:cubicBezTo>
                  <a:cubicBezTo>
                    <a:pt x="51" y="17"/>
                    <a:pt x="49" y="14"/>
                    <a:pt x="52" y="13"/>
                  </a:cubicBezTo>
                  <a:cubicBezTo>
                    <a:pt x="54" y="11"/>
                    <a:pt x="54" y="3"/>
                    <a:pt x="61" y="6"/>
                  </a:cubicBezTo>
                  <a:cubicBezTo>
                    <a:pt x="67" y="10"/>
                    <a:pt x="64" y="13"/>
                    <a:pt x="67" y="13"/>
                  </a:cubicBezTo>
                  <a:cubicBezTo>
                    <a:pt x="77" y="13"/>
                    <a:pt x="81" y="19"/>
                    <a:pt x="84" y="11"/>
                  </a:cubicBezTo>
                  <a:cubicBezTo>
                    <a:pt x="87" y="3"/>
                    <a:pt x="84" y="14"/>
                    <a:pt x="93" y="8"/>
                  </a:cubicBezTo>
                  <a:cubicBezTo>
                    <a:pt x="101" y="3"/>
                    <a:pt x="101" y="10"/>
                    <a:pt x="104" y="5"/>
                  </a:cubicBezTo>
                  <a:cubicBezTo>
                    <a:pt x="107" y="0"/>
                    <a:pt x="115" y="10"/>
                    <a:pt x="116" y="6"/>
                  </a:cubicBezTo>
                  <a:cubicBezTo>
                    <a:pt x="119" y="3"/>
                    <a:pt x="119" y="6"/>
                    <a:pt x="122" y="6"/>
                  </a:cubicBezTo>
                  <a:cubicBezTo>
                    <a:pt x="125" y="11"/>
                    <a:pt x="129" y="16"/>
                    <a:pt x="130" y="13"/>
                  </a:cubicBezTo>
                  <a:cubicBezTo>
                    <a:pt x="133" y="10"/>
                    <a:pt x="135" y="16"/>
                    <a:pt x="136" y="11"/>
                  </a:cubicBezTo>
                  <a:cubicBezTo>
                    <a:pt x="139" y="8"/>
                    <a:pt x="141" y="10"/>
                    <a:pt x="142" y="14"/>
                  </a:cubicBezTo>
                  <a:cubicBezTo>
                    <a:pt x="145" y="19"/>
                    <a:pt x="145" y="16"/>
                    <a:pt x="148" y="22"/>
                  </a:cubicBezTo>
                  <a:cubicBezTo>
                    <a:pt x="148" y="30"/>
                    <a:pt x="145" y="31"/>
                    <a:pt x="150" y="33"/>
                  </a:cubicBezTo>
                  <a:cubicBezTo>
                    <a:pt x="155" y="36"/>
                    <a:pt x="148" y="39"/>
                    <a:pt x="144" y="44"/>
                  </a:cubicBezTo>
                  <a:cubicBezTo>
                    <a:pt x="139" y="48"/>
                    <a:pt x="139" y="59"/>
                    <a:pt x="139" y="69"/>
                  </a:cubicBezTo>
                  <a:cubicBezTo>
                    <a:pt x="130" y="75"/>
                    <a:pt x="138" y="75"/>
                    <a:pt x="135" y="78"/>
                  </a:cubicBezTo>
                  <a:cubicBezTo>
                    <a:pt x="132" y="80"/>
                    <a:pt x="133" y="80"/>
                    <a:pt x="133" y="83"/>
                  </a:cubicBezTo>
                  <a:cubicBezTo>
                    <a:pt x="135" y="86"/>
                    <a:pt x="136" y="86"/>
                    <a:pt x="135" y="90"/>
                  </a:cubicBezTo>
                  <a:cubicBezTo>
                    <a:pt x="135" y="95"/>
                    <a:pt x="138" y="97"/>
                    <a:pt x="138" y="100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81" name="Freeform 97">
              <a:extLst>
                <a:ext uri="{FF2B5EF4-FFF2-40B4-BE49-F238E27FC236}">
                  <a16:creationId xmlns:a16="http://schemas.microsoft.com/office/drawing/2014/main" id="{4306564D-556C-0F29-BA7F-92626CDDFB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68102" y="4596539"/>
              <a:ext cx="202455" cy="297249"/>
            </a:xfrm>
            <a:custGeom>
              <a:avLst/>
              <a:gdLst/>
              <a:ahLst/>
              <a:cxnLst>
                <a:cxn ang="0">
                  <a:pos x="2" y="8"/>
                </a:cxn>
                <a:cxn ang="0">
                  <a:pos x="8" y="22"/>
                </a:cxn>
                <a:cxn ang="0">
                  <a:pos x="6" y="41"/>
                </a:cxn>
                <a:cxn ang="0">
                  <a:pos x="2" y="59"/>
                </a:cxn>
                <a:cxn ang="0">
                  <a:pos x="29" y="78"/>
                </a:cxn>
                <a:cxn ang="0">
                  <a:pos x="32" y="86"/>
                </a:cxn>
                <a:cxn ang="0">
                  <a:pos x="44" y="95"/>
                </a:cxn>
                <a:cxn ang="0">
                  <a:pos x="49" y="86"/>
                </a:cxn>
                <a:cxn ang="0">
                  <a:pos x="52" y="78"/>
                </a:cxn>
                <a:cxn ang="0">
                  <a:pos x="56" y="70"/>
                </a:cxn>
                <a:cxn ang="0">
                  <a:pos x="62" y="66"/>
                </a:cxn>
                <a:cxn ang="0">
                  <a:pos x="58" y="56"/>
                </a:cxn>
                <a:cxn ang="0">
                  <a:pos x="58" y="22"/>
                </a:cxn>
                <a:cxn ang="0">
                  <a:pos x="65" y="11"/>
                </a:cxn>
                <a:cxn ang="0">
                  <a:pos x="58" y="10"/>
                </a:cxn>
                <a:cxn ang="0">
                  <a:pos x="52" y="10"/>
                </a:cxn>
                <a:cxn ang="0">
                  <a:pos x="44" y="16"/>
                </a:cxn>
                <a:cxn ang="0">
                  <a:pos x="40" y="14"/>
                </a:cxn>
                <a:cxn ang="0">
                  <a:pos x="29" y="10"/>
                </a:cxn>
                <a:cxn ang="0">
                  <a:pos x="17" y="5"/>
                </a:cxn>
                <a:cxn ang="0">
                  <a:pos x="14" y="2"/>
                </a:cxn>
                <a:cxn ang="0">
                  <a:pos x="8" y="2"/>
                </a:cxn>
                <a:cxn ang="0">
                  <a:pos x="2" y="8"/>
                </a:cxn>
              </a:cxnLst>
              <a:rect l="0" t="0" r="r" b="b"/>
              <a:pathLst>
                <a:path w="65" h="95">
                  <a:moveTo>
                    <a:pt x="2" y="8"/>
                  </a:moveTo>
                  <a:cubicBezTo>
                    <a:pt x="8" y="16"/>
                    <a:pt x="5" y="17"/>
                    <a:pt x="8" y="22"/>
                  </a:cubicBezTo>
                  <a:cubicBezTo>
                    <a:pt x="11" y="27"/>
                    <a:pt x="11" y="34"/>
                    <a:pt x="6" y="41"/>
                  </a:cubicBezTo>
                  <a:cubicBezTo>
                    <a:pt x="0" y="47"/>
                    <a:pt x="3" y="52"/>
                    <a:pt x="2" y="59"/>
                  </a:cubicBezTo>
                  <a:cubicBezTo>
                    <a:pt x="18" y="70"/>
                    <a:pt x="24" y="75"/>
                    <a:pt x="29" y="78"/>
                  </a:cubicBezTo>
                  <a:cubicBezTo>
                    <a:pt x="35" y="81"/>
                    <a:pt x="29" y="81"/>
                    <a:pt x="32" y="86"/>
                  </a:cubicBezTo>
                  <a:cubicBezTo>
                    <a:pt x="37" y="89"/>
                    <a:pt x="43" y="95"/>
                    <a:pt x="44" y="95"/>
                  </a:cubicBezTo>
                  <a:cubicBezTo>
                    <a:pt x="47" y="91"/>
                    <a:pt x="49" y="91"/>
                    <a:pt x="49" y="86"/>
                  </a:cubicBezTo>
                  <a:cubicBezTo>
                    <a:pt x="49" y="80"/>
                    <a:pt x="52" y="86"/>
                    <a:pt x="52" y="78"/>
                  </a:cubicBezTo>
                  <a:cubicBezTo>
                    <a:pt x="50" y="72"/>
                    <a:pt x="58" y="75"/>
                    <a:pt x="56" y="70"/>
                  </a:cubicBezTo>
                  <a:cubicBezTo>
                    <a:pt x="56" y="67"/>
                    <a:pt x="58" y="72"/>
                    <a:pt x="62" y="66"/>
                  </a:cubicBezTo>
                  <a:cubicBezTo>
                    <a:pt x="61" y="61"/>
                    <a:pt x="58" y="63"/>
                    <a:pt x="58" y="56"/>
                  </a:cubicBezTo>
                  <a:cubicBezTo>
                    <a:pt x="58" y="48"/>
                    <a:pt x="58" y="22"/>
                    <a:pt x="58" y="22"/>
                  </a:cubicBezTo>
                  <a:cubicBezTo>
                    <a:pt x="58" y="22"/>
                    <a:pt x="62" y="14"/>
                    <a:pt x="65" y="11"/>
                  </a:cubicBezTo>
                  <a:cubicBezTo>
                    <a:pt x="62" y="11"/>
                    <a:pt x="59" y="11"/>
                    <a:pt x="58" y="10"/>
                  </a:cubicBezTo>
                  <a:cubicBezTo>
                    <a:pt x="56" y="8"/>
                    <a:pt x="56" y="6"/>
                    <a:pt x="52" y="10"/>
                  </a:cubicBezTo>
                  <a:cubicBezTo>
                    <a:pt x="46" y="13"/>
                    <a:pt x="47" y="17"/>
                    <a:pt x="44" y="16"/>
                  </a:cubicBezTo>
                  <a:cubicBezTo>
                    <a:pt x="44" y="14"/>
                    <a:pt x="43" y="16"/>
                    <a:pt x="40" y="14"/>
                  </a:cubicBezTo>
                  <a:cubicBezTo>
                    <a:pt x="37" y="13"/>
                    <a:pt x="37" y="17"/>
                    <a:pt x="29" y="10"/>
                  </a:cubicBezTo>
                  <a:cubicBezTo>
                    <a:pt x="21" y="2"/>
                    <a:pt x="21" y="10"/>
                    <a:pt x="17" y="5"/>
                  </a:cubicBezTo>
                  <a:cubicBezTo>
                    <a:pt x="15" y="5"/>
                    <a:pt x="12" y="5"/>
                    <a:pt x="14" y="2"/>
                  </a:cubicBezTo>
                  <a:cubicBezTo>
                    <a:pt x="14" y="0"/>
                    <a:pt x="11" y="2"/>
                    <a:pt x="8" y="2"/>
                  </a:cubicBezTo>
                  <a:cubicBezTo>
                    <a:pt x="5" y="3"/>
                    <a:pt x="3" y="6"/>
                    <a:pt x="2" y="8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82" name="Freeform 98">
              <a:extLst>
                <a:ext uri="{FF2B5EF4-FFF2-40B4-BE49-F238E27FC236}">
                  <a16:creationId xmlns:a16="http://schemas.microsoft.com/office/drawing/2014/main" id="{08A04166-4843-5192-8803-036037A601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68482" y="4622247"/>
              <a:ext cx="131756" cy="175135"/>
            </a:xfrm>
            <a:custGeom>
              <a:avLst/>
              <a:gdLst/>
              <a:ahLst/>
              <a:cxnLst>
                <a:cxn ang="0">
                  <a:pos x="9" y="8"/>
                </a:cxn>
                <a:cxn ang="0">
                  <a:pos x="11" y="19"/>
                </a:cxn>
                <a:cxn ang="0">
                  <a:pos x="5" y="30"/>
                </a:cxn>
                <a:cxn ang="0">
                  <a:pos x="0" y="55"/>
                </a:cxn>
                <a:cxn ang="0">
                  <a:pos x="3" y="56"/>
                </a:cxn>
                <a:cxn ang="0">
                  <a:pos x="6" y="52"/>
                </a:cxn>
                <a:cxn ang="0">
                  <a:pos x="33" y="52"/>
                </a:cxn>
                <a:cxn ang="0">
                  <a:pos x="38" y="33"/>
                </a:cxn>
                <a:cxn ang="0">
                  <a:pos x="39" y="14"/>
                </a:cxn>
                <a:cxn ang="0">
                  <a:pos x="33" y="0"/>
                </a:cxn>
                <a:cxn ang="0">
                  <a:pos x="29" y="5"/>
                </a:cxn>
                <a:cxn ang="0">
                  <a:pos x="27" y="3"/>
                </a:cxn>
                <a:cxn ang="0">
                  <a:pos x="18" y="6"/>
                </a:cxn>
                <a:cxn ang="0">
                  <a:pos x="15" y="5"/>
                </a:cxn>
                <a:cxn ang="0">
                  <a:pos x="9" y="8"/>
                </a:cxn>
              </a:cxnLst>
              <a:rect l="0" t="0" r="r" b="b"/>
              <a:pathLst>
                <a:path w="42" h="56">
                  <a:moveTo>
                    <a:pt x="9" y="8"/>
                  </a:moveTo>
                  <a:cubicBezTo>
                    <a:pt x="9" y="16"/>
                    <a:pt x="6" y="17"/>
                    <a:pt x="11" y="19"/>
                  </a:cubicBezTo>
                  <a:cubicBezTo>
                    <a:pt x="15" y="22"/>
                    <a:pt x="9" y="25"/>
                    <a:pt x="5" y="30"/>
                  </a:cubicBezTo>
                  <a:cubicBezTo>
                    <a:pt x="0" y="34"/>
                    <a:pt x="0" y="45"/>
                    <a:pt x="0" y="55"/>
                  </a:cubicBezTo>
                  <a:cubicBezTo>
                    <a:pt x="3" y="53"/>
                    <a:pt x="0" y="56"/>
                    <a:pt x="3" y="56"/>
                  </a:cubicBezTo>
                  <a:cubicBezTo>
                    <a:pt x="5" y="55"/>
                    <a:pt x="5" y="53"/>
                    <a:pt x="6" y="52"/>
                  </a:cubicBezTo>
                  <a:cubicBezTo>
                    <a:pt x="9" y="52"/>
                    <a:pt x="29" y="52"/>
                    <a:pt x="33" y="52"/>
                  </a:cubicBezTo>
                  <a:cubicBezTo>
                    <a:pt x="35" y="44"/>
                    <a:pt x="32" y="39"/>
                    <a:pt x="38" y="33"/>
                  </a:cubicBezTo>
                  <a:cubicBezTo>
                    <a:pt x="42" y="27"/>
                    <a:pt x="42" y="19"/>
                    <a:pt x="39" y="14"/>
                  </a:cubicBezTo>
                  <a:cubicBezTo>
                    <a:pt x="36" y="10"/>
                    <a:pt x="39" y="8"/>
                    <a:pt x="33" y="0"/>
                  </a:cubicBezTo>
                  <a:cubicBezTo>
                    <a:pt x="32" y="3"/>
                    <a:pt x="32" y="5"/>
                    <a:pt x="29" y="5"/>
                  </a:cubicBezTo>
                  <a:cubicBezTo>
                    <a:pt x="26" y="5"/>
                    <a:pt x="29" y="5"/>
                    <a:pt x="27" y="3"/>
                  </a:cubicBezTo>
                  <a:cubicBezTo>
                    <a:pt x="23" y="3"/>
                    <a:pt x="20" y="10"/>
                    <a:pt x="18" y="6"/>
                  </a:cubicBezTo>
                  <a:cubicBezTo>
                    <a:pt x="17" y="5"/>
                    <a:pt x="17" y="3"/>
                    <a:pt x="15" y="5"/>
                  </a:cubicBezTo>
                  <a:cubicBezTo>
                    <a:pt x="14" y="8"/>
                    <a:pt x="12" y="0"/>
                    <a:pt x="9" y="8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83" name="Freeform 99">
              <a:extLst>
                <a:ext uri="{FF2B5EF4-FFF2-40B4-BE49-F238E27FC236}">
                  <a16:creationId xmlns:a16="http://schemas.microsoft.com/office/drawing/2014/main" id="{6C69D7A7-B9D1-8D1B-E732-2DA621D4B5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16975" y="4927530"/>
              <a:ext cx="318143" cy="384013"/>
            </a:xfrm>
            <a:custGeom>
              <a:avLst/>
              <a:gdLst/>
              <a:ahLst/>
              <a:cxnLst>
                <a:cxn ang="0">
                  <a:pos x="95" y="117"/>
                </a:cxn>
                <a:cxn ang="0">
                  <a:pos x="84" y="100"/>
                </a:cxn>
                <a:cxn ang="0">
                  <a:pos x="84" y="73"/>
                </a:cxn>
                <a:cxn ang="0">
                  <a:pos x="98" y="72"/>
                </a:cxn>
                <a:cxn ang="0">
                  <a:pos x="99" y="65"/>
                </a:cxn>
                <a:cxn ang="0">
                  <a:pos x="99" y="59"/>
                </a:cxn>
                <a:cxn ang="0">
                  <a:pos x="99" y="50"/>
                </a:cxn>
                <a:cxn ang="0">
                  <a:pos x="96" y="51"/>
                </a:cxn>
                <a:cxn ang="0">
                  <a:pos x="90" y="51"/>
                </a:cxn>
                <a:cxn ang="0">
                  <a:pos x="85" y="55"/>
                </a:cxn>
                <a:cxn ang="0">
                  <a:pos x="84" y="41"/>
                </a:cxn>
                <a:cxn ang="0">
                  <a:pos x="82" y="24"/>
                </a:cxn>
                <a:cxn ang="0">
                  <a:pos x="82" y="16"/>
                </a:cxn>
                <a:cxn ang="0">
                  <a:pos x="73" y="13"/>
                </a:cxn>
                <a:cxn ang="0">
                  <a:pos x="70" y="11"/>
                </a:cxn>
                <a:cxn ang="0">
                  <a:pos x="64" y="14"/>
                </a:cxn>
                <a:cxn ang="0">
                  <a:pos x="63" y="20"/>
                </a:cxn>
                <a:cxn ang="0">
                  <a:pos x="58" y="22"/>
                </a:cxn>
                <a:cxn ang="0">
                  <a:pos x="47" y="20"/>
                </a:cxn>
                <a:cxn ang="0">
                  <a:pos x="44" y="13"/>
                </a:cxn>
                <a:cxn ang="0">
                  <a:pos x="41" y="5"/>
                </a:cxn>
                <a:cxn ang="0">
                  <a:pos x="31" y="2"/>
                </a:cxn>
                <a:cxn ang="0">
                  <a:pos x="14" y="0"/>
                </a:cxn>
                <a:cxn ang="0">
                  <a:pos x="8" y="3"/>
                </a:cxn>
                <a:cxn ang="0">
                  <a:pos x="14" y="28"/>
                </a:cxn>
                <a:cxn ang="0">
                  <a:pos x="18" y="47"/>
                </a:cxn>
                <a:cxn ang="0">
                  <a:pos x="14" y="67"/>
                </a:cxn>
                <a:cxn ang="0">
                  <a:pos x="5" y="96"/>
                </a:cxn>
                <a:cxn ang="0">
                  <a:pos x="2" y="114"/>
                </a:cxn>
                <a:cxn ang="0">
                  <a:pos x="12" y="110"/>
                </a:cxn>
                <a:cxn ang="0">
                  <a:pos x="22" y="115"/>
                </a:cxn>
                <a:cxn ang="0">
                  <a:pos x="50" y="115"/>
                </a:cxn>
                <a:cxn ang="0">
                  <a:pos x="58" y="117"/>
                </a:cxn>
                <a:cxn ang="0">
                  <a:pos x="72" y="120"/>
                </a:cxn>
                <a:cxn ang="0">
                  <a:pos x="76" y="120"/>
                </a:cxn>
                <a:cxn ang="0">
                  <a:pos x="79" y="121"/>
                </a:cxn>
                <a:cxn ang="0">
                  <a:pos x="95" y="117"/>
                </a:cxn>
              </a:cxnLst>
              <a:rect l="0" t="0" r="r" b="b"/>
              <a:pathLst>
                <a:path w="102" h="123">
                  <a:moveTo>
                    <a:pt x="95" y="117"/>
                  </a:moveTo>
                  <a:cubicBezTo>
                    <a:pt x="90" y="112"/>
                    <a:pt x="84" y="106"/>
                    <a:pt x="84" y="100"/>
                  </a:cubicBezTo>
                  <a:cubicBezTo>
                    <a:pt x="84" y="96"/>
                    <a:pt x="84" y="78"/>
                    <a:pt x="84" y="73"/>
                  </a:cubicBezTo>
                  <a:cubicBezTo>
                    <a:pt x="84" y="70"/>
                    <a:pt x="88" y="72"/>
                    <a:pt x="98" y="72"/>
                  </a:cubicBezTo>
                  <a:cubicBezTo>
                    <a:pt x="101" y="72"/>
                    <a:pt x="98" y="69"/>
                    <a:pt x="99" y="65"/>
                  </a:cubicBezTo>
                  <a:cubicBezTo>
                    <a:pt x="102" y="64"/>
                    <a:pt x="98" y="64"/>
                    <a:pt x="99" y="59"/>
                  </a:cubicBezTo>
                  <a:cubicBezTo>
                    <a:pt x="101" y="53"/>
                    <a:pt x="99" y="51"/>
                    <a:pt x="99" y="50"/>
                  </a:cubicBezTo>
                  <a:cubicBezTo>
                    <a:pt x="99" y="51"/>
                    <a:pt x="99" y="51"/>
                    <a:pt x="96" y="51"/>
                  </a:cubicBezTo>
                  <a:cubicBezTo>
                    <a:pt x="95" y="50"/>
                    <a:pt x="93" y="53"/>
                    <a:pt x="90" y="51"/>
                  </a:cubicBezTo>
                  <a:cubicBezTo>
                    <a:pt x="87" y="51"/>
                    <a:pt x="88" y="55"/>
                    <a:pt x="85" y="55"/>
                  </a:cubicBezTo>
                  <a:cubicBezTo>
                    <a:pt x="82" y="53"/>
                    <a:pt x="88" y="47"/>
                    <a:pt x="84" y="41"/>
                  </a:cubicBezTo>
                  <a:cubicBezTo>
                    <a:pt x="79" y="34"/>
                    <a:pt x="84" y="28"/>
                    <a:pt x="82" y="24"/>
                  </a:cubicBezTo>
                  <a:cubicBezTo>
                    <a:pt x="81" y="19"/>
                    <a:pt x="82" y="19"/>
                    <a:pt x="82" y="16"/>
                  </a:cubicBezTo>
                  <a:cubicBezTo>
                    <a:pt x="82" y="13"/>
                    <a:pt x="70" y="17"/>
                    <a:pt x="73" y="13"/>
                  </a:cubicBezTo>
                  <a:cubicBezTo>
                    <a:pt x="73" y="11"/>
                    <a:pt x="72" y="10"/>
                    <a:pt x="70" y="11"/>
                  </a:cubicBezTo>
                  <a:cubicBezTo>
                    <a:pt x="69" y="13"/>
                    <a:pt x="64" y="10"/>
                    <a:pt x="64" y="14"/>
                  </a:cubicBezTo>
                  <a:cubicBezTo>
                    <a:pt x="64" y="19"/>
                    <a:pt x="63" y="16"/>
                    <a:pt x="63" y="20"/>
                  </a:cubicBezTo>
                  <a:cubicBezTo>
                    <a:pt x="64" y="24"/>
                    <a:pt x="60" y="22"/>
                    <a:pt x="58" y="22"/>
                  </a:cubicBezTo>
                  <a:cubicBezTo>
                    <a:pt x="56" y="20"/>
                    <a:pt x="49" y="25"/>
                    <a:pt x="47" y="20"/>
                  </a:cubicBezTo>
                  <a:cubicBezTo>
                    <a:pt x="46" y="16"/>
                    <a:pt x="44" y="17"/>
                    <a:pt x="44" y="13"/>
                  </a:cubicBezTo>
                  <a:cubicBezTo>
                    <a:pt x="44" y="10"/>
                    <a:pt x="43" y="10"/>
                    <a:pt x="41" y="5"/>
                  </a:cubicBezTo>
                  <a:cubicBezTo>
                    <a:pt x="41" y="0"/>
                    <a:pt x="41" y="0"/>
                    <a:pt x="31" y="2"/>
                  </a:cubicBezTo>
                  <a:cubicBezTo>
                    <a:pt x="18" y="2"/>
                    <a:pt x="20" y="0"/>
                    <a:pt x="14" y="0"/>
                  </a:cubicBezTo>
                  <a:cubicBezTo>
                    <a:pt x="9" y="3"/>
                    <a:pt x="6" y="2"/>
                    <a:pt x="8" y="3"/>
                  </a:cubicBezTo>
                  <a:cubicBezTo>
                    <a:pt x="8" y="6"/>
                    <a:pt x="17" y="25"/>
                    <a:pt x="14" y="28"/>
                  </a:cubicBezTo>
                  <a:cubicBezTo>
                    <a:pt x="11" y="33"/>
                    <a:pt x="15" y="41"/>
                    <a:pt x="18" y="47"/>
                  </a:cubicBezTo>
                  <a:cubicBezTo>
                    <a:pt x="20" y="53"/>
                    <a:pt x="20" y="62"/>
                    <a:pt x="14" y="67"/>
                  </a:cubicBezTo>
                  <a:cubicBezTo>
                    <a:pt x="5" y="73"/>
                    <a:pt x="8" y="90"/>
                    <a:pt x="5" y="96"/>
                  </a:cubicBezTo>
                  <a:cubicBezTo>
                    <a:pt x="0" y="103"/>
                    <a:pt x="3" y="104"/>
                    <a:pt x="2" y="114"/>
                  </a:cubicBezTo>
                  <a:cubicBezTo>
                    <a:pt x="8" y="114"/>
                    <a:pt x="8" y="114"/>
                    <a:pt x="12" y="110"/>
                  </a:cubicBezTo>
                  <a:cubicBezTo>
                    <a:pt x="18" y="107"/>
                    <a:pt x="17" y="115"/>
                    <a:pt x="22" y="115"/>
                  </a:cubicBezTo>
                  <a:cubicBezTo>
                    <a:pt x="26" y="115"/>
                    <a:pt x="46" y="115"/>
                    <a:pt x="50" y="115"/>
                  </a:cubicBezTo>
                  <a:cubicBezTo>
                    <a:pt x="55" y="115"/>
                    <a:pt x="56" y="114"/>
                    <a:pt x="58" y="117"/>
                  </a:cubicBezTo>
                  <a:cubicBezTo>
                    <a:pt x="60" y="123"/>
                    <a:pt x="69" y="118"/>
                    <a:pt x="72" y="120"/>
                  </a:cubicBezTo>
                  <a:cubicBezTo>
                    <a:pt x="75" y="121"/>
                    <a:pt x="75" y="121"/>
                    <a:pt x="76" y="120"/>
                  </a:cubicBezTo>
                  <a:cubicBezTo>
                    <a:pt x="76" y="118"/>
                    <a:pt x="78" y="121"/>
                    <a:pt x="79" y="121"/>
                  </a:cubicBezTo>
                  <a:cubicBezTo>
                    <a:pt x="82" y="120"/>
                    <a:pt x="95" y="117"/>
                    <a:pt x="95" y="117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84" name="Freeform 100">
              <a:extLst>
                <a:ext uri="{FF2B5EF4-FFF2-40B4-BE49-F238E27FC236}">
                  <a16:creationId xmlns:a16="http://schemas.microsoft.com/office/drawing/2014/main" id="{042F54F9-1217-4178-C645-9EBA5CDA48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78882" y="4999833"/>
              <a:ext cx="289221" cy="313317"/>
            </a:xfrm>
            <a:custGeom>
              <a:avLst/>
              <a:gdLst/>
              <a:ahLst/>
              <a:cxnLst>
                <a:cxn ang="0">
                  <a:pos x="26" y="95"/>
                </a:cxn>
                <a:cxn ang="0">
                  <a:pos x="11" y="94"/>
                </a:cxn>
                <a:cxn ang="0">
                  <a:pos x="0" y="76"/>
                </a:cxn>
                <a:cxn ang="0">
                  <a:pos x="0" y="50"/>
                </a:cxn>
                <a:cxn ang="0">
                  <a:pos x="14" y="48"/>
                </a:cxn>
                <a:cxn ang="0">
                  <a:pos x="15" y="42"/>
                </a:cxn>
                <a:cxn ang="0">
                  <a:pos x="15" y="36"/>
                </a:cxn>
                <a:cxn ang="0">
                  <a:pos x="15" y="27"/>
                </a:cxn>
                <a:cxn ang="0">
                  <a:pos x="23" y="31"/>
                </a:cxn>
                <a:cxn ang="0">
                  <a:pos x="29" y="36"/>
                </a:cxn>
                <a:cxn ang="0">
                  <a:pos x="40" y="36"/>
                </a:cxn>
                <a:cxn ang="0">
                  <a:pos x="41" y="36"/>
                </a:cxn>
                <a:cxn ang="0">
                  <a:pos x="46" y="41"/>
                </a:cxn>
                <a:cxn ang="0">
                  <a:pos x="53" y="47"/>
                </a:cxn>
                <a:cxn ang="0">
                  <a:pos x="59" y="50"/>
                </a:cxn>
                <a:cxn ang="0">
                  <a:pos x="63" y="45"/>
                </a:cxn>
                <a:cxn ang="0">
                  <a:pos x="56" y="42"/>
                </a:cxn>
                <a:cxn ang="0">
                  <a:pos x="50" y="35"/>
                </a:cxn>
                <a:cxn ang="0">
                  <a:pos x="52" y="22"/>
                </a:cxn>
                <a:cxn ang="0">
                  <a:pos x="52" y="13"/>
                </a:cxn>
                <a:cxn ang="0">
                  <a:pos x="55" y="5"/>
                </a:cxn>
                <a:cxn ang="0">
                  <a:pos x="70" y="0"/>
                </a:cxn>
                <a:cxn ang="0">
                  <a:pos x="76" y="6"/>
                </a:cxn>
                <a:cxn ang="0">
                  <a:pos x="79" y="8"/>
                </a:cxn>
                <a:cxn ang="0">
                  <a:pos x="87" y="13"/>
                </a:cxn>
                <a:cxn ang="0">
                  <a:pos x="90" y="16"/>
                </a:cxn>
                <a:cxn ang="0">
                  <a:pos x="90" y="20"/>
                </a:cxn>
                <a:cxn ang="0">
                  <a:pos x="91" y="27"/>
                </a:cxn>
                <a:cxn ang="0">
                  <a:pos x="90" y="31"/>
                </a:cxn>
                <a:cxn ang="0">
                  <a:pos x="90" y="38"/>
                </a:cxn>
                <a:cxn ang="0">
                  <a:pos x="90" y="44"/>
                </a:cxn>
                <a:cxn ang="0">
                  <a:pos x="85" y="53"/>
                </a:cxn>
                <a:cxn ang="0">
                  <a:pos x="88" y="58"/>
                </a:cxn>
                <a:cxn ang="0">
                  <a:pos x="66" y="67"/>
                </a:cxn>
                <a:cxn ang="0">
                  <a:pos x="67" y="73"/>
                </a:cxn>
                <a:cxn ang="0">
                  <a:pos x="56" y="76"/>
                </a:cxn>
                <a:cxn ang="0">
                  <a:pos x="52" y="84"/>
                </a:cxn>
                <a:cxn ang="0">
                  <a:pos x="40" y="97"/>
                </a:cxn>
                <a:cxn ang="0">
                  <a:pos x="32" y="97"/>
                </a:cxn>
                <a:cxn ang="0">
                  <a:pos x="26" y="95"/>
                </a:cxn>
              </a:cxnLst>
              <a:rect l="0" t="0" r="r" b="b"/>
              <a:pathLst>
                <a:path w="93" h="101">
                  <a:moveTo>
                    <a:pt x="26" y="95"/>
                  </a:moveTo>
                  <a:cubicBezTo>
                    <a:pt x="23" y="90"/>
                    <a:pt x="18" y="92"/>
                    <a:pt x="11" y="94"/>
                  </a:cubicBezTo>
                  <a:cubicBezTo>
                    <a:pt x="6" y="89"/>
                    <a:pt x="0" y="83"/>
                    <a:pt x="0" y="76"/>
                  </a:cubicBezTo>
                  <a:cubicBezTo>
                    <a:pt x="0" y="73"/>
                    <a:pt x="0" y="55"/>
                    <a:pt x="0" y="50"/>
                  </a:cubicBezTo>
                  <a:cubicBezTo>
                    <a:pt x="0" y="47"/>
                    <a:pt x="5" y="48"/>
                    <a:pt x="14" y="48"/>
                  </a:cubicBezTo>
                  <a:cubicBezTo>
                    <a:pt x="17" y="48"/>
                    <a:pt x="14" y="45"/>
                    <a:pt x="15" y="42"/>
                  </a:cubicBezTo>
                  <a:cubicBezTo>
                    <a:pt x="18" y="41"/>
                    <a:pt x="14" y="41"/>
                    <a:pt x="15" y="36"/>
                  </a:cubicBezTo>
                  <a:cubicBezTo>
                    <a:pt x="17" y="30"/>
                    <a:pt x="15" y="28"/>
                    <a:pt x="15" y="27"/>
                  </a:cubicBezTo>
                  <a:cubicBezTo>
                    <a:pt x="23" y="27"/>
                    <a:pt x="17" y="35"/>
                    <a:pt x="23" y="31"/>
                  </a:cubicBezTo>
                  <a:cubicBezTo>
                    <a:pt x="31" y="27"/>
                    <a:pt x="23" y="35"/>
                    <a:pt x="29" y="36"/>
                  </a:cubicBezTo>
                  <a:cubicBezTo>
                    <a:pt x="37" y="38"/>
                    <a:pt x="38" y="39"/>
                    <a:pt x="40" y="36"/>
                  </a:cubicBezTo>
                  <a:cubicBezTo>
                    <a:pt x="40" y="31"/>
                    <a:pt x="41" y="33"/>
                    <a:pt x="41" y="36"/>
                  </a:cubicBezTo>
                  <a:cubicBezTo>
                    <a:pt x="43" y="38"/>
                    <a:pt x="44" y="41"/>
                    <a:pt x="46" y="41"/>
                  </a:cubicBezTo>
                  <a:cubicBezTo>
                    <a:pt x="49" y="41"/>
                    <a:pt x="50" y="42"/>
                    <a:pt x="53" y="47"/>
                  </a:cubicBezTo>
                  <a:cubicBezTo>
                    <a:pt x="56" y="53"/>
                    <a:pt x="56" y="53"/>
                    <a:pt x="59" y="50"/>
                  </a:cubicBezTo>
                  <a:cubicBezTo>
                    <a:pt x="61" y="48"/>
                    <a:pt x="61" y="58"/>
                    <a:pt x="63" y="45"/>
                  </a:cubicBezTo>
                  <a:cubicBezTo>
                    <a:pt x="63" y="33"/>
                    <a:pt x="61" y="44"/>
                    <a:pt x="56" y="42"/>
                  </a:cubicBezTo>
                  <a:cubicBezTo>
                    <a:pt x="53" y="41"/>
                    <a:pt x="52" y="38"/>
                    <a:pt x="50" y="35"/>
                  </a:cubicBezTo>
                  <a:cubicBezTo>
                    <a:pt x="49" y="31"/>
                    <a:pt x="55" y="25"/>
                    <a:pt x="52" y="22"/>
                  </a:cubicBezTo>
                  <a:cubicBezTo>
                    <a:pt x="50" y="17"/>
                    <a:pt x="56" y="19"/>
                    <a:pt x="52" y="13"/>
                  </a:cubicBezTo>
                  <a:cubicBezTo>
                    <a:pt x="49" y="10"/>
                    <a:pt x="55" y="11"/>
                    <a:pt x="55" y="5"/>
                  </a:cubicBezTo>
                  <a:cubicBezTo>
                    <a:pt x="55" y="0"/>
                    <a:pt x="64" y="2"/>
                    <a:pt x="70" y="0"/>
                  </a:cubicBezTo>
                  <a:cubicBezTo>
                    <a:pt x="72" y="5"/>
                    <a:pt x="75" y="3"/>
                    <a:pt x="76" y="6"/>
                  </a:cubicBezTo>
                  <a:cubicBezTo>
                    <a:pt x="78" y="10"/>
                    <a:pt x="78" y="5"/>
                    <a:pt x="79" y="8"/>
                  </a:cubicBezTo>
                  <a:cubicBezTo>
                    <a:pt x="81" y="11"/>
                    <a:pt x="79" y="8"/>
                    <a:pt x="87" y="13"/>
                  </a:cubicBezTo>
                  <a:cubicBezTo>
                    <a:pt x="87" y="16"/>
                    <a:pt x="87" y="13"/>
                    <a:pt x="90" y="16"/>
                  </a:cubicBezTo>
                  <a:cubicBezTo>
                    <a:pt x="91" y="17"/>
                    <a:pt x="88" y="17"/>
                    <a:pt x="90" y="20"/>
                  </a:cubicBezTo>
                  <a:cubicBezTo>
                    <a:pt x="93" y="22"/>
                    <a:pt x="93" y="24"/>
                    <a:pt x="91" y="27"/>
                  </a:cubicBezTo>
                  <a:cubicBezTo>
                    <a:pt x="88" y="28"/>
                    <a:pt x="91" y="30"/>
                    <a:pt x="90" y="31"/>
                  </a:cubicBezTo>
                  <a:cubicBezTo>
                    <a:pt x="88" y="33"/>
                    <a:pt x="90" y="35"/>
                    <a:pt x="90" y="38"/>
                  </a:cubicBezTo>
                  <a:cubicBezTo>
                    <a:pt x="88" y="42"/>
                    <a:pt x="93" y="44"/>
                    <a:pt x="90" y="44"/>
                  </a:cubicBezTo>
                  <a:cubicBezTo>
                    <a:pt x="85" y="44"/>
                    <a:pt x="88" y="50"/>
                    <a:pt x="85" y="53"/>
                  </a:cubicBezTo>
                  <a:cubicBezTo>
                    <a:pt x="84" y="55"/>
                    <a:pt x="87" y="56"/>
                    <a:pt x="88" y="58"/>
                  </a:cubicBezTo>
                  <a:cubicBezTo>
                    <a:pt x="87" y="59"/>
                    <a:pt x="67" y="67"/>
                    <a:pt x="66" y="67"/>
                  </a:cubicBezTo>
                  <a:cubicBezTo>
                    <a:pt x="64" y="67"/>
                    <a:pt x="66" y="72"/>
                    <a:pt x="67" y="73"/>
                  </a:cubicBezTo>
                  <a:cubicBezTo>
                    <a:pt x="64" y="75"/>
                    <a:pt x="61" y="73"/>
                    <a:pt x="56" y="76"/>
                  </a:cubicBezTo>
                  <a:cubicBezTo>
                    <a:pt x="52" y="80"/>
                    <a:pt x="56" y="83"/>
                    <a:pt x="52" y="84"/>
                  </a:cubicBezTo>
                  <a:cubicBezTo>
                    <a:pt x="46" y="87"/>
                    <a:pt x="43" y="92"/>
                    <a:pt x="40" y="97"/>
                  </a:cubicBezTo>
                  <a:cubicBezTo>
                    <a:pt x="37" y="101"/>
                    <a:pt x="35" y="95"/>
                    <a:pt x="32" y="97"/>
                  </a:cubicBezTo>
                  <a:cubicBezTo>
                    <a:pt x="31" y="98"/>
                    <a:pt x="31" y="95"/>
                    <a:pt x="26" y="95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85" name="Freeform 101">
              <a:extLst>
                <a:ext uri="{FF2B5EF4-FFF2-40B4-BE49-F238E27FC236}">
                  <a16:creationId xmlns:a16="http://schemas.microsoft.com/office/drawing/2014/main" id="{C1F42A35-0D6A-841C-2303-318F7B9994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78122" y="5073744"/>
              <a:ext cx="271546" cy="507733"/>
            </a:xfrm>
            <a:custGeom>
              <a:avLst/>
              <a:gdLst/>
              <a:ahLst/>
              <a:cxnLst>
                <a:cxn ang="0">
                  <a:pos x="17" y="163"/>
                </a:cxn>
                <a:cxn ang="0">
                  <a:pos x="23" y="163"/>
                </a:cxn>
                <a:cxn ang="0">
                  <a:pos x="21" y="156"/>
                </a:cxn>
                <a:cxn ang="0">
                  <a:pos x="34" y="145"/>
                </a:cxn>
                <a:cxn ang="0">
                  <a:pos x="43" y="132"/>
                </a:cxn>
                <a:cxn ang="0">
                  <a:pos x="44" y="120"/>
                </a:cxn>
                <a:cxn ang="0">
                  <a:pos x="41" y="114"/>
                </a:cxn>
                <a:cxn ang="0">
                  <a:pos x="38" y="101"/>
                </a:cxn>
                <a:cxn ang="0">
                  <a:pos x="37" y="93"/>
                </a:cxn>
                <a:cxn ang="0">
                  <a:pos x="43" y="87"/>
                </a:cxn>
                <a:cxn ang="0">
                  <a:pos x="53" y="78"/>
                </a:cxn>
                <a:cxn ang="0">
                  <a:pos x="69" y="65"/>
                </a:cxn>
                <a:cxn ang="0">
                  <a:pos x="82" y="48"/>
                </a:cxn>
                <a:cxn ang="0">
                  <a:pos x="85" y="42"/>
                </a:cxn>
                <a:cxn ang="0">
                  <a:pos x="82" y="31"/>
                </a:cxn>
                <a:cxn ang="0">
                  <a:pos x="82" y="12"/>
                </a:cxn>
                <a:cxn ang="0">
                  <a:pos x="82" y="0"/>
                </a:cxn>
                <a:cxn ang="0">
                  <a:pos x="70" y="8"/>
                </a:cxn>
                <a:cxn ang="0">
                  <a:pos x="63" y="8"/>
                </a:cxn>
                <a:cxn ang="0">
                  <a:pos x="55" y="11"/>
                </a:cxn>
                <a:cxn ang="0">
                  <a:pos x="47" y="11"/>
                </a:cxn>
                <a:cxn ang="0">
                  <a:pos x="37" y="9"/>
                </a:cxn>
                <a:cxn ang="0">
                  <a:pos x="35" y="14"/>
                </a:cxn>
                <a:cxn ang="0">
                  <a:pos x="35" y="26"/>
                </a:cxn>
                <a:cxn ang="0">
                  <a:pos x="43" y="36"/>
                </a:cxn>
                <a:cxn ang="0">
                  <a:pos x="46" y="48"/>
                </a:cxn>
                <a:cxn ang="0">
                  <a:pos x="44" y="56"/>
                </a:cxn>
                <a:cxn ang="0">
                  <a:pos x="41" y="61"/>
                </a:cxn>
                <a:cxn ang="0">
                  <a:pos x="40" y="65"/>
                </a:cxn>
                <a:cxn ang="0">
                  <a:pos x="35" y="56"/>
                </a:cxn>
                <a:cxn ang="0">
                  <a:pos x="35" y="47"/>
                </a:cxn>
                <a:cxn ang="0">
                  <a:pos x="29" y="39"/>
                </a:cxn>
                <a:cxn ang="0">
                  <a:pos x="24" y="34"/>
                </a:cxn>
                <a:cxn ang="0">
                  <a:pos x="2" y="43"/>
                </a:cxn>
                <a:cxn ang="0">
                  <a:pos x="3" y="50"/>
                </a:cxn>
                <a:cxn ang="0">
                  <a:pos x="12" y="56"/>
                </a:cxn>
                <a:cxn ang="0">
                  <a:pos x="21" y="61"/>
                </a:cxn>
                <a:cxn ang="0">
                  <a:pos x="23" y="67"/>
                </a:cxn>
                <a:cxn ang="0">
                  <a:pos x="21" y="82"/>
                </a:cxn>
                <a:cxn ang="0">
                  <a:pos x="21" y="87"/>
                </a:cxn>
                <a:cxn ang="0">
                  <a:pos x="23" y="96"/>
                </a:cxn>
                <a:cxn ang="0">
                  <a:pos x="17" y="109"/>
                </a:cxn>
                <a:cxn ang="0">
                  <a:pos x="9" y="118"/>
                </a:cxn>
                <a:cxn ang="0">
                  <a:pos x="15" y="156"/>
                </a:cxn>
                <a:cxn ang="0">
                  <a:pos x="17" y="163"/>
                </a:cxn>
              </a:cxnLst>
              <a:rect l="0" t="0" r="r" b="b"/>
              <a:pathLst>
                <a:path w="87" h="163">
                  <a:moveTo>
                    <a:pt x="17" y="163"/>
                  </a:moveTo>
                  <a:cubicBezTo>
                    <a:pt x="23" y="163"/>
                    <a:pt x="23" y="163"/>
                    <a:pt x="23" y="163"/>
                  </a:cubicBezTo>
                  <a:cubicBezTo>
                    <a:pt x="24" y="152"/>
                    <a:pt x="21" y="160"/>
                    <a:pt x="21" y="156"/>
                  </a:cubicBezTo>
                  <a:cubicBezTo>
                    <a:pt x="20" y="152"/>
                    <a:pt x="26" y="148"/>
                    <a:pt x="34" y="145"/>
                  </a:cubicBezTo>
                  <a:cubicBezTo>
                    <a:pt x="41" y="142"/>
                    <a:pt x="44" y="137"/>
                    <a:pt x="43" y="132"/>
                  </a:cubicBezTo>
                  <a:cubicBezTo>
                    <a:pt x="41" y="129"/>
                    <a:pt x="44" y="129"/>
                    <a:pt x="44" y="120"/>
                  </a:cubicBezTo>
                  <a:cubicBezTo>
                    <a:pt x="43" y="110"/>
                    <a:pt x="43" y="121"/>
                    <a:pt x="41" y="114"/>
                  </a:cubicBezTo>
                  <a:cubicBezTo>
                    <a:pt x="40" y="104"/>
                    <a:pt x="41" y="106"/>
                    <a:pt x="38" y="101"/>
                  </a:cubicBezTo>
                  <a:cubicBezTo>
                    <a:pt x="35" y="98"/>
                    <a:pt x="37" y="96"/>
                    <a:pt x="37" y="93"/>
                  </a:cubicBezTo>
                  <a:cubicBezTo>
                    <a:pt x="37" y="90"/>
                    <a:pt x="38" y="95"/>
                    <a:pt x="43" y="87"/>
                  </a:cubicBezTo>
                  <a:cubicBezTo>
                    <a:pt x="49" y="81"/>
                    <a:pt x="47" y="87"/>
                    <a:pt x="53" y="78"/>
                  </a:cubicBezTo>
                  <a:cubicBezTo>
                    <a:pt x="58" y="67"/>
                    <a:pt x="64" y="67"/>
                    <a:pt x="69" y="65"/>
                  </a:cubicBezTo>
                  <a:cubicBezTo>
                    <a:pt x="75" y="64"/>
                    <a:pt x="78" y="57"/>
                    <a:pt x="82" y="48"/>
                  </a:cubicBezTo>
                  <a:cubicBezTo>
                    <a:pt x="85" y="42"/>
                    <a:pt x="82" y="47"/>
                    <a:pt x="85" y="42"/>
                  </a:cubicBezTo>
                  <a:cubicBezTo>
                    <a:pt x="87" y="37"/>
                    <a:pt x="82" y="40"/>
                    <a:pt x="82" y="31"/>
                  </a:cubicBezTo>
                  <a:cubicBezTo>
                    <a:pt x="84" y="23"/>
                    <a:pt x="84" y="18"/>
                    <a:pt x="82" y="12"/>
                  </a:cubicBezTo>
                  <a:cubicBezTo>
                    <a:pt x="81" y="3"/>
                    <a:pt x="87" y="8"/>
                    <a:pt x="82" y="0"/>
                  </a:cubicBezTo>
                  <a:cubicBezTo>
                    <a:pt x="79" y="3"/>
                    <a:pt x="76" y="4"/>
                    <a:pt x="70" y="8"/>
                  </a:cubicBezTo>
                  <a:cubicBezTo>
                    <a:pt x="64" y="11"/>
                    <a:pt x="63" y="3"/>
                    <a:pt x="63" y="8"/>
                  </a:cubicBezTo>
                  <a:cubicBezTo>
                    <a:pt x="61" y="12"/>
                    <a:pt x="56" y="12"/>
                    <a:pt x="55" y="11"/>
                  </a:cubicBezTo>
                  <a:cubicBezTo>
                    <a:pt x="53" y="9"/>
                    <a:pt x="50" y="14"/>
                    <a:pt x="47" y="11"/>
                  </a:cubicBezTo>
                  <a:cubicBezTo>
                    <a:pt x="44" y="6"/>
                    <a:pt x="44" y="12"/>
                    <a:pt x="37" y="9"/>
                  </a:cubicBezTo>
                  <a:cubicBezTo>
                    <a:pt x="35" y="11"/>
                    <a:pt x="37" y="12"/>
                    <a:pt x="35" y="14"/>
                  </a:cubicBezTo>
                  <a:cubicBezTo>
                    <a:pt x="34" y="17"/>
                    <a:pt x="35" y="22"/>
                    <a:pt x="35" y="26"/>
                  </a:cubicBezTo>
                  <a:cubicBezTo>
                    <a:pt x="37" y="29"/>
                    <a:pt x="38" y="29"/>
                    <a:pt x="43" y="36"/>
                  </a:cubicBezTo>
                  <a:cubicBezTo>
                    <a:pt x="49" y="42"/>
                    <a:pt x="46" y="43"/>
                    <a:pt x="46" y="48"/>
                  </a:cubicBezTo>
                  <a:cubicBezTo>
                    <a:pt x="46" y="53"/>
                    <a:pt x="46" y="54"/>
                    <a:pt x="44" y="56"/>
                  </a:cubicBezTo>
                  <a:cubicBezTo>
                    <a:pt x="41" y="56"/>
                    <a:pt x="40" y="57"/>
                    <a:pt x="41" y="61"/>
                  </a:cubicBezTo>
                  <a:cubicBezTo>
                    <a:pt x="41" y="64"/>
                    <a:pt x="41" y="67"/>
                    <a:pt x="40" y="65"/>
                  </a:cubicBezTo>
                  <a:cubicBezTo>
                    <a:pt x="38" y="65"/>
                    <a:pt x="40" y="62"/>
                    <a:pt x="35" y="56"/>
                  </a:cubicBezTo>
                  <a:cubicBezTo>
                    <a:pt x="31" y="51"/>
                    <a:pt x="35" y="53"/>
                    <a:pt x="35" y="47"/>
                  </a:cubicBezTo>
                  <a:cubicBezTo>
                    <a:pt x="37" y="40"/>
                    <a:pt x="35" y="37"/>
                    <a:pt x="29" y="39"/>
                  </a:cubicBezTo>
                  <a:cubicBezTo>
                    <a:pt x="27" y="40"/>
                    <a:pt x="26" y="37"/>
                    <a:pt x="24" y="34"/>
                  </a:cubicBezTo>
                  <a:cubicBezTo>
                    <a:pt x="23" y="36"/>
                    <a:pt x="3" y="43"/>
                    <a:pt x="2" y="43"/>
                  </a:cubicBezTo>
                  <a:cubicBezTo>
                    <a:pt x="0" y="43"/>
                    <a:pt x="2" y="48"/>
                    <a:pt x="3" y="50"/>
                  </a:cubicBezTo>
                  <a:cubicBezTo>
                    <a:pt x="2" y="57"/>
                    <a:pt x="8" y="51"/>
                    <a:pt x="12" y="56"/>
                  </a:cubicBezTo>
                  <a:cubicBezTo>
                    <a:pt x="17" y="59"/>
                    <a:pt x="18" y="57"/>
                    <a:pt x="21" y="61"/>
                  </a:cubicBezTo>
                  <a:cubicBezTo>
                    <a:pt x="24" y="62"/>
                    <a:pt x="21" y="62"/>
                    <a:pt x="23" y="67"/>
                  </a:cubicBezTo>
                  <a:cubicBezTo>
                    <a:pt x="24" y="70"/>
                    <a:pt x="23" y="82"/>
                    <a:pt x="21" y="82"/>
                  </a:cubicBezTo>
                  <a:cubicBezTo>
                    <a:pt x="20" y="82"/>
                    <a:pt x="23" y="84"/>
                    <a:pt x="21" y="87"/>
                  </a:cubicBezTo>
                  <a:cubicBezTo>
                    <a:pt x="20" y="92"/>
                    <a:pt x="26" y="90"/>
                    <a:pt x="23" y="96"/>
                  </a:cubicBezTo>
                  <a:cubicBezTo>
                    <a:pt x="17" y="104"/>
                    <a:pt x="20" y="106"/>
                    <a:pt x="17" y="109"/>
                  </a:cubicBezTo>
                  <a:cubicBezTo>
                    <a:pt x="15" y="112"/>
                    <a:pt x="9" y="118"/>
                    <a:pt x="9" y="118"/>
                  </a:cubicBezTo>
                  <a:cubicBezTo>
                    <a:pt x="12" y="126"/>
                    <a:pt x="17" y="146"/>
                    <a:pt x="15" y="156"/>
                  </a:cubicBezTo>
                  <a:cubicBezTo>
                    <a:pt x="17" y="163"/>
                    <a:pt x="17" y="163"/>
                    <a:pt x="17" y="163"/>
                  </a:cubicBezTo>
                  <a:close/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86" name="Freeform 102">
              <a:extLst>
                <a:ext uri="{FF2B5EF4-FFF2-40B4-BE49-F238E27FC236}">
                  <a16:creationId xmlns:a16="http://schemas.microsoft.com/office/drawing/2014/main" id="{09B543D0-9A49-A33F-FDFF-764CD8CA2C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16975" y="5263340"/>
              <a:ext cx="342245" cy="390441"/>
            </a:xfrm>
            <a:custGeom>
              <a:avLst/>
              <a:gdLst/>
              <a:ahLst/>
              <a:cxnLst>
                <a:cxn ang="0">
                  <a:pos x="2" y="6"/>
                </a:cxn>
                <a:cxn ang="0">
                  <a:pos x="15" y="42"/>
                </a:cxn>
                <a:cxn ang="0">
                  <a:pos x="23" y="68"/>
                </a:cxn>
                <a:cxn ang="0">
                  <a:pos x="29" y="101"/>
                </a:cxn>
                <a:cxn ang="0">
                  <a:pos x="40" y="121"/>
                </a:cxn>
                <a:cxn ang="0">
                  <a:pos x="46" y="116"/>
                </a:cxn>
                <a:cxn ang="0">
                  <a:pos x="51" y="124"/>
                </a:cxn>
                <a:cxn ang="0">
                  <a:pos x="60" y="124"/>
                </a:cxn>
                <a:cxn ang="0">
                  <a:pos x="69" y="119"/>
                </a:cxn>
                <a:cxn ang="0">
                  <a:pos x="69" y="82"/>
                </a:cxn>
                <a:cxn ang="0">
                  <a:pos x="69" y="54"/>
                </a:cxn>
                <a:cxn ang="0">
                  <a:pos x="77" y="54"/>
                </a:cxn>
                <a:cxn ang="0">
                  <a:pos x="77" y="17"/>
                </a:cxn>
                <a:cxn ang="0">
                  <a:pos x="87" y="14"/>
                </a:cxn>
                <a:cxn ang="0">
                  <a:pos x="96" y="15"/>
                </a:cxn>
                <a:cxn ang="0">
                  <a:pos x="102" y="14"/>
                </a:cxn>
                <a:cxn ang="0">
                  <a:pos x="110" y="11"/>
                </a:cxn>
                <a:cxn ang="0">
                  <a:pos x="95" y="9"/>
                </a:cxn>
                <a:cxn ang="0">
                  <a:pos x="80" y="14"/>
                </a:cxn>
                <a:cxn ang="0">
                  <a:pos x="77" y="12"/>
                </a:cxn>
                <a:cxn ang="0">
                  <a:pos x="72" y="12"/>
                </a:cxn>
                <a:cxn ang="0">
                  <a:pos x="58" y="9"/>
                </a:cxn>
                <a:cxn ang="0">
                  <a:pos x="51" y="8"/>
                </a:cxn>
                <a:cxn ang="0">
                  <a:pos x="22" y="8"/>
                </a:cxn>
                <a:cxn ang="0">
                  <a:pos x="12" y="3"/>
                </a:cxn>
                <a:cxn ang="0">
                  <a:pos x="2" y="6"/>
                </a:cxn>
              </a:cxnLst>
              <a:rect l="0" t="0" r="r" b="b"/>
              <a:pathLst>
                <a:path w="110" h="125">
                  <a:moveTo>
                    <a:pt x="2" y="6"/>
                  </a:moveTo>
                  <a:cubicBezTo>
                    <a:pt x="0" y="15"/>
                    <a:pt x="11" y="25"/>
                    <a:pt x="15" y="42"/>
                  </a:cubicBezTo>
                  <a:cubicBezTo>
                    <a:pt x="19" y="57"/>
                    <a:pt x="26" y="49"/>
                    <a:pt x="23" y="68"/>
                  </a:cubicBezTo>
                  <a:cubicBezTo>
                    <a:pt x="23" y="76"/>
                    <a:pt x="28" y="90"/>
                    <a:pt x="29" y="101"/>
                  </a:cubicBezTo>
                  <a:cubicBezTo>
                    <a:pt x="29" y="113"/>
                    <a:pt x="37" y="118"/>
                    <a:pt x="40" y="121"/>
                  </a:cubicBezTo>
                  <a:cubicBezTo>
                    <a:pt x="44" y="119"/>
                    <a:pt x="43" y="113"/>
                    <a:pt x="46" y="116"/>
                  </a:cubicBezTo>
                  <a:cubicBezTo>
                    <a:pt x="49" y="119"/>
                    <a:pt x="44" y="121"/>
                    <a:pt x="51" y="124"/>
                  </a:cubicBezTo>
                  <a:cubicBezTo>
                    <a:pt x="55" y="125"/>
                    <a:pt x="58" y="122"/>
                    <a:pt x="60" y="124"/>
                  </a:cubicBezTo>
                  <a:cubicBezTo>
                    <a:pt x="61" y="125"/>
                    <a:pt x="64" y="121"/>
                    <a:pt x="69" y="119"/>
                  </a:cubicBezTo>
                  <a:cubicBezTo>
                    <a:pt x="69" y="82"/>
                    <a:pt x="69" y="82"/>
                    <a:pt x="69" y="82"/>
                  </a:cubicBezTo>
                  <a:cubicBezTo>
                    <a:pt x="69" y="54"/>
                    <a:pt x="69" y="54"/>
                    <a:pt x="69" y="54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77" y="17"/>
                    <a:pt x="77" y="17"/>
                    <a:pt x="77" y="17"/>
                  </a:cubicBezTo>
                  <a:cubicBezTo>
                    <a:pt x="77" y="17"/>
                    <a:pt x="81" y="15"/>
                    <a:pt x="87" y="14"/>
                  </a:cubicBezTo>
                  <a:cubicBezTo>
                    <a:pt x="93" y="14"/>
                    <a:pt x="95" y="12"/>
                    <a:pt x="96" y="15"/>
                  </a:cubicBezTo>
                  <a:cubicBezTo>
                    <a:pt x="98" y="20"/>
                    <a:pt x="99" y="14"/>
                    <a:pt x="102" y="14"/>
                  </a:cubicBezTo>
                  <a:cubicBezTo>
                    <a:pt x="105" y="14"/>
                    <a:pt x="105" y="12"/>
                    <a:pt x="110" y="11"/>
                  </a:cubicBezTo>
                  <a:cubicBezTo>
                    <a:pt x="107" y="6"/>
                    <a:pt x="102" y="8"/>
                    <a:pt x="95" y="9"/>
                  </a:cubicBezTo>
                  <a:cubicBezTo>
                    <a:pt x="95" y="9"/>
                    <a:pt x="83" y="12"/>
                    <a:pt x="80" y="14"/>
                  </a:cubicBezTo>
                  <a:cubicBezTo>
                    <a:pt x="78" y="14"/>
                    <a:pt x="77" y="11"/>
                    <a:pt x="77" y="12"/>
                  </a:cubicBezTo>
                  <a:cubicBezTo>
                    <a:pt x="75" y="14"/>
                    <a:pt x="75" y="14"/>
                    <a:pt x="72" y="12"/>
                  </a:cubicBezTo>
                  <a:cubicBezTo>
                    <a:pt x="69" y="11"/>
                    <a:pt x="60" y="15"/>
                    <a:pt x="58" y="9"/>
                  </a:cubicBezTo>
                  <a:cubicBezTo>
                    <a:pt x="57" y="6"/>
                    <a:pt x="55" y="8"/>
                    <a:pt x="51" y="8"/>
                  </a:cubicBezTo>
                  <a:cubicBezTo>
                    <a:pt x="46" y="8"/>
                    <a:pt x="26" y="8"/>
                    <a:pt x="22" y="8"/>
                  </a:cubicBezTo>
                  <a:cubicBezTo>
                    <a:pt x="17" y="8"/>
                    <a:pt x="19" y="0"/>
                    <a:pt x="12" y="3"/>
                  </a:cubicBezTo>
                  <a:cubicBezTo>
                    <a:pt x="8" y="6"/>
                    <a:pt x="8" y="6"/>
                    <a:pt x="2" y="6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87" name="Freeform 103">
              <a:extLst>
                <a:ext uri="{FF2B5EF4-FFF2-40B4-BE49-F238E27FC236}">
                  <a16:creationId xmlns:a16="http://schemas.microsoft.com/office/drawing/2014/main" id="{247A1557-69EA-EFE3-B487-B431F39C3E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32285" y="5295475"/>
              <a:ext cx="226556" cy="295642"/>
            </a:xfrm>
            <a:custGeom>
              <a:avLst/>
              <a:gdLst/>
              <a:ahLst/>
              <a:cxnLst>
                <a:cxn ang="0">
                  <a:pos x="41" y="0"/>
                </a:cxn>
                <a:cxn ang="0">
                  <a:pos x="34" y="3"/>
                </a:cxn>
                <a:cxn ang="0">
                  <a:pos x="27" y="5"/>
                </a:cxn>
                <a:cxn ang="0">
                  <a:pos x="18" y="3"/>
                </a:cxn>
                <a:cxn ang="0">
                  <a:pos x="8" y="7"/>
                </a:cxn>
                <a:cxn ang="0">
                  <a:pos x="8" y="44"/>
                </a:cxn>
                <a:cxn ang="0">
                  <a:pos x="0" y="44"/>
                </a:cxn>
                <a:cxn ang="0">
                  <a:pos x="0" y="72"/>
                </a:cxn>
                <a:cxn ang="0">
                  <a:pos x="5" y="88"/>
                </a:cxn>
                <a:cxn ang="0">
                  <a:pos x="6" y="94"/>
                </a:cxn>
                <a:cxn ang="0">
                  <a:pos x="17" y="89"/>
                </a:cxn>
                <a:cxn ang="0">
                  <a:pos x="30" y="80"/>
                </a:cxn>
                <a:cxn ang="0">
                  <a:pos x="46" y="75"/>
                </a:cxn>
                <a:cxn ang="0">
                  <a:pos x="55" y="63"/>
                </a:cxn>
                <a:cxn ang="0">
                  <a:pos x="62" y="53"/>
                </a:cxn>
                <a:cxn ang="0">
                  <a:pos x="73" y="46"/>
                </a:cxn>
                <a:cxn ang="0">
                  <a:pos x="65" y="39"/>
                </a:cxn>
                <a:cxn ang="0">
                  <a:pos x="61" y="30"/>
                </a:cxn>
                <a:cxn ang="0">
                  <a:pos x="58" y="25"/>
                </a:cxn>
                <a:cxn ang="0">
                  <a:pos x="47" y="16"/>
                </a:cxn>
                <a:cxn ang="0">
                  <a:pos x="41" y="0"/>
                </a:cxn>
              </a:cxnLst>
              <a:rect l="0" t="0" r="r" b="b"/>
              <a:pathLst>
                <a:path w="73" h="95">
                  <a:moveTo>
                    <a:pt x="41" y="0"/>
                  </a:moveTo>
                  <a:cubicBezTo>
                    <a:pt x="37" y="2"/>
                    <a:pt x="37" y="3"/>
                    <a:pt x="34" y="3"/>
                  </a:cubicBezTo>
                  <a:cubicBezTo>
                    <a:pt x="30" y="3"/>
                    <a:pt x="29" y="10"/>
                    <a:pt x="27" y="5"/>
                  </a:cubicBezTo>
                  <a:cubicBezTo>
                    <a:pt x="26" y="2"/>
                    <a:pt x="24" y="3"/>
                    <a:pt x="18" y="3"/>
                  </a:cubicBezTo>
                  <a:cubicBezTo>
                    <a:pt x="12" y="5"/>
                    <a:pt x="8" y="7"/>
                    <a:pt x="8" y="7"/>
                  </a:cubicBezTo>
                  <a:cubicBezTo>
                    <a:pt x="8" y="44"/>
                    <a:pt x="8" y="44"/>
                    <a:pt x="8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3" y="75"/>
                    <a:pt x="6" y="84"/>
                    <a:pt x="5" y="88"/>
                  </a:cubicBezTo>
                  <a:cubicBezTo>
                    <a:pt x="3" y="89"/>
                    <a:pt x="3" y="94"/>
                    <a:pt x="6" y="94"/>
                  </a:cubicBezTo>
                  <a:cubicBezTo>
                    <a:pt x="9" y="92"/>
                    <a:pt x="11" y="95"/>
                    <a:pt x="17" y="89"/>
                  </a:cubicBezTo>
                  <a:cubicBezTo>
                    <a:pt x="21" y="83"/>
                    <a:pt x="20" y="72"/>
                    <a:pt x="30" y="80"/>
                  </a:cubicBezTo>
                  <a:cubicBezTo>
                    <a:pt x="41" y="86"/>
                    <a:pt x="43" y="80"/>
                    <a:pt x="46" y="75"/>
                  </a:cubicBezTo>
                  <a:cubicBezTo>
                    <a:pt x="47" y="69"/>
                    <a:pt x="53" y="70"/>
                    <a:pt x="55" y="63"/>
                  </a:cubicBezTo>
                  <a:cubicBezTo>
                    <a:pt x="56" y="56"/>
                    <a:pt x="61" y="58"/>
                    <a:pt x="62" y="53"/>
                  </a:cubicBezTo>
                  <a:cubicBezTo>
                    <a:pt x="64" y="49"/>
                    <a:pt x="68" y="50"/>
                    <a:pt x="73" y="46"/>
                  </a:cubicBezTo>
                  <a:cubicBezTo>
                    <a:pt x="72" y="41"/>
                    <a:pt x="70" y="41"/>
                    <a:pt x="65" y="39"/>
                  </a:cubicBezTo>
                  <a:cubicBezTo>
                    <a:pt x="62" y="38"/>
                    <a:pt x="59" y="35"/>
                    <a:pt x="61" y="30"/>
                  </a:cubicBezTo>
                  <a:cubicBezTo>
                    <a:pt x="61" y="25"/>
                    <a:pt x="58" y="30"/>
                    <a:pt x="58" y="25"/>
                  </a:cubicBezTo>
                  <a:cubicBezTo>
                    <a:pt x="58" y="22"/>
                    <a:pt x="49" y="22"/>
                    <a:pt x="47" y="16"/>
                  </a:cubicBezTo>
                  <a:cubicBezTo>
                    <a:pt x="46" y="11"/>
                    <a:pt x="43" y="8"/>
                    <a:pt x="41" y="0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88" name="Freeform 104">
              <a:extLst>
                <a:ext uri="{FF2B5EF4-FFF2-40B4-BE49-F238E27FC236}">
                  <a16:creationId xmlns:a16="http://schemas.microsoft.com/office/drawing/2014/main" id="{10D23AC5-65FA-183F-77AE-947FF8FF39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59220" y="5226385"/>
              <a:ext cx="199241" cy="215305"/>
            </a:xfrm>
            <a:custGeom>
              <a:avLst/>
              <a:gdLst/>
              <a:ahLst/>
              <a:cxnLst>
                <a:cxn ang="0">
                  <a:pos x="0" y="22"/>
                </a:cxn>
                <a:cxn ang="0">
                  <a:pos x="6" y="38"/>
                </a:cxn>
                <a:cxn ang="0">
                  <a:pos x="17" y="47"/>
                </a:cxn>
                <a:cxn ang="0">
                  <a:pos x="20" y="52"/>
                </a:cxn>
                <a:cxn ang="0">
                  <a:pos x="24" y="61"/>
                </a:cxn>
                <a:cxn ang="0">
                  <a:pos x="32" y="67"/>
                </a:cxn>
                <a:cxn ang="0">
                  <a:pos x="43" y="69"/>
                </a:cxn>
                <a:cxn ang="0">
                  <a:pos x="47" y="69"/>
                </a:cxn>
                <a:cxn ang="0">
                  <a:pos x="55" y="59"/>
                </a:cxn>
                <a:cxn ang="0">
                  <a:pos x="61" y="47"/>
                </a:cxn>
                <a:cxn ang="0">
                  <a:pos x="59" y="38"/>
                </a:cxn>
                <a:cxn ang="0">
                  <a:pos x="59" y="33"/>
                </a:cxn>
                <a:cxn ang="0">
                  <a:pos x="61" y="17"/>
                </a:cxn>
                <a:cxn ang="0">
                  <a:pos x="59" y="11"/>
                </a:cxn>
                <a:cxn ang="0">
                  <a:pos x="50" y="7"/>
                </a:cxn>
                <a:cxn ang="0">
                  <a:pos x="41" y="0"/>
                </a:cxn>
                <a:cxn ang="0">
                  <a:pos x="31" y="3"/>
                </a:cxn>
                <a:cxn ang="0">
                  <a:pos x="26" y="11"/>
                </a:cxn>
                <a:cxn ang="0">
                  <a:pos x="14" y="24"/>
                </a:cxn>
                <a:cxn ang="0">
                  <a:pos x="6" y="24"/>
                </a:cxn>
                <a:cxn ang="0">
                  <a:pos x="0" y="22"/>
                </a:cxn>
              </a:cxnLst>
              <a:rect l="0" t="0" r="r" b="b"/>
              <a:pathLst>
                <a:path w="64" h="69">
                  <a:moveTo>
                    <a:pt x="0" y="22"/>
                  </a:moveTo>
                  <a:cubicBezTo>
                    <a:pt x="2" y="30"/>
                    <a:pt x="5" y="33"/>
                    <a:pt x="6" y="38"/>
                  </a:cubicBezTo>
                  <a:cubicBezTo>
                    <a:pt x="8" y="44"/>
                    <a:pt x="17" y="44"/>
                    <a:pt x="17" y="47"/>
                  </a:cubicBezTo>
                  <a:cubicBezTo>
                    <a:pt x="17" y="52"/>
                    <a:pt x="20" y="47"/>
                    <a:pt x="20" y="52"/>
                  </a:cubicBezTo>
                  <a:cubicBezTo>
                    <a:pt x="18" y="56"/>
                    <a:pt x="21" y="59"/>
                    <a:pt x="24" y="61"/>
                  </a:cubicBezTo>
                  <a:cubicBezTo>
                    <a:pt x="29" y="63"/>
                    <a:pt x="31" y="63"/>
                    <a:pt x="32" y="67"/>
                  </a:cubicBezTo>
                  <a:cubicBezTo>
                    <a:pt x="37" y="66"/>
                    <a:pt x="40" y="69"/>
                    <a:pt x="43" y="69"/>
                  </a:cubicBezTo>
                  <a:cubicBezTo>
                    <a:pt x="44" y="67"/>
                    <a:pt x="46" y="69"/>
                    <a:pt x="47" y="69"/>
                  </a:cubicBezTo>
                  <a:cubicBezTo>
                    <a:pt x="47" y="69"/>
                    <a:pt x="53" y="63"/>
                    <a:pt x="55" y="59"/>
                  </a:cubicBezTo>
                  <a:cubicBezTo>
                    <a:pt x="58" y="56"/>
                    <a:pt x="55" y="55"/>
                    <a:pt x="61" y="47"/>
                  </a:cubicBezTo>
                  <a:cubicBezTo>
                    <a:pt x="64" y="41"/>
                    <a:pt x="58" y="42"/>
                    <a:pt x="59" y="38"/>
                  </a:cubicBezTo>
                  <a:cubicBezTo>
                    <a:pt x="61" y="35"/>
                    <a:pt x="58" y="33"/>
                    <a:pt x="59" y="33"/>
                  </a:cubicBezTo>
                  <a:cubicBezTo>
                    <a:pt x="61" y="33"/>
                    <a:pt x="62" y="21"/>
                    <a:pt x="61" y="17"/>
                  </a:cubicBezTo>
                  <a:cubicBezTo>
                    <a:pt x="59" y="13"/>
                    <a:pt x="62" y="13"/>
                    <a:pt x="59" y="11"/>
                  </a:cubicBezTo>
                  <a:cubicBezTo>
                    <a:pt x="56" y="8"/>
                    <a:pt x="55" y="10"/>
                    <a:pt x="50" y="7"/>
                  </a:cubicBezTo>
                  <a:cubicBezTo>
                    <a:pt x="46" y="2"/>
                    <a:pt x="40" y="8"/>
                    <a:pt x="41" y="0"/>
                  </a:cubicBezTo>
                  <a:cubicBezTo>
                    <a:pt x="38" y="2"/>
                    <a:pt x="35" y="0"/>
                    <a:pt x="31" y="3"/>
                  </a:cubicBezTo>
                  <a:cubicBezTo>
                    <a:pt x="26" y="7"/>
                    <a:pt x="31" y="10"/>
                    <a:pt x="26" y="11"/>
                  </a:cubicBezTo>
                  <a:cubicBezTo>
                    <a:pt x="20" y="14"/>
                    <a:pt x="17" y="19"/>
                    <a:pt x="14" y="24"/>
                  </a:cubicBezTo>
                  <a:cubicBezTo>
                    <a:pt x="11" y="28"/>
                    <a:pt x="9" y="22"/>
                    <a:pt x="6" y="24"/>
                  </a:cubicBezTo>
                  <a:cubicBezTo>
                    <a:pt x="5" y="25"/>
                    <a:pt x="5" y="22"/>
                    <a:pt x="0" y="22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89" name="Freeform 105">
              <a:extLst>
                <a:ext uri="{FF2B5EF4-FFF2-40B4-BE49-F238E27FC236}">
                  <a16:creationId xmlns:a16="http://schemas.microsoft.com/office/drawing/2014/main" id="{822BFC31-81D7-B93B-4F5A-8DDC11DDFF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42305" y="5432050"/>
              <a:ext cx="408123" cy="414542"/>
            </a:xfrm>
            <a:custGeom>
              <a:avLst/>
              <a:gdLst/>
              <a:ahLst/>
              <a:cxnLst>
                <a:cxn ang="0">
                  <a:pos x="102" y="1"/>
                </a:cxn>
                <a:cxn ang="0">
                  <a:pos x="113" y="3"/>
                </a:cxn>
                <a:cxn ang="0">
                  <a:pos x="117" y="3"/>
                </a:cxn>
                <a:cxn ang="0">
                  <a:pos x="123" y="40"/>
                </a:cxn>
                <a:cxn ang="0">
                  <a:pos x="114" y="43"/>
                </a:cxn>
                <a:cxn ang="0">
                  <a:pos x="122" y="54"/>
                </a:cxn>
                <a:cxn ang="0">
                  <a:pos x="125" y="48"/>
                </a:cxn>
                <a:cxn ang="0">
                  <a:pos x="131" y="48"/>
                </a:cxn>
                <a:cxn ang="0">
                  <a:pos x="116" y="81"/>
                </a:cxn>
                <a:cxn ang="0">
                  <a:pos x="102" y="101"/>
                </a:cxn>
                <a:cxn ang="0">
                  <a:pos x="84" y="119"/>
                </a:cxn>
                <a:cxn ang="0">
                  <a:pos x="73" y="123"/>
                </a:cxn>
                <a:cxn ang="0">
                  <a:pos x="67" y="124"/>
                </a:cxn>
                <a:cxn ang="0">
                  <a:pos x="56" y="124"/>
                </a:cxn>
                <a:cxn ang="0">
                  <a:pos x="47" y="124"/>
                </a:cxn>
                <a:cxn ang="0">
                  <a:pos x="41" y="127"/>
                </a:cxn>
                <a:cxn ang="0">
                  <a:pos x="34" y="129"/>
                </a:cxn>
                <a:cxn ang="0">
                  <a:pos x="29" y="132"/>
                </a:cxn>
                <a:cxn ang="0">
                  <a:pos x="24" y="132"/>
                </a:cxn>
                <a:cxn ang="0">
                  <a:pos x="23" y="129"/>
                </a:cxn>
                <a:cxn ang="0">
                  <a:pos x="20" y="126"/>
                </a:cxn>
                <a:cxn ang="0">
                  <a:pos x="17" y="126"/>
                </a:cxn>
                <a:cxn ang="0">
                  <a:pos x="15" y="123"/>
                </a:cxn>
                <a:cxn ang="0">
                  <a:pos x="12" y="116"/>
                </a:cxn>
                <a:cxn ang="0">
                  <a:pos x="12" y="110"/>
                </a:cxn>
                <a:cxn ang="0">
                  <a:pos x="11" y="95"/>
                </a:cxn>
                <a:cxn ang="0">
                  <a:pos x="0" y="67"/>
                </a:cxn>
                <a:cxn ang="0">
                  <a:pos x="6" y="62"/>
                </a:cxn>
                <a:cxn ang="0">
                  <a:pos x="11" y="70"/>
                </a:cxn>
                <a:cxn ang="0">
                  <a:pos x="20" y="70"/>
                </a:cxn>
                <a:cxn ang="0">
                  <a:pos x="29" y="65"/>
                </a:cxn>
                <a:cxn ang="0">
                  <a:pos x="29" y="28"/>
                </a:cxn>
                <a:cxn ang="0">
                  <a:pos x="34" y="43"/>
                </a:cxn>
                <a:cxn ang="0">
                  <a:pos x="35" y="50"/>
                </a:cxn>
                <a:cxn ang="0">
                  <a:pos x="46" y="45"/>
                </a:cxn>
                <a:cxn ang="0">
                  <a:pos x="59" y="36"/>
                </a:cxn>
                <a:cxn ang="0">
                  <a:pos x="75" y="31"/>
                </a:cxn>
                <a:cxn ang="0">
                  <a:pos x="84" y="19"/>
                </a:cxn>
                <a:cxn ang="0">
                  <a:pos x="91" y="9"/>
                </a:cxn>
                <a:cxn ang="0">
                  <a:pos x="102" y="1"/>
                </a:cxn>
              </a:cxnLst>
              <a:rect l="0" t="0" r="r" b="b"/>
              <a:pathLst>
                <a:path w="131" h="133">
                  <a:moveTo>
                    <a:pt x="102" y="1"/>
                  </a:moveTo>
                  <a:cubicBezTo>
                    <a:pt x="107" y="0"/>
                    <a:pt x="110" y="3"/>
                    <a:pt x="113" y="3"/>
                  </a:cubicBezTo>
                  <a:cubicBezTo>
                    <a:pt x="114" y="1"/>
                    <a:pt x="116" y="3"/>
                    <a:pt x="117" y="3"/>
                  </a:cubicBezTo>
                  <a:cubicBezTo>
                    <a:pt x="120" y="11"/>
                    <a:pt x="125" y="31"/>
                    <a:pt x="123" y="40"/>
                  </a:cubicBezTo>
                  <a:cubicBezTo>
                    <a:pt x="117" y="36"/>
                    <a:pt x="116" y="39"/>
                    <a:pt x="114" y="43"/>
                  </a:cubicBezTo>
                  <a:cubicBezTo>
                    <a:pt x="113" y="50"/>
                    <a:pt x="119" y="54"/>
                    <a:pt x="122" y="54"/>
                  </a:cubicBezTo>
                  <a:cubicBezTo>
                    <a:pt x="125" y="54"/>
                    <a:pt x="122" y="48"/>
                    <a:pt x="125" y="48"/>
                  </a:cubicBezTo>
                  <a:cubicBezTo>
                    <a:pt x="131" y="48"/>
                    <a:pt x="131" y="48"/>
                    <a:pt x="131" y="48"/>
                  </a:cubicBezTo>
                  <a:cubicBezTo>
                    <a:pt x="128" y="74"/>
                    <a:pt x="123" y="62"/>
                    <a:pt x="116" y="81"/>
                  </a:cubicBezTo>
                  <a:cubicBezTo>
                    <a:pt x="108" y="98"/>
                    <a:pt x="105" y="95"/>
                    <a:pt x="102" y="101"/>
                  </a:cubicBezTo>
                  <a:cubicBezTo>
                    <a:pt x="94" y="112"/>
                    <a:pt x="87" y="116"/>
                    <a:pt x="84" y="119"/>
                  </a:cubicBezTo>
                  <a:cubicBezTo>
                    <a:pt x="79" y="123"/>
                    <a:pt x="73" y="119"/>
                    <a:pt x="73" y="123"/>
                  </a:cubicBezTo>
                  <a:cubicBezTo>
                    <a:pt x="75" y="126"/>
                    <a:pt x="69" y="121"/>
                    <a:pt x="67" y="124"/>
                  </a:cubicBezTo>
                  <a:cubicBezTo>
                    <a:pt x="64" y="129"/>
                    <a:pt x="58" y="123"/>
                    <a:pt x="56" y="124"/>
                  </a:cubicBezTo>
                  <a:cubicBezTo>
                    <a:pt x="53" y="126"/>
                    <a:pt x="50" y="123"/>
                    <a:pt x="47" y="124"/>
                  </a:cubicBezTo>
                  <a:cubicBezTo>
                    <a:pt x="44" y="124"/>
                    <a:pt x="46" y="126"/>
                    <a:pt x="41" y="127"/>
                  </a:cubicBezTo>
                  <a:cubicBezTo>
                    <a:pt x="37" y="129"/>
                    <a:pt x="38" y="127"/>
                    <a:pt x="34" y="129"/>
                  </a:cubicBezTo>
                  <a:cubicBezTo>
                    <a:pt x="29" y="129"/>
                    <a:pt x="31" y="133"/>
                    <a:pt x="29" y="132"/>
                  </a:cubicBezTo>
                  <a:cubicBezTo>
                    <a:pt x="28" y="132"/>
                    <a:pt x="26" y="133"/>
                    <a:pt x="24" y="132"/>
                  </a:cubicBezTo>
                  <a:cubicBezTo>
                    <a:pt x="24" y="130"/>
                    <a:pt x="23" y="132"/>
                    <a:pt x="23" y="129"/>
                  </a:cubicBezTo>
                  <a:cubicBezTo>
                    <a:pt x="23" y="126"/>
                    <a:pt x="20" y="130"/>
                    <a:pt x="20" y="126"/>
                  </a:cubicBezTo>
                  <a:cubicBezTo>
                    <a:pt x="20" y="124"/>
                    <a:pt x="17" y="124"/>
                    <a:pt x="17" y="126"/>
                  </a:cubicBezTo>
                  <a:cubicBezTo>
                    <a:pt x="15" y="129"/>
                    <a:pt x="14" y="124"/>
                    <a:pt x="15" y="123"/>
                  </a:cubicBezTo>
                  <a:cubicBezTo>
                    <a:pt x="17" y="121"/>
                    <a:pt x="15" y="119"/>
                    <a:pt x="12" y="116"/>
                  </a:cubicBezTo>
                  <a:cubicBezTo>
                    <a:pt x="9" y="112"/>
                    <a:pt x="11" y="109"/>
                    <a:pt x="12" y="110"/>
                  </a:cubicBezTo>
                  <a:cubicBezTo>
                    <a:pt x="14" y="112"/>
                    <a:pt x="18" y="105"/>
                    <a:pt x="11" y="95"/>
                  </a:cubicBezTo>
                  <a:cubicBezTo>
                    <a:pt x="3" y="81"/>
                    <a:pt x="6" y="74"/>
                    <a:pt x="0" y="67"/>
                  </a:cubicBezTo>
                  <a:cubicBezTo>
                    <a:pt x="5" y="65"/>
                    <a:pt x="3" y="59"/>
                    <a:pt x="6" y="62"/>
                  </a:cubicBezTo>
                  <a:cubicBezTo>
                    <a:pt x="9" y="65"/>
                    <a:pt x="5" y="67"/>
                    <a:pt x="11" y="70"/>
                  </a:cubicBezTo>
                  <a:cubicBezTo>
                    <a:pt x="15" y="71"/>
                    <a:pt x="18" y="68"/>
                    <a:pt x="20" y="70"/>
                  </a:cubicBezTo>
                  <a:cubicBezTo>
                    <a:pt x="21" y="71"/>
                    <a:pt x="24" y="67"/>
                    <a:pt x="29" y="65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32" y="31"/>
                    <a:pt x="35" y="40"/>
                    <a:pt x="34" y="43"/>
                  </a:cubicBezTo>
                  <a:cubicBezTo>
                    <a:pt x="32" y="45"/>
                    <a:pt x="32" y="50"/>
                    <a:pt x="35" y="50"/>
                  </a:cubicBezTo>
                  <a:cubicBezTo>
                    <a:pt x="38" y="48"/>
                    <a:pt x="40" y="51"/>
                    <a:pt x="46" y="45"/>
                  </a:cubicBezTo>
                  <a:cubicBezTo>
                    <a:pt x="50" y="39"/>
                    <a:pt x="49" y="28"/>
                    <a:pt x="59" y="36"/>
                  </a:cubicBezTo>
                  <a:cubicBezTo>
                    <a:pt x="70" y="42"/>
                    <a:pt x="72" y="36"/>
                    <a:pt x="75" y="31"/>
                  </a:cubicBezTo>
                  <a:cubicBezTo>
                    <a:pt x="76" y="25"/>
                    <a:pt x="82" y="26"/>
                    <a:pt x="84" y="19"/>
                  </a:cubicBezTo>
                  <a:cubicBezTo>
                    <a:pt x="85" y="12"/>
                    <a:pt x="90" y="14"/>
                    <a:pt x="91" y="9"/>
                  </a:cubicBezTo>
                  <a:cubicBezTo>
                    <a:pt x="93" y="5"/>
                    <a:pt x="98" y="6"/>
                    <a:pt x="102" y="1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90" name="Freeform 106">
              <a:extLst>
                <a:ext uri="{FF2B5EF4-FFF2-40B4-BE49-F238E27FC236}">
                  <a16:creationId xmlns:a16="http://schemas.microsoft.com/office/drawing/2014/main" id="{D695A7F6-9BE0-1CDA-137E-2EA70D273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97783" y="5628074"/>
              <a:ext cx="70699" cy="85158"/>
            </a:xfrm>
            <a:custGeom>
              <a:avLst/>
              <a:gdLst/>
              <a:ahLst/>
              <a:cxnLst>
                <a:cxn ang="0">
                  <a:pos x="8" y="25"/>
                </a:cxn>
                <a:cxn ang="0">
                  <a:pos x="3" y="13"/>
                </a:cxn>
                <a:cxn ang="0">
                  <a:pos x="15" y="3"/>
                </a:cxn>
                <a:cxn ang="0">
                  <a:pos x="20" y="14"/>
                </a:cxn>
                <a:cxn ang="0">
                  <a:pos x="11" y="22"/>
                </a:cxn>
                <a:cxn ang="0">
                  <a:pos x="8" y="25"/>
                </a:cxn>
              </a:cxnLst>
              <a:rect l="0" t="0" r="r" b="b"/>
              <a:pathLst>
                <a:path w="23" h="27">
                  <a:moveTo>
                    <a:pt x="8" y="25"/>
                  </a:moveTo>
                  <a:cubicBezTo>
                    <a:pt x="5" y="21"/>
                    <a:pt x="0" y="18"/>
                    <a:pt x="3" y="13"/>
                  </a:cubicBezTo>
                  <a:cubicBezTo>
                    <a:pt x="6" y="8"/>
                    <a:pt x="14" y="0"/>
                    <a:pt x="15" y="3"/>
                  </a:cubicBezTo>
                  <a:cubicBezTo>
                    <a:pt x="18" y="7"/>
                    <a:pt x="23" y="8"/>
                    <a:pt x="20" y="14"/>
                  </a:cubicBezTo>
                  <a:cubicBezTo>
                    <a:pt x="18" y="19"/>
                    <a:pt x="12" y="19"/>
                    <a:pt x="11" y="22"/>
                  </a:cubicBezTo>
                  <a:cubicBezTo>
                    <a:pt x="9" y="25"/>
                    <a:pt x="9" y="27"/>
                    <a:pt x="8" y="25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91" name="Freeform 107">
              <a:extLst>
                <a:ext uri="{FF2B5EF4-FFF2-40B4-BE49-F238E27FC236}">
                  <a16:creationId xmlns:a16="http://schemas.microsoft.com/office/drawing/2014/main" id="{DE3DFF1A-9B56-5959-BF0B-0F34899C96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94190" y="5541308"/>
              <a:ext cx="36956" cy="59450"/>
            </a:xfrm>
            <a:custGeom>
              <a:avLst/>
              <a:gdLst/>
              <a:ahLst/>
              <a:cxnLst>
                <a:cxn ang="0">
                  <a:pos x="10" y="5"/>
                </a:cxn>
                <a:cxn ang="0">
                  <a:pos x="12" y="13"/>
                </a:cxn>
                <a:cxn ang="0">
                  <a:pos x="9" y="19"/>
                </a:cxn>
                <a:cxn ang="0">
                  <a:pos x="1" y="8"/>
                </a:cxn>
                <a:cxn ang="0">
                  <a:pos x="10" y="5"/>
                </a:cxn>
              </a:cxnLst>
              <a:rect l="0" t="0" r="r" b="b"/>
              <a:pathLst>
                <a:path w="12" h="19">
                  <a:moveTo>
                    <a:pt x="10" y="5"/>
                  </a:moveTo>
                  <a:cubicBezTo>
                    <a:pt x="12" y="13"/>
                    <a:pt x="12" y="13"/>
                    <a:pt x="12" y="13"/>
                  </a:cubicBezTo>
                  <a:cubicBezTo>
                    <a:pt x="9" y="13"/>
                    <a:pt x="12" y="19"/>
                    <a:pt x="9" y="19"/>
                  </a:cubicBezTo>
                  <a:cubicBezTo>
                    <a:pt x="6" y="19"/>
                    <a:pt x="0" y="15"/>
                    <a:pt x="1" y="8"/>
                  </a:cubicBezTo>
                  <a:cubicBezTo>
                    <a:pt x="3" y="4"/>
                    <a:pt x="4" y="0"/>
                    <a:pt x="10" y="5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92" name="Freeform 108">
              <a:extLst>
                <a:ext uri="{FF2B5EF4-FFF2-40B4-BE49-F238E27FC236}">
                  <a16:creationId xmlns:a16="http://schemas.microsoft.com/office/drawing/2014/main" id="{9FBEE532-2FDE-0BC1-F621-ABCDB340BB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40787" y="5040002"/>
              <a:ext cx="86766" cy="242620"/>
            </a:xfrm>
            <a:custGeom>
              <a:avLst/>
              <a:gdLst/>
              <a:ahLst/>
              <a:cxnLst>
                <a:cxn ang="0">
                  <a:pos x="4" y="45"/>
                </a:cxn>
                <a:cxn ang="0">
                  <a:pos x="9" y="50"/>
                </a:cxn>
                <a:cxn ang="0">
                  <a:pos x="15" y="58"/>
                </a:cxn>
                <a:cxn ang="0">
                  <a:pos x="15" y="67"/>
                </a:cxn>
                <a:cxn ang="0">
                  <a:pos x="19" y="76"/>
                </a:cxn>
                <a:cxn ang="0">
                  <a:pos x="21" y="72"/>
                </a:cxn>
                <a:cxn ang="0">
                  <a:pos x="24" y="67"/>
                </a:cxn>
                <a:cxn ang="0">
                  <a:pos x="25" y="59"/>
                </a:cxn>
                <a:cxn ang="0">
                  <a:pos x="22" y="47"/>
                </a:cxn>
                <a:cxn ang="0">
                  <a:pos x="15" y="37"/>
                </a:cxn>
                <a:cxn ang="0">
                  <a:pos x="15" y="25"/>
                </a:cxn>
                <a:cxn ang="0">
                  <a:pos x="16" y="20"/>
                </a:cxn>
                <a:cxn ang="0">
                  <a:pos x="15" y="11"/>
                </a:cxn>
                <a:cxn ang="0">
                  <a:pos x="10" y="2"/>
                </a:cxn>
                <a:cxn ang="0">
                  <a:pos x="3" y="0"/>
                </a:cxn>
                <a:cxn ang="0">
                  <a:pos x="6" y="3"/>
                </a:cxn>
                <a:cxn ang="0">
                  <a:pos x="6" y="8"/>
                </a:cxn>
                <a:cxn ang="0">
                  <a:pos x="7" y="14"/>
                </a:cxn>
                <a:cxn ang="0">
                  <a:pos x="6" y="19"/>
                </a:cxn>
                <a:cxn ang="0">
                  <a:pos x="6" y="25"/>
                </a:cxn>
                <a:cxn ang="0">
                  <a:pos x="6" y="31"/>
                </a:cxn>
                <a:cxn ang="0">
                  <a:pos x="1" y="41"/>
                </a:cxn>
                <a:cxn ang="0">
                  <a:pos x="4" y="45"/>
                </a:cxn>
              </a:cxnLst>
              <a:rect l="0" t="0" r="r" b="b"/>
              <a:pathLst>
                <a:path w="28" h="78">
                  <a:moveTo>
                    <a:pt x="4" y="45"/>
                  </a:moveTo>
                  <a:cubicBezTo>
                    <a:pt x="6" y="48"/>
                    <a:pt x="7" y="51"/>
                    <a:pt x="9" y="50"/>
                  </a:cubicBezTo>
                  <a:cubicBezTo>
                    <a:pt x="15" y="48"/>
                    <a:pt x="16" y="51"/>
                    <a:pt x="15" y="58"/>
                  </a:cubicBezTo>
                  <a:cubicBezTo>
                    <a:pt x="15" y="64"/>
                    <a:pt x="10" y="62"/>
                    <a:pt x="15" y="67"/>
                  </a:cubicBezTo>
                  <a:cubicBezTo>
                    <a:pt x="19" y="73"/>
                    <a:pt x="18" y="76"/>
                    <a:pt x="19" y="76"/>
                  </a:cubicBezTo>
                  <a:cubicBezTo>
                    <a:pt x="21" y="78"/>
                    <a:pt x="21" y="75"/>
                    <a:pt x="21" y="72"/>
                  </a:cubicBezTo>
                  <a:cubicBezTo>
                    <a:pt x="19" y="69"/>
                    <a:pt x="21" y="67"/>
                    <a:pt x="24" y="67"/>
                  </a:cubicBezTo>
                  <a:cubicBezTo>
                    <a:pt x="25" y="65"/>
                    <a:pt x="25" y="64"/>
                    <a:pt x="25" y="59"/>
                  </a:cubicBezTo>
                  <a:cubicBezTo>
                    <a:pt x="25" y="55"/>
                    <a:pt x="28" y="53"/>
                    <a:pt x="22" y="47"/>
                  </a:cubicBezTo>
                  <a:cubicBezTo>
                    <a:pt x="18" y="41"/>
                    <a:pt x="16" y="41"/>
                    <a:pt x="15" y="37"/>
                  </a:cubicBezTo>
                  <a:cubicBezTo>
                    <a:pt x="15" y="33"/>
                    <a:pt x="13" y="28"/>
                    <a:pt x="15" y="25"/>
                  </a:cubicBezTo>
                  <a:cubicBezTo>
                    <a:pt x="16" y="24"/>
                    <a:pt x="15" y="22"/>
                    <a:pt x="16" y="20"/>
                  </a:cubicBezTo>
                  <a:cubicBezTo>
                    <a:pt x="13" y="16"/>
                    <a:pt x="16" y="16"/>
                    <a:pt x="15" y="11"/>
                  </a:cubicBezTo>
                  <a:cubicBezTo>
                    <a:pt x="13" y="6"/>
                    <a:pt x="12" y="3"/>
                    <a:pt x="10" y="2"/>
                  </a:cubicBezTo>
                  <a:cubicBezTo>
                    <a:pt x="7" y="2"/>
                    <a:pt x="4" y="2"/>
                    <a:pt x="3" y="0"/>
                  </a:cubicBezTo>
                  <a:cubicBezTo>
                    <a:pt x="3" y="3"/>
                    <a:pt x="3" y="0"/>
                    <a:pt x="6" y="3"/>
                  </a:cubicBezTo>
                  <a:cubicBezTo>
                    <a:pt x="7" y="5"/>
                    <a:pt x="4" y="5"/>
                    <a:pt x="6" y="8"/>
                  </a:cubicBezTo>
                  <a:cubicBezTo>
                    <a:pt x="9" y="10"/>
                    <a:pt x="9" y="11"/>
                    <a:pt x="7" y="14"/>
                  </a:cubicBezTo>
                  <a:cubicBezTo>
                    <a:pt x="4" y="16"/>
                    <a:pt x="7" y="17"/>
                    <a:pt x="6" y="19"/>
                  </a:cubicBezTo>
                  <a:cubicBezTo>
                    <a:pt x="4" y="20"/>
                    <a:pt x="6" y="22"/>
                    <a:pt x="6" y="25"/>
                  </a:cubicBezTo>
                  <a:cubicBezTo>
                    <a:pt x="4" y="30"/>
                    <a:pt x="9" y="31"/>
                    <a:pt x="6" y="31"/>
                  </a:cubicBezTo>
                  <a:cubicBezTo>
                    <a:pt x="1" y="31"/>
                    <a:pt x="4" y="37"/>
                    <a:pt x="1" y="41"/>
                  </a:cubicBezTo>
                  <a:cubicBezTo>
                    <a:pt x="0" y="42"/>
                    <a:pt x="3" y="44"/>
                    <a:pt x="4" y="45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93" name="Freeform 109">
              <a:extLst>
                <a:ext uri="{FF2B5EF4-FFF2-40B4-BE49-F238E27FC236}">
                  <a16:creationId xmlns:a16="http://schemas.microsoft.com/office/drawing/2014/main" id="{CA2ECF39-92FF-5A60-303D-DFCBC495B7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60359" y="4026142"/>
              <a:ext cx="274759" cy="499700"/>
            </a:xfrm>
            <a:custGeom>
              <a:avLst/>
              <a:gdLst/>
              <a:ahLst/>
              <a:cxnLst>
                <a:cxn ang="0">
                  <a:pos x="18" y="159"/>
                </a:cxn>
                <a:cxn ang="0">
                  <a:pos x="26" y="157"/>
                </a:cxn>
                <a:cxn ang="0">
                  <a:pos x="31" y="157"/>
                </a:cxn>
                <a:cxn ang="0">
                  <a:pos x="46" y="151"/>
                </a:cxn>
                <a:cxn ang="0">
                  <a:pos x="46" y="145"/>
                </a:cxn>
                <a:cxn ang="0">
                  <a:pos x="62" y="138"/>
                </a:cxn>
                <a:cxn ang="0">
                  <a:pos x="67" y="129"/>
                </a:cxn>
                <a:cxn ang="0">
                  <a:pos x="77" y="126"/>
                </a:cxn>
                <a:cxn ang="0">
                  <a:pos x="74" y="118"/>
                </a:cxn>
                <a:cxn ang="0">
                  <a:pos x="73" y="110"/>
                </a:cxn>
                <a:cxn ang="0">
                  <a:pos x="68" y="109"/>
                </a:cxn>
                <a:cxn ang="0">
                  <a:pos x="71" y="100"/>
                </a:cxn>
                <a:cxn ang="0">
                  <a:pos x="73" y="92"/>
                </a:cxn>
                <a:cxn ang="0">
                  <a:pos x="76" y="87"/>
                </a:cxn>
                <a:cxn ang="0">
                  <a:pos x="77" y="82"/>
                </a:cxn>
                <a:cxn ang="0">
                  <a:pos x="84" y="78"/>
                </a:cxn>
                <a:cxn ang="0">
                  <a:pos x="85" y="76"/>
                </a:cxn>
                <a:cxn ang="0">
                  <a:pos x="85" y="40"/>
                </a:cxn>
                <a:cxn ang="0">
                  <a:pos x="23" y="0"/>
                </a:cxn>
                <a:cxn ang="0">
                  <a:pos x="14" y="5"/>
                </a:cxn>
                <a:cxn ang="0">
                  <a:pos x="18" y="27"/>
                </a:cxn>
                <a:cxn ang="0">
                  <a:pos x="20" y="44"/>
                </a:cxn>
                <a:cxn ang="0">
                  <a:pos x="17" y="68"/>
                </a:cxn>
                <a:cxn ang="0">
                  <a:pos x="3" y="98"/>
                </a:cxn>
                <a:cxn ang="0">
                  <a:pos x="8" y="104"/>
                </a:cxn>
                <a:cxn ang="0">
                  <a:pos x="12" y="107"/>
                </a:cxn>
                <a:cxn ang="0">
                  <a:pos x="14" y="114"/>
                </a:cxn>
                <a:cxn ang="0">
                  <a:pos x="20" y="134"/>
                </a:cxn>
                <a:cxn ang="0">
                  <a:pos x="11" y="135"/>
                </a:cxn>
                <a:cxn ang="0">
                  <a:pos x="8" y="140"/>
                </a:cxn>
                <a:cxn ang="0">
                  <a:pos x="17" y="152"/>
                </a:cxn>
                <a:cxn ang="0">
                  <a:pos x="18" y="159"/>
                </a:cxn>
              </a:cxnLst>
              <a:rect l="0" t="0" r="r" b="b"/>
              <a:pathLst>
                <a:path w="88" h="160">
                  <a:moveTo>
                    <a:pt x="18" y="159"/>
                  </a:moveTo>
                  <a:cubicBezTo>
                    <a:pt x="21" y="160"/>
                    <a:pt x="24" y="159"/>
                    <a:pt x="26" y="157"/>
                  </a:cubicBezTo>
                  <a:cubicBezTo>
                    <a:pt x="27" y="154"/>
                    <a:pt x="27" y="160"/>
                    <a:pt x="31" y="157"/>
                  </a:cubicBezTo>
                  <a:cubicBezTo>
                    <a:pt x="37" y="152"/>
                    <a:pt x="41" y="157"/>
                    <a:pt x="46" y="151"/>
                  </a:cubicBezTo>
                  <a:cubicBezTo>
                    <a:pt x="49" y="146"/>
                    <a:pt x="44" y="146"/>
                    <a:pt x="46" y="145"/>
                  </a:cubicBezTo>
                  <a:cubicBezTo>
                    <a:pt x="47" y="143"/>
                    <a:pt x="56" y="146"/>
                    <a:pt x="62" y="138"/>
                  </a:cubicBezTo>
                  <a:cubicBezTo>
                    <a:pt x="67" y="131"/>
                    <a:pt x="68" y="134"/>
                    <a:pt x="67" y="129"/>
                  </a:cubicBezTo>
                  <a:cubicBezTo>
                    <a:pt x="67" y="128"/>
                    <a:pt x="74" y="124"/>
                    <a:pt x="77" y="126"/>
                  </a:cubicBezTo>
                  <a:cubicBezTo>
                    <a:pt x="79" y="120"/>
                    <a:pt x="74" y="123"/>
                    <a:pt x="74" y="118"/>
                  </a:cubicBezTo>
                  <a:cubicBezTo>
                    <a:pt x="74" y="114"/>
                    <a:pt x="73" y="115"/>
                    <a:pt x="73" y="110"/>
                  </a:cubicBezTo>
                  <a:cubicBezTo>
                    <a:pt x="73" y="106"/>
                    <a:pt x="70" y="110"/>
                    <a:pt x="68" y="109"/>
                  </a:cubicBezTo>
                  <a:cubicBezTo>
                    <a:pt x="67" y="104"/>
                    <a:pt x="74" y="104"/>
                    <a:pt x="71" y="100"/>
                  </a:cubicBezTo>
                  <a:cubicBezTo>
                    <a:pt x="68" y="95"/>
                    <a:pt x="76" y="96"/>
                    <a:pt x="73" y="92"/>
                  </a:cubicBezTo>
                  <a:cubicBezTo>
                    <a:pt x="71" y="87"/>
                    <a:pt x="76" y="92"/>
                    <a:pt x="76" y="87"/>
                  </a:cubicBezTo>
                  <a:cubicBezTo>
                    <a:pt x="74" y="84"/>
                    <a:pt x="77" y="87"/>
                    <a:pt x="77" y="82"/>
                  </a:cubicBezTo>
                  <a:cubicBezTo>
                    <a:pt x="77" y="78"/>
                    <a:pt x="81" y="78"/>
                    <a:pt x="84" y="78"/>
                  </a:cubicBezTo>
                  <a:cubicBezTo>
                    <a:pt x="88" y="79"/>
                    <a:pt x="85" y="76"/>
                    <a:pt x="85" y="76"/>
                  </a:cubicBezTo>
                  <a:cubicBezTo>
                    <a:pt x="85" y="40"/>
                    <a:pt x="85" y="40"/>
                    <a:pt x="85" y="40"/>
                  </a:cubicBezTo>
                  <a:cubicBezTo>
                    <a:pt x="85" y="40"/>
                    <a:pt x="44" y="13"/>
                    <a:pt x="23" y="0"/>
                  </a:cubicBezTo>
                  <a:cubicBezTo>
                    <a:pt x="21" y="0"/>
                    <a:pt x="17" y="3"/>
                    <a:pt x="14" y="5"/>
                  </a:cubicBezTo>
                  <a:cubicBezTo>
                    <a:pt x="18" y="14"/>
                    <a:pt x="14" y="17"/>
                    <a:pt x="18" y="27"/>
                  </a:cubicBezTo>
                  <a:cubicBezTo>
                    <a:pt x="24" y="37"/>
                    <a:pt x="20" y="33"/>
                    <a:pt x="20" y="44"/>
                  </a:cubicBezTo>
                  <a:cubicBezTo>
                    <a:pt x="20" y="53"/>
                    <a:pt x="18" y="67"/>
                    <a:pt x="17" y="68"/>
                  </a:cubicBezTo>
                  <a:cubicBezTo>
                    <a:pt x="15" y="70"/>
                    <a:pt x="0" y="89"/>
                    <a:pt x="3" y="98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17" y="104"/>
                    <a:pt x="8" y="106"/>
                    <a:pt x="12" y="107"/>
                  </a:cubicBezTo>
                  <a:cubicBezTo>
                    <a:pt x="15" y="109"/>
                    <a:pt x="12" y="114"/>
                    <a:pt x="14" y="114"/>
                  </a:cubicBezTo>
                  <a:cubicBezTo>
                    <a:pt x="17" y="115"/>
                    <a:pt x="12" y="129"/>
                    <a:pt x="20" y="134"/>
                  </a:cubicBezTo>
                  <a:cubicBezTo>
                    <a:pt x="15" y="137"/>
                    <a:pt x="12" y="135"/>
                    <a:pt x="11" y="135"/>
                  </a:cubicBezTo>
                  <a:cubicBezTo>
                    <a:pt x="8" y="134"/>
                    <a:pt x="6" y="138"/>
                    <a:pt x="8" y="140"/>
                  </a:cubicBezTo>
                  <a:cubicBezTo>
                    <a:pt x="14" y="149"/>
                    <a:pt x="17" y="148"/>
                    <a:pt x="17" y="152"/>
                  </a:cubicBezTo>
                  <a:cubicBezTo>
                    <a:pt x="18" y="159"/>
                    <a:pt x="20" y="156"/>
                    <a:pt x="18" y="159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94" name="Freeform 110">
              <a:extLst>
                <a:ext uri="{FF2B5EF4-FFF2-40B4-BE49-F238E27FC236}">
                  <a16:creationId xmlns:a16="http://schemas.microsoft.com/office/drawing/2014/main" id="{92EDF7E6-AF02-A587-42D0-1762ABB479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35789" y="4026142"/>
              <a:ext cx="403302" cy="367946"/>
            </a:xfrm>
            <a:custGeom>
              <a:avLst/>
              <a:gdLst/>
              <a:ahLst/>
              <a:cxnLst>
                <a:cxn ang="0">
                  <a:pos x="32" y="44"/>
                </a:cxn>
                <a:cxn ang="0">
                  <a:pos x="32" y="72"/>
                </a:cxn>
                <a:cxn ang="0">
                  <a:pos x="29" y="79"/>
                </a:cxn>
                <a:cxn ang="0">
                  <a:pos x="26" y="81"/>
                </a:cxn>
                <a:cxn ang="0">
                  <a:pos x="14" y="82"/>
                </a:cxn>
                <a:cxn ang="0">
                  <a:pos x="2" y="86"/>
                </a:cxn>
                <a:cxn ang="0">
                  <a:pos x="3" y="95"/>
                </a:cxn>
                <a:cxn ang="0">
                  <a:pos x="6" y="100"/>
                </a:cxn>
                <a:cxn ang="0">
                  <a:pos x="8" y="101"/>
                </a:cxn>
                <a:cxn ang="0">
                  <a:pos x="8" y="104"/>
                </a:cxn>
                <a:cxn ang="0">
                  <a:pos x="14" y="109"/>
                </a:cxn>
                <a:cxn ang="0">
                  <a:pos x="17" y="112"/>
                </a:cxn>
                <a:cxn ang="0">
                  <a:pos x="19" y="117"/>
                </a:cxn>
                <a:cxn ang="0">
                  <a:pos x="20" y="112"/>
                </a:cxn>
                <a:cxn ang="0">
                  <a:pos x="23" y="112"/>
                </a:cxn>
                <a:cxn ang="0">
                  <a:pos x="28" y="118"/>
                </a:cxn>
                <a:cxn ang="0">
                  <a:pos x="31" y="109"/>
                </a:cxn>
                <a:cxn ang="0">
                  <a:pos x="32" y="100"/>
                </a:cxn>
                <a:cxn ang="0">
                  <a:pos x="40" y="98"/>
                </a:cxn>
                <a:cxn ang="0">
                  <a:pos x="45" y="96"/>
                </a:cxn>
                <a:cxn ang="0">
                  <a:pos x="52" y="103"/>
                </a:cxn>
                <a:cxn ang="0">
                  <a:pos x="63" y="101"/>
                </a:cxn>
                <a:cxn ang="0">
                  <a:pos x="72" y="107"/>
                </a:cxn>
                <a:cxn ang="0">
                  <a:pos x="84" y="101"/>
                </a:cxn>
                <a:cxn ang="0">
                  <a:pos x="100" y="103"/>
                </a:cxn>
                <a:cxn ang="0">
                  <a:pos x="107" y="98"/>
                </a:cxn>
                <a:cxn ang="0">
                  <a:pos x="121" y="68"/>
                </a:cxn>
                <a:cxn ang="0">
                  <a:pos x="124" y="44"/>
                </a:cxn>
                <a:cxn ang="0">
                  <a:pos x="123" y="27"/>
                </a:cxn>
                <a:cxn ang="0">
                  <a:pos x="118" y="5"/>
                </a:cxn>
                <a:cxn ang="0">
                  <a:pos x="110" y="6"/>
                </a:cxn>
                <a:cxn ang="0">
                  <a:pos x="95" y="0"/>
                </a:cxn>
                <a:cxn ang="0">
                  <a:pos x="60" y="27"/>
                </a:cxn>
                <a:cxn ang="0">
                  <a:pos x="32" y="44"/>
                </a:cxn>
              </a:cxnLst>
              <a:rect l="0" t="0" r="r" b="b"/>
              <a:pathLst>
                <a:path w="129" h="118">
                  <a:moveTo>
                    <a:pt x="32" y="44"/>
                  </a:moveTo>
                  <a:cubicBezTo>
                    <a:pt x="32" y="44"/>
                    <a:pt x="34" y="70"/>
                    <a:pt x="32" y="72"/>
                  </a:cubicBezTo>
                  <a:cubicBezTo>
                    <a:pt x="31" y="75"/>
                    <a:pt x="32" y="79"/>
                    <a:pt x="29" y="79"/>
                  </a:cubicBezTo>
                  <a:cubicBezTo>
                    <a:pt x="26" y="79"/>
                    <a:pt x="28" y="82"/>
                    <a:pt x="26" y="81"/>
                  </a:cubicBezTo>
                  <a:cubicBezTo>
                    <a:pt x="25" y="81"/>
                    <a:pt x="23" y="82"/>
                    <a:pt x="14" y="82"/>
                  </a:cubicBezTo>
                  <a:cubicBezTo>
                    <a:pt x="6" y="82"/>
                    <a:pt x="11" y="87"/>
                    <a:pt x="2" y="86"/>
                  </a:cubicBezTo>
                  <a:cubicBezTo>
                    <a:pt x="0" y="92"/>
                    <a:pt x="2" y="89"/>
                    <a:pt x="3" y="95"/>
                  </a:cubicBezTo>
                  <a:cubicBezTo>
                    <a:pt x="3" y="100"/>
                    <a:pt x="5" y="96"/>
                    <a:pt x="6" y="100"/>
                  </a:cubicBezTo>
                  <a:cubicBezTo>
                    <a:pt x="9" y="101"/>
                    <a:pt x="9" y="103"/>
                    <a:pt x="8" y="101"/>
                  </a:cubicBezTo>
                  <a:cubicBezTo>
                    <a:pt x="6" y="101"/>
                    <a:pt x="6" y="104"/>
                    <a:pt x="8" y="104"/>
                  </a:cubicBezTo>
                  <a:cubicBezTo>
                    <a:pt x="9" y="106"/>
                    <a:pt x="12" y="110"/>
                    <a:pt x="14" y="109"/>
                  </a:cubicBezTo>
                  <a:cubicBezTo>
                    <a:pt x="16" y="106"/>
                    <a:pt x="19" y="110"/>
                    <a:pt x="17" y="112"/>
                  </a:cubicBezTo>
                  <a:cubicBezTo>
                    <a:pt x="16" y="112"/>
                    <a:pt x="17" y="114"/>
                    <a:pt x="19" y="117"/>
                  </a:cubicBezTo>
                  <a:cubicBezTo>
                    <a:pt x="20" y="114"/>
                    <a:pt x="17" y="112"/>
                    <a:pt x="20" y="112"/>
                  </a:cubicBezTo>
                  <a:cubicBezTo>
                    <a:pt x="22" y="112"/>
                    <a:pt x="20" y="109"/>
                    <a:pt x="23" y="112"/>
                  </a:cubicBezTo>
                  <a:cubicBezTo>
                    <a:pt x="26" y="115"/>
                    <a:pt x="26" y="115"/>
                    <a:pt x="28" y="118"/>
                  </a:cubicBezTo>
                  <a:cubicBezTo>
                    <a:pt x="29" y="115"/>
                    <a:pt x="26" y="110"/>
                    <a:pt x="31" y="109"/>
                  </a:cubicBezTo>
                  <a:cubicBezTo>
                    <a:pt x="34" y="106"/>
                    <a:pt x="31" y="103"/>
                    <a:pt x="32" y="100"/>
                  </a:cubicBezTo>
                  <a:cubicBezTo>
                    <a:pt x="35" y="98"/>
                    <a:pt x="35" y="98"/>
                    <a:pt x="40" y="98"/>
                  </a:cubicBezTo>
                  <a:cubicBezTo>
                    <a:pt x="43" y="98"/>
                    <a:pt x="42" y="95"/>
                    <a:pt x="45" y="96"/>
                  </a:cubicBezTo>
                  <a:cubicBezTo>
                    <a:pt x="48" y="98"/>
                    <a:pt x="51" y="96"/>
                    <a:pt x="52" y="103"/>
                  </a:cubicBezTo>
                  <a:cubicBezTo>
                    <a:pt x="55" y="109"/>
                    <a:pt x="60" y="101"/>
                    <a:pt x="63" y="101"/>
                  </a:cubicBezTo>
                  <a:cubicBezTo>
                    <a:pt x="64" y="101"/>
                    <a:pt x="68" y="106"/>
                    <a:pt x="72" y="107"/>
                  </a:cubicBezTo>
                  <a:cubicBezTo>
                    <a:pt x="78" y="107"/>
                    <a:pt x="77" y="103"/>
                    <a:pt x="84" y="101"/>
                  </a:cubicBezTo>
                  <a:cubicBezTo>
                    <a:pt x="94" y="100"/>
                    <a:pt x="98" y="107"/>
                    <a:pt x="100" y="103"/>
                  </a:cubicBezTo>
                  <a:cubicBezTo>
                    <a:pt x="101" y="98"/>
                    <a:pt x="103" y="101"/>
                    <a:pt x="107" y="98"/>
                  </a:cubicBezTo>
                  <a:cubicBezTo>
                    <a:pt x="104" y="89"/>
                    <a:pt x="119" y="70"/>
                    <a:pt x="121" y="68"/>
                  </a:cubicBezTo>
                  <a:cubicBezTo>
                    <a:pt x="123" y="67"/>
                    <a:pt x="124" y="53"/>
                    <a:pt x="124" y="44"/>
                  </a:cubicBezTo>
                  <a:cubicBezTo>
                    <a:pt x="124" y="33"/>
                    <a:pt x="129" y="37"/>
                    <a:pt x="123" y="27"/>
                  </a:cubicBezTo>
                  <a:cubicBezTo>
                    <a:pt x="118" y="17"/>
                    <a:pt x="123" y="14"/>
                    <a:pt x="118" y="5"/>
                  </a:cubicBezTo>
                  <a:cubicBezTo>
                    <a:pt x="112" y="9"/>
                    <a:pt x="113" y="11"/>
                    <a:pt x="110" y="6"/>
                  </a:cubicBezTo>
                  <a:cubicBezTo>
                    <a:pt x="107" y="2"/>
                    <a:pt x="98" y="3"/>
                    <a:pt x="95" y="0"/>
                  </a:cubicBezTo>
                  <a:cubicBezTo>
                    <a:pt x="90" y="3"/>
                    <a:pt x="69" y="19"/>
                    <a:pt x="60" y="27"/>
                  </a:cubicBezTo>
                  <a:cubicBezTo>
                    <a:pt x="51" y="33"/>
                    <a:pt x="54" y="44"/>
                    <a:pt x="32" y="44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95" name="Freeform 111">
              <a:extLst>
                <a:ext uri="{FF2B5EF4-FFF2-40B4-BE49-F238E27FC236}">
                  <a16:creationId xmlns:a16="http://schemas.microsoft.com/office/drawing/2014/main" id="{3394C964-D006-42D7-6611-0DE540916F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27287" y="3976333"/>
              <a:ext cx="414549" cy="477205"/>
            </a:xfrm>
            <a:custGeom>
              <a:avLst/>
              <a:gdLst/>
              <a:ahLst/>
              <a:cxnLst>
                <a:cxn ang="0">
                  <a:pos x="101" y="101"/>
                </a:cxn>
                <a:cxn ang="0">
                  <a:pos x="113" y="98"/>
                </a:cxn>
                <a:cxn ang="0">
                  <a:pos x="126" y="97"/>
                </a:cxn>
                <a:cxn ang="0">
                  <a:pos x="129" y="95"/>
                </a:cxn>
                <a:cxn ang="0">
                  <a:pos x="132" y="87"/>
                </a:cxn>
                <a:cxn ang="0">
                  <a:pos x="132" y="59"/>
                </a:cxn>
                <a:cxn ang="0">
                  <a:pos x="124" y="59"/>
                </a:cxn>
                <a:cxn ang="0">
                  <a:pos x="121" y="51"/>
                </a:cxn>
                <a:cxn ang="0">
                  <a:pos x="115" y="48"/>
                </a:cxn>
                <a:cxn ang="0">
                  <a:pos x="110" y="44"/>
                </a:cxn>
                <a:cxn ang="0">
                  <a:pos x="107" y="39"/>
                </a:cxn>
                <a:cxn ang="0">
                  <a:pos x="61" y="0"/>
                </a:cxn>
                <a:cxn ang="0">
                  <a:pos x="46" y="0"/>
                </a:cxn>
                <a:cxn ang="0">
                  <a:pos x="54" y="86"/>
                </a:cxn>
                <a:cxn ang="0">
                  <a:pos x="55" y="97"/>
                </a:cxn>
                <a:cxn ang="0">
                  <a:pos x="26" y="97"/>
                </a:cxn>
                <a:cxn ang="0">
                  <a:pos x="23" y="97"/>
                </a:cxn>
                <a:cxn ang="0">
                  <a:pos x="16" y="97"/>
                </a:cxn>
                <a:cxn ang="0">
                  <a:pos x="11" y="100"/>
                </a:cxn>
                <a:cxn ang="0">
                  <a:pos x="5" y="97"/>
                </a:cxn>
                <a:cxn ang="0">
                  <a:pos x="2" y="104"/>
                </a:cxn>
                <a:cxn ang="0">
                  <a:pos x="3" y="111"/>
                </a:cxn>
                <a:cxn ang="0">
                  <a:pos x="3" y="115"/>
                </a:cxn>
                <a:cxn ang="0">
                  <a:pos x="8" y="120"/>
                </a:cxn>
                <a:cxn ang="0">
                  <a:pos x="8" y="126"/>
                </a:cxn>
                <a:cxn ang="0">
                  <a:pos x="11" y="129"/>
                </a:cxn>
                <a:cxn ang="0">
                  <a:pos x="13" y="131"/>
                </a:cxn>
                <a:cxn ang="0">
                  <a:pos x="20" y="129"/>
                </a:cxn>
                <a:cxn ang="0">
                  <a:pos x="23" y="128"/>
                </a:cxn>
                <a:cxn ang="0">
                  <a:pos x="26" y="126"/>
                </a:cxn>
                <a:cxn ang="0">
                  <a:pos x="28" y="131"/>
                </a:cxn>
                <a:cxn ang="0">
                  <a:pos x="29" y="134"/>
                </a:cxn>
                <a:cxn ang="0">
                  <a:pos x="31" y="137"/>
                </a:cxn>
                <a:cxn ang="0">
                  <a:pos x="31" y="140"/>
                </a:cxn>
                <a:cxn ang="0">
                  <a:pos x="32" y="145"/>
                </a:cxn>
                <a:cxn ang="0">
                  <a:pos x="35" y="150"/>
                </a:cxn>
                <a:cxn ang="0">
                  <a:pos x="45" y="148"/>
                </a:cxn>
                <a:cxn ang="0">
                  <a:pos x="49" y="146"/>
                </a:cxn>
                <a:cxn ang="0">
                  <a:pos x="55" y="146"/>
                </a:cxn>
                <a:cxn ang="0">
                  <a:pos x="55" y="140"/>
                </a:cxn>
                <a:cxn ang="0">
                  <a:pos x="57" y="132"/>
                </a:cxn>
                <a:cxn ang="0">
                  <a:pos x="63" y="129"/>
                </a:cxn>
                <a:cxn ang="0">
                  <a:pos x="63" y="125"/>
                </a:cxn>
                <a:cxn ang="0">
                  <a:pos x="66" y="122"/>
                </a:cxn>
                <a:cxn ang="0">
                  <a:pos x="66" y="117"/>
                </a:cxn>
                <a:cxn ang="0">
                  <a:pos x="69" y="118"/>
                </a:cxn>
                <a:cxn ang="0">
                  <a:pos x="72" y="115"/>
                </a:cxn>
                <a:cxn ang="0">
                  <a:pos x="77" y="114"/>
                </a:cxn>
                <a:cxn ang="0">
                  <a:pos x="81" y="109"/>
                </a:cxn>
                <a:cxn ang="0">
                  <a:pos x="86" y="104"/>
                </a:cxn>
                <a:cxn ang="0">
                  <a:pos x="95" y="100"/>
                </a:cxn>
                <a:cxn ang="0">
                  <a:pos x="98" y="101"/>
                </a:cxn>
                <a:cxn ang="0">
                  <a:pos x="101" y="101"/>
                </a:cxn>
              </a:cxnLst>
              <a:rect l="0" t="0" r="r" b="b"/>
              <a:pathLst>
                <a:path w="133" h="153">
                  <a:moveTo>
                    <a:pt x="101" y="101"/>
                  </a:moveTo>
                  <a:cubicBezTo>
                    <a:pt x="110" y="103"/>
                    <a:pt x="106" y="98"/>
                    <a:pt x="113" y="98"/>
                  </a:cubicBezTo>
                  <a:cubicBezTo>
                    <a:pt x="123" y="98"/>
                    <a:pt x="124" y="97"/>
                    <a:pt x="126" y="97"/>
                  </a:cubicBezTo>
                  <a:cubicBezTo>
                    <a:pt x="127" y="98"/>
                    <a:pt x="126" y="95"/>
                    <a:pt x="129" y="95"/>
                  </a:cubicBezTo>
                  <a:cubicBezTo>
                    <a:pt x="132" y="95"/>
                    <a:pt x="130" y="90"/>
                    <a:pt x="132" y="87"/>
                  </a:cubicBezTo>
                  <a:cubicBezTo>
                    <a:pt x="133" y="86"/>
                    <a:pt x="132" y="59"/>
                    <a:pt x="132" y="59"/>
                  </a:cubicBezTo>
                  <a:cubicBezTo>
                    <a:pt x="124" y="62"/>
                    <a:pt x="123" y="61"/>
                    <a:pt x="124" y="59"/>
                  </a:cubicBezTo>
                  <a:cubicBezTo>
                    <a:pt x="126" y="56"/>
                    <a:pt x="126" y="51"/>
                    <a:pt x="121" y="51"/>
                  </a:cubicBezTo>
                  <a:cubicBezTo>
                    <a:pt x="116" y="51"/>
                    <a:pt x="120" y="48"/>
                    <a:pt x="115" y="48"/>
                  </a:cubicBezTo>
                  <a:cubicBezTo>
                    <a:pt x="112" y="50"/>
                    <a:pt x="113" y="45"/>
                    <a:pt x="110" y="44"/>
                  </a:cubicBezTo>
                  <a:cubicBezTo>
                    <a:pt x="107" y="42"/>
                    <a:pt x="110" y="42"/>
                    <a:pt x="107" y="39"/>
                  </a:cubicBezTo>
                  <a:cubicBezTo>
                    <a:pt x="106" y="37"/>
                    <a:pt x="61" y="0"/>
                    <a:pt x="61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54" y="81"/>
                    <a:pt x="54" y="86"/>
                  </a:cubicBezTo>
                  <a:cubicBezTo>
                    <a:pt x="55" y="90"/>
                    <a:pt x="58" y="83"/>
                    <a:pt x="55" y="97"/>
                  </a:cubicBezTo>
                  <a:cubicBezTo>
                    <a:pt x="55" y="97"/>
                    <a:pt x="31" y="97"/>
                    <a:pt x="26" y="97"/>
                  </a:cubicBezTo>
                  <a:cubicBezTo>
                    <a:pt x="23" y="97"/>
                    <a:pt x="25" y="93"/>
                    <a:pt x="23" y="97"/>
                  </a:cubicBezTo>
                  <a:cubicBezTo>
                    <a:pt x="23" y="98"/>
                    <a:pt x="19" y="98"/>
                    <a:pt x="16" y="97"/>
                  </a:cubicBezTo>
                  <a:cubicBezTo>
                    <a:pt x="11" y="95"/>
                    <a:pt x="13" y="103"/>
                    <a:pt x="11" y="100"/>
                  </a:cubicBezTo>
                  <a:cubicBezTo>
                    <a:pt x="10" y="97"/>
                    <a:pt x="8" y="92"/>
                    <a:pt x="5" y="97"/>
                  </a:cubicBezTo>
                  <a:cubicBezTo>
                    <a:pt x="2" y="101"/>
                    <a:pt x="8" y="101"/>
                    <a:pt x="2" y="104"/>
                  </a:cubicBezTo>
                  <a:cubicBezTo>
                    <a:pt x="0" y="109"/>
                    <a:pt x="3" y="106"/>
                    <a:pt x="3" y="111"/>
                  </a:cubicBezTo>
                  <a:cubicBezTo>
                    <a:pt x="3" y="115"/>
                    <a:pt x="2" y="112"/>
                    <a:pt x="3" y="115"/>
                  </a:cubicBezTo>
                  <a:cubicBezTo>
                    <a:pt x="5" y="120"/>
                    <a:pt x="5" y="115"/>
                    <a:pt x="8" y="120"/>
                  </a:cubicBezTo>
                  <a:cubicBezTo>
                    <a:pt x="10" y="123"/>
                    <a:pt x="8" y="123"/>
                    <a:pt x="8" y="126"/>
                  </a:cubicBezTo>
                  <a:cubicBezTo>
                    <a:pt x="6" y="131"/>
                    <a:pt x="10" y="132"/>
                    <a:pt x="11" y="129"/>
                  </a:cubicBezTo>
                  <a:cubicBezTo>
                    <a:pt x="11" y="128"/>
                    <a:pt x="13" y="129"/>
                    <a:pt x="13" y="131"/>
                  </a:cubicBezTo>
                  <a:cubicBezTo>
                    <a:pt x="16" y="134"/>
                    <a:pt x="14" y="126"/>
                    <a:pt x="20" y="129"/>
                  </a:cubicBezTo>
                  <a:cubicBezTo>
                    <a:pt x="23" y="132"/>
                    <a:pt x="22" y="129"/>
                    <a:pt x="23" y="128"/>
                  </a:cubicBezTo>
                  <a:cubicBezTo>
                    <a:pt x="26" y="128"/>
                    <a:pt x="22" y="125"/>
                    <a:pt x="26" y="126"/>
                  </a:cubicBezTo>
                  <a:cubicBezTo>
                    <a:pt x="29" y="128"/>
                    <a:pt x="28" y="129"/>
                    <a:pt x="28" y="131"/>
                  </a:cubicBezTo>
                  <a:cubicBezTo>
                    <a:pt x="29" y="131"/>
                    <a:pt x="28" y="134"/>
                    <a:pt x="29" y="134"/>
                  </a:cubicBezTo>
                  <a:cubicBezTo>
                    <a:pt x="31" y="134"/>
                    <a:pt x="34" y="137"/>
                    <a:pt x="31" y="137"/>
                  </a:cubicBezTo>
                  <a:cubicBezTo>
                    <a:pt x="29" y="139"/>
                    <a:pt x="29" y="143"/>
                    <a:pt x="31" y="140"/>
                  </a:cubicBezTo>
                  <a:cubicBezTo>
                    <a:pt x="32" y="139"/>
                    <a:pt x="34" y="140"/>
                    <a:pt x="32" y="145"/>
                  </a:cubicBezTo>
                  <a:cubicBezTo>
                    <a:pt x="32" y="148"/>
                    <a:pt x="34" y="145"/>
                    <a:pt x="35" y="150"/>
                  </a:cubicBezTo>
                  <a:cubicBezTo>
                    <a:pt x="42" y="142"/>
                    <a:pt x="40" y="153"/>
                    <a:pt x="45" y="148"/>
                  </a:cubicBezTo>
                  <a:cubicBezTo>
                    <a:pt x="48" y="143"/>
                    <a:pt x="49" y="140"/>
                    <a:pt x="49" y="146"/>
                  </a:cubicBezTo>
                  <a:cubicBezTo>
                    <a:pt x="49" y="151"/>
                    <a:pt x="52" y="146"/>
                    <a:pt x="55" y="146"/>
                  </a:cubicBezTo>
                  <a:cubicBezTo>
                    <a:pt x="57" y="142"/>
                    <a:pt x="54" y="140"/>
                    <a:pt x="55" y="140"/>
                  </a:cubicBezTo>
                  <a:cubicBezTo>
                    <a:pt x="57" y="139"/>
                    <a:pt x="57" y="134"/>
                    <a:pt x="57" y="132"/>
                  </a:cubicBezTo>
                  <a:cubicBezTo>
                    <a:pt x="55" y="131"/>
                    <a:pt x="61" y="132"/>
                    <a:pt x="63" y="129"/>
                  </a:cubicBezTo>
                  <a:cubicBezTo>
                    <a:pt x="65" y="126"/>
                    <a:pt x="65" y="126"/>
                    <a:pt x="63" y="125"/>
                  </a:cubicBezTo>
                  <a:cubicBezTo>
                    <a:pt x="63" y="123"/>
                    <a:pt x="68" y="125"/>
                    <a:pt x="66" y="122"/>
                  </a:cubicBezTo>
                  <a:cubicBezTo>
                    <a:pt x="65" y="120"/>
                    <a:pt x="65" y="118"/>
                    <a:pt x="66" y="117"/>
                  </a:cubicBezTo>
                  <a:cubicBezTo>
                    <a:pt x="68" y="115"/>
                    <a:pt x="66" y="118"/>
                    <a:pt x="69" y="118"/>
                  </a:cubicBezTo>
                  <a:cubicBezTo>
                    <a:pt x="72" y="120"/>
                    <a:pt x="72" y="117"/>
                    <a:pt x="72" y="115"/>
                  </a:cubicBezTo>
                  <a:cubicBezTo>
                    <a:pt x="72" y="112"/>
                    <a:pt x="77" y="117"/>
                    <a:pt x="77" y="114"/>
                  </a:cubicBezTo>
                  <a:cubicBezTo>
                    <a:pt x="77" y="109"/>
                    <a:pt x="78" y="108"/>
                    <a:pt x="81" y="109"/>
                  </a:cubicBezTo>
                  <a:cubicBezTo>
                    <a:pt x="84" y="111"/>
                    <a:pt x="81" y="106"/>
                    <a:pt x="86" y="104"/>
                  </a:cubicBezTo>
                  <a:cubicBezTo>
                    <a:pt x="95" y="101"/>
                    <a:pt x="92" y="98"/>
                    <a:pt x="95" y="100"/>
                  </a:cubicBezTo>
                  <a:cubicBezTo>
                    <a:pt x="97" y="101"/>
                    <a:pt x="97" y="100"/>
                    <a:pt x="98" y="101"/>
                  </a:cubicBezTo>
                  <a:cubicBezTo>
                    <a:pt x="100" y="101"/>
                    <a:pt x="100" y="101"/>
                    <a:pt x="101" y="101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96" name="Freeform 112">
              <a:extLst>
                <a:ext uri="{FF2B5EF4-FFF2-40B4-BE49-F238E27FC236}">
                  <a16:creationId xmlns:a16="http://schemas.microsoft.com/office/drawing/2014/main" id="{0D6E7618-F690-E19E-4EC9-0E30954A0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09992" y="3905635"/>
              <a:ext cx="308502" cy="398474"/>
            </a:xfrm>
            <a:custGeom>
              <a:avLst/>
              <a:gdLst/>
              <a:ahLst/>
              <a:cxnLst>
                <a:cxn ang="0">
                  <a:pos x="7" y="112"/>
                </a:cxn>
                <a:cxn ang="0">
                  <a:pos x="22" y="109"/>
                </a:cxn>
                <a:cxn ang="0">
                  <a:pos x="29" y="114"/>
                </a:cxn>
                <a:cxn ang="0">
                  <a:pos x="40" y="128"/>
                </a:cxn>
                <a:cxn ang="0">
                  <a:pos x="43" y="120"/>
                </a:cxn>
                <a:cxn ang="0">
                  <a:pos x="49" y="123"/>
                </a:cxn>
                <a:cxn ang="0">
                  <a:pos x="54" y="120"/>
                </a:cxn>
                <a:cxn ang="0">
                  <a:pos x="61" y="120"/>
                </a:cxn>
                <a:cxn ang="0">
                  <a:pos x="64" y="120"/>
                </a:cxn>
                <a:cxn ang="0">
                  <a:pos x="93" y="120"/>
                </a:cxn>
                <a:cxn ang="0">
                  <a:pos x="92" y="109"/>
                </a:cxn>
                <a:cxn ang="0">
                  <a:pos x="84" y="23"/>
                </a:cxn>
                <a:cxn ang="0">
                  <a:pos x="99" y="23"/>
                </a:cxn>
                <a:cxn ang="0">
                  <a:pos x="67" y="0"/>
                </a:cxn>
                <a:cxn ang="0">
                  <a:pos x="67" y="14"/>
                </a:cxn>
                <a:cxn ang="0">
                  <a:pos x="42" y="14"/>
                </a:cxn>
                <a:cxn ang="0">
                  <a:pos x="42" y="39"/>
                </a:cxn>
                <a:cxn ang="0">
                  <a:pos x="34" y="61"/>
                </a:cxn>
                <a:cxn ang="0">
                  <a:pos x="3" y="61"/>
                </a:cxn>
                <a:cxn ang="0">
                  <a:pos x="2" y="67"/>
                </a:cxn>
                <a:cxn ang="0">
                  <a:pos x="3" y="64"/>
                </a:cxn>
                <a:cxn ang="0">
                  <a:pos x="5" y="69"/>
                </a:cxn>
                <a:cxn ang="0">
                  <a:pos x="8" y="75"/>
                </a:cxn>
                <a:cxn ang="0">
                  <a:pos x="7" y="81"/>
                </a:cxn>
                <a:cxn ang="0">
                  <a:pos x="8" y="101"/>
                </a:cxn>
                <a:cxn ang="0">
                  <a:pos x="7" y="112"/>
                </a:cxn>
              </a:cxnLst>
              <a:rect l="0" t="0" r="r" b="b"/>
              <a:pathLst>
                <a:path w="99" h="128">
                  <a:moveTo>
                    <a:pt x="7" y="112"/>
                  </a:moveTo>
                  <a:cubicBezTo>
                    <a:pt x="7" y="107"/>
                    <a:pt x="17" y="109"/>
                    <a:pt x="22" y="109"/>
                  </a:cubicBezTo>
                  <a:cubicBezTo>
                    <a:pt x="25" y="107"/>
                    <a:pt x="28" y="112"/>
                    <a:pt x="29" y="114"/>
                  </a:cubicBezTo>
                  <a:cubicBezTo>
                    <a:pt x="32" y="115"/>
                    <a:pt x="37" y="125"/>
                    <a:pt x="40" y="128"/>
                  </a:cubicBezTo>
                  <a:cubicBezTo>
                    <a:pt x="46" y="125"/>
                    <a:pt x="40" y="125"/>
                    <a:pt x="43" y="120"/>
                  </a:cubicBezTo>
                  <a:cubicBezTo>
                    <a:pt x="46" y="115"/>
                    <a:pt x="48" y="120"/>
                    <a:pt x="49" y="123"/>
                  </a:cubicBezTo>
                  <a:cubicBezTo>
                    <a:pt x="51" y="126"/>
                    <a:pt x="49" y="118"/>
                    <a:pt x="54" y="120"/>
                  </a:cubicBezTo>
                  <a:cubicBezTo>
                    <a:pt x="57" y="121"/>
                    <a:pt x="61" y="121"/>
                    <a:pt x="61" y="120"/>
                  </a:cubicBezTo>
                  <a:cubicBezTo>
                    <a:pt x="63" y="117"/>
                    <a:pt x="61" y="120"/>
                    <a:pt x="64" y="120"/>
                  </a:cubicBezTo>
                  <a:cubicBezTo>
                    <a:pt x="69" y="120"/>
                    <a:pt x="93" y="120"/>
                    <a:pt x="93" y="120"/>
                  </a:cubicBezTo>
                  <a:cubicBezTo>
                    <a:pt x="96" y="106"/>
                    <a:pt x="93" y="114"/>
                    <a:pt x="92" y="109"/>
                  </a:cubicBezTo>
                  <a:cubicBezTo>
                    <a:pt x="92" y="104"/>
                    <a:pt x="84" y="23"/>
                    <a:pt x="84" y="23"/>
                  </a:cubicBezTo>
                  <a:cubicBezTo>
                    <a:pt x="99" y="23"/>
                    <a:pt x="99" y="23"/>
                    <a:pt x="99" y="23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7" y="14"/>
                    <a:pt x="67" y="14"/>
                    <a:pt x="67" y="14"/>
                  </a:cubicBezTo>
                  <a:cubicBezTo>
                    <a:pt x="42" y="14"/>
                    <a:pt x="42" y="14"/>
                    <a:pt x="42" y="14"/>
                  </a:cubicBezTo>
                  <a:cubicBezTo>
                    <a:pt x="42" y="39"/>
                    <a:pt x="42" y="39"/>
                    <a:pt x="42" y="39"/>
                  </a:cubicBezTo>
                  <a:cubicBezTo>
                    <a:pt x="32" y="44"/>
                    <a:pt x="31" y="42"/>
                    <a:pt x="34" y="61"/>
                  </a:cubicBezTo>
                  <a:cubicBezTo>
                    <a:pt x="34" y="61"/>
                    <a:pt x="5" y="61"/>
                    <a:pt x="3" y="61"/>
                  </a:cubicBezTo>
                  <a:cubicBezTo>
                    <a:pt x="2" y="61"/>
                    <a:pt x="0" y="64"/>
                    <a:pt x="2" y="67"/>
                  </a:cubicBezTo>
                  <a:cubicBezTo>
                    <a:pt x="3" y="67"/>
                    <a:pt x="2" y="62"/>
                    <a:pt x="3" y="64"/>
                  </a:cubicBezTo>
                  <a:cubicBezTo>
                    <a:pt x="5" y="64"/>
                    <a:pt x="3" y="69"/>
                    <a:pt x="5" y="69"/>
                  </a:cubicBezTo>
                  <a:cubicBezTo>
                    <a:pt x="7" y="67"/>
                    <a:pt x="8" y="72"/>
                    <a:pt x="8" y="75"/>
                  </a:cubicBezTo>
                  <a:cubicBezTo>
                    <a:pt x="8" y="79"/>
                    <a:pt x="3" y="79"/>
                    <a:pt x="7" y="81"/>
                  </a:cubicBezTo>
                  <a:cubicBezTo>
                    <a:pt x="8" y="82"/>
                    <a:pt x="11" y="93"/>
                    <a:pt x="8" y="101"/>
                  </a:cubicBezTo>
                  <a:cubicBezTo>
                    <a:pt x="7" y="107"/>
                    <a:pt x="5" y="109"/>
                    <a:pt x="7" y="112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97" name="Freeform 113">
              <a:extLst>
                <a:ext uri="{FF2B5EF4-FFF2-40B4-BE49-F238E27FC236}">
                  <a16:creationId xmlns:a16="http://schemas.microsoft.com/office/drawing/2014/main" id="{583901FD-314D-04CB-9495-2F412748F3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04881" y="4323391"/>
              <a:ext cx="298861" cy="298855"/>
            </a:xfrm>
            <a:custGeom>
              <a:avLst/>
              <a:gdLst/>
              <a:ahLst/>
              <a:cxnLst>
                <a:cxn ang="0">
                  <a:pos x="90" y="9"/>
                </a:cxn>
                <a:cxn ang="0">
                  <a:pos x="93" y="22"/>
                </a:cxn>
                <a:cxn ang="0">
                  <a:pos x="84" y="39"/>
                </a:cxn>
                <a:cxn ang="0">
                  <a:pos x="77" y="54"/>
                </a:cxn>
                <a:cxn ang="0">
                  <a:pos x="70" y="70"/>
                </a:cxn>
                <a:cxn ang="0">
                  <a:pos x="64" y="71"/>
                </a:cxn>
                <a:cxn ang="0">
                  <a:pos x="56" y="73"/>
                </a:cxn>
                <a:cxn ang="0">
                  <a:pos x="50" y="79"/>
                </a:cxn>
                <a:cxn ang="0">
                  <a:pos x="45" y="92"/>
                </a:cxn>
                <a:cxn ang="0">
                  <a:pos x="42" y="88"/>
                </a:cxn>
                <a:cxn ang="0">
                  <a:pos x="35" y="93"/>
                </a:cxn>
                <a:cxn ang="0">
                  <a:pos x="32" y="95"/>
                </a:cxn>
                <a:cxn ang="0">
                  <a:pos x="26" y="96"/>
                </a:cxn>
                <a:cxn ang="0">
                  <a:pos x="18" y="81"/>
                </a:cxn>
                <a:cxn ang="0">
                  <a:pos x="9" y="75"/>
                </a:cxn>
                <a:cxn ang="0">
                  <a:pos x="4" y="75"/>
                </a:cxn>
                <a:cxn ang="0">
                  <a:pos x="0" y="76"/>
                </a:cxn>
                <a:cxn ang="0">
                  <a:pos x="0" y="54"/>
                </a:cxn>
                <a:cxn ang="0">
                  <a:pos x="3" y="47"/>
                </a:cxn>
                <a:cxn ang="0">
                  <a:pos x="7" y="36"/>
                </a:cxn>
                <a:cxn ang="0">
                  <a:pos x="6" y="23"/>
                </a:cxn>
                <a:cxn ang="0">
                  <a:pos x="9" y="14"/>
                </a:cxn>
                <a:cxn ang="0">
                  <a:pos x="10" y="5"/>
                </a:cxn>
                <a:cxn ang="0">
                  <a:pos x="18" y="3"/>
                </a:cxn>
                <a:cxn ang="0">
                  <a:pos x="23" y="2"/>
                </a:cxn>
                <a:cxn ang="0">
                  <a:pos x="30" y="8"/>
                </a:cxn>
                <a:cxn ang="0">
                  <a:pos x="41" y="6"/>
                </a:cxn>
                <a:cxn ang="0">
                  <a:pos x="50" y="13"/>
                </a:cxn>
                <a:cxn ang="0">
                  <a:pos x="62" y="6"/>
                </a:cxn>
                <a:cxn ang="0">
                  <a:pos x="77" y="8"/>
                </a:cxn>
                <a:cxn ang="0">
                  <a:pos x="85" y="3"/>
                </a:cxn>
                <a:cxn ang="0">
                  <a:pos x="90" y="9"/>
                </a:cxn>
              </a:cxnLst>
              <a:rect l="0" t="0" r="r" b="b"/>
              <a:pathLst>
                <a:path w="96" h="96">
                  <a:moveTo>
                    <a:pt x="90" y="9"/>
                  </a:moveTo>
                  <a:cubicBezTo>
                    <a:pt x="88" y="22"/>
                    <a:pt x="96" y="14"/>
                    <a:pt x="93" y="22"/>
                  </a:cubicBezTo>
                  <a:cubicBezTo>
                    <a:pt x="91" y="31"/>
                    <a:pt x="88" y="23"/>
                    <a:pt x="84" y="39"/>
                  </a:cubicBezTo>
                  <a:cubicBezTo>
                    <a:pt x="80" y="53"/>
                    <a:pt x="80" y="53"/>
                    <a:pt x="77" y="54"/>
                  </a:cubicBezTo>
                  <a:cubicBezTo>
                    <a:pt x="74" y="56"/>
                    <a:pt x="73" y="65"/>
                    <a:pt x="70" y="70"/>
                  </a:cubicBezTo>
                  <a:cubicBezTo>
                    <a:pt x="67" y="76"/>
                    <a:pt x="68" y="76"/>
                    <a:pt x="64" y="71"/>
                  </a:cubicBezTo>
                  <a:cubicBezTo>
                    <a:pt x="61" y="67"/>
                    <a:pt x="56" y="68"/>
                    <a:pt x="56" y="73"/>
                  </a:cubicBezTo>
                  <a:cubicBezTo>
                    <a:pt x="55" y="76"/>
                    <a:pt x="52" y="73"/>
                    <a:pt x="50" y="79"/>
                  </a:cubicBezTo>
                  <a:cubicBezTo>
                    <a:pt x="47" y="84"/>
                    <a:pt x="49" y="85"/>
                    <a:pt x="45" y="92"/>
                  </a:cubicBezTo>
                  <a:cubicBezTo>
                    <a:pt x="42" y="88"/>
                    <a:pt x="42" y="88"/>
                    <a:pt x="42" y="88"/>
                  </a:cubicBezTo>
                  <a:cubicBezTo>
                    <a:pt x="47" y="95"/>
                    <a:pt x="36" y="95"/>
                    <a:pt x="35" y="93"/>
                  </a:cubicBezTo>
                  <a:cubicBezTo>
                    <a:pt x="33" y="92"/>
                    <a:pt x="36" y="95"/>
                    <a:pt x="32" y="95"/>
                  </a:cubicBezTo>
                  <a:cubicBezTo>
                    <a:pt x="30" y="96"/>
                    <a:pt x="30" y="96"/>
                    <a:pt x="26" y="96"/>
                  </a:cubicBezTo>
                  <a:cubicBezTo>
                    <a:pt x="21" y="96"/>
                    <a:pt x="20" y="84"/>
                    <a:pt x="18" y="81"/>
                  </a:cubicBezTo>
                  <a:cubicBezTo>
                    <a:pt x="13" y="76"/>
                    <a:pt x="12" y="75"/>
                    <a:pt x="9" y="75"/>
                  </a:cubicBezTo>
                  <a:cubicBezTo>
                    <a:pt x="4" y="76"/>
                    <a:pt x="6" y="73"/>
                    <a:pt x="4" y="75"/>
                  </a:cubicBezTo>
                  <a:cubicBezTo>
                    <a:pt x="4" y="76"/>
                    <a:pt x="3" y="76"/>
                    <a:pt x="0" y="76"/>
                  </a:cubicBezTo>
                  <a:cubicBezTo>
                    <a:pt x="1" y="67"/>
                    <a:pt x="0" y="62"/>
                    <a:pt x="0" y="54"/>
                  </a:cubicBezTo>
                  <a:cubicBezTo>
                    <a:pt x="0" y="47"/>
                    <a:pt x="1" y="51"/>
                    <a:pt x="3" y="47"/>
                  </a:cubicBezTo>
                  <a:cubicBezTo>
                    <a:pt x="3" y="42"/>
                    <a:pt x="4" y="44"/>
                    <a:pt x="7" y="36"/>
                  </a:cubicBezTo>
                  <a:cubicBezTo>
                    <a:pt x="10" y="28"/>
                    <a:pt x="4" y="28"/>
                    <a:pt x="6" y="23"/>
                  </a:cubicBezTo>
                  <a:cubicBezTo>
                    <a:pt x="7" y="20"/>
                    <a:pt x="4" y="16"/>
                    <a:pt x="9" y="14"/>
                  </a:cubicBezTo>
                  <a:cubicBezTo>
                    <a:pt x="12" y="11"/>
                    <a:pt x="9" y="8"/>
                    <a:pt x="10" y="5"/>
                  </a:cubicBezTo>
                  <a:cubicBezTo>
                    <a:pt x="13" y="3"/>
                    <a:pt x="13" y="3"/>
                    <a:pt x="18" y="3"/>
                  </a:cubicBezTo>
                  <a:cubicBezTo>
                    <a:pt x="21" y="3"/>
                    <a:pt x="20" y="0"/>
                    <a:pt x="23" y="2"/>
                  </a:cubicBezTo>
                  <a:cubicBezTo>
                    <a:pt x="26" y="3"/>
                    <a:pt x="29" y="2"/>
                    <a:pt x="30" y="8"/>
                  </a:cubicBezTo>
                  <a:cubicBezTo>
                    <a:pt x="33" y="14"/>
                    <a:pt x="38" y="6"/>
                    <a:pt x="41" y="6"/>
                  </a:cubicBezTo>
                  <a:cubicBezTo>
                    <a:pt x="42" y="6"/>
                    <a:pt x="45" y="11"/>
                    <a:pt x="50" y="13"/>
                  </a:cubicBezTo>
                  <a:cubicBezTo>
                    <a:pt x="56" y="13"/>
                    <a:pt x="55" y="8"/>
                    <a:pt x="62" y="6"/>
                  </a:cubicBezTo>
                  <a:cubicBezTo>
                    <a:pt x="71" y="5"/>
                    <a:pt x="76" y="13"/>
                    <a:pt x="77" y="8"/>
                  </a:cubicBezTo>
                  <a:cubicBezTo>
                    <a:pt x="79" y="3"/>
                    <a:pt x="80" y="6"/>
                    <a:pt x="85" y="3"/>
                  </a:cubicBezTo>
                  <a:cubicBezTo>
                    <a:pt x="90" y="9"/>
                    <a:pt x="90" y="9"/>
                    <a:pt x="90" y="9"/>
                  </a:cubicBezTo>
                  <a:close/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98" name="Freeform 114">
              <a:extLst>
                <a:ext uri="{FF2B5EF4-FFF2-40B4-BE49-F238E27FC236}">
                  <a16:creationId xmlns:a16="http://schemas.microsoft.com/office/drawing/2014/main" id="{19D44503-CDD6-E69D-9EDA-49EE3ECBA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89281" y="4416582"/>
              <a:ext cx="326177" cy="268327"/>
            </a:xfrm>
            <a:custGeom>
              <a:avLst/>
              <a:gdLst/>
              <a:ahLst/>
              <a:cxnLst>
                <a:cxn ang="0">
                  <a:pos x="105" y="58"/>
                </a:cxn>
                <a:cxn ang="0">
                  <a:pos x="99" y="58"/>
                </a:cxn>
                <a:cxn ang="0">
                  <a:pos x="87" y="57"/>
                </a:cxn>
                <a:cxn ang="0">
                  <a:pos x="76" y="60"/>
                </a:cxn>
                <a:cxn ang="0">
                  <a:pos x="67" y="63"/>
                </a:cxn>
                <a:cxn ang="0">
                  <a:pos x="50" y="65"/>
                </a:cxn>
                <a:cxn ang="0">
                  <a:pos x="44" y="58"/>
                </a:cxn>
                <a:cxn ang="0">
                  <a:pos x="35" y="65"/>
                </a:cxn>
                <a:cxn ang="0">
                  <a:pos x="35" y="74"/>
                </a:cxn>
                <a:cxn ang="0">
                  <a:pos x="28" y="72"/>
                </a:cxn>
                <a:cxn ang="0">
                  <a:pos x="20" y="72"/>
                </a:cxn>
                <a:cxn ang="0">
                  <a:pos x="15" y="86"/>
                </a:cxn>
                <a:cxn ang="0">
                  <a:pos x="8" y="71"/>
                </a:cxn>
                <a:cxn ang="0">
                  <a:pos x="5" y="65"/>
                </a:cxn>
                <a:cxn ang="0">
                  <a:pos x="2" y="52"/>
                </a:cxn>
                <a:cxn ang="0">
                  <a:pos x="2" y="48"/>
                </a:cxn>
                <a:cxn ang="0">
                  <a:pos x="9" y="34"/>
                </a:cxn>
                <a:cxn ang="0">
                  <a:pos x="17" y="32"/>
                </a:cxn>
                <a:cxn ang="0">
                  <a:pos x="21" y="32"/>
                </a:cxn>
                <a:cxn ang="0">
                  <a:pos x="37" y="26"/>
                </a:cxn>
                <a:cxn ang="0">
                  <a:pos x="37" y="20"/>
                </a:cxn>
                <a:cxn ang="0">
                  <a:pos x="53" y="14"/>
                </a:cxn>
                <a:cxn ang="0">
                  <a:pos x="58" y="4"/>
                </a:cxn>
                <a:cxn ang="0">
                  <a:pos x="69" y="1"/>
                </a:cxn>
                <a:cxn ang="0">
                  <a:pos x="73" y="17"/>
                </a:cxn>
                <a:cxn ang="0">
                  <a:pos x="78" y="24"/>
                </a:cxn>
                <a:cxn ang="0">
                  <a:pos x="85" y="29"/>
                </a:cxn>
                <a:cxn ang="0">
                  <a:pos x="90" y="37"/>
                </a:cxn>
                <a:cxn ang="0">
                  <a:pos x="96" y="44"/>
                </a:cxn>
                <a:cxn ang="0">
                  <a:pos x="101" y="51"/>
                </a:cxn>
                <a:cxn ang="0">
                  <a:pos x="105" y="58"/>
                </a:cxn>
              </a:cxnLst>
              <a:rect l="0" t="0" r="r" b="b"/>
              <a:pathLst>
                <a:path w="105" h="86">
                  <a:moveTo>
                    <a:pt x="105" y="58"/>
                  </a:moveTo>
                  <a:cubicBezTo>
                    <a:pt x="102" y="58"/>
                    <a:pt x="102" y="55"/>
                    <a:pt x="99" y="58"/>
                  </a:cubicBezTo>
                  <a:cubicBezTo>
                    <a:pt x="97" y="62"/>
                    <a:pt x="90" y="52"/>
                    <a:pt x="87" y="57"/>
                  </a:cubicBezTo>
                  <a:cubicBezTo>
                    <a:pt x="84" y="62"/>
                    <a:pt x="84" y="55"/>
                    <a:pt x="76" y="60"/>
                  </a:cubicBezTo>
                  <a:cubicBezTo>
                    <a:pt x="67" y="66"/>
                    <a:pt x="70" y="55"/>
                    <a:pt x="67" y="63"/>
                  </a:cubicBezTo>
                  <a:cubicBezTo>
                    <a:pt x="64" y="71"/>
                    <a:pt x="59" y="65"/>
                    <a:pt x="50" y="65"/>
                  </a:cubicBezTo>
                  <a:cubicBezTo>
                    <a:pt x="47" y="65"/>
                    <a:pt x="50" y="62"/>
                    <a:pt x="44" y="58"/>
                  </a:cubicBezTo>
                  <a:cubicBezTo>
                    <a:pt x="37" y="55"/>
                    <a:pt x="37" y="63"/>
                    <a:pt x="35" y="65"/>
                  </a:cubicBezTo>
                  <a:cubicBezTo>
                    <a:pt x="32" y="66"/>
                    <a:pt x="34" y="69"/>
                    <a:pt x="35" y="74"/>
                  </a:cubicBezTo>
                  <a:cubicBezTo>
                    <a:pt x="32" y="71"/>
                    <a:pt x="31" y="75"/>
                    <a:pt x="28" y="72"/>
                  </a:cubicBezTo>
                  <a:cubicBezTo>
                    <a:pt x="25" y="71"/>
                    <a:pt x="25" y="74"/>
                    <a:pt x="20" y="72"/>
                  </a:cubicBezTo>
                  <a:cubicBezTo>
                    <a:pt x="15" y="72"/>
                    <a:pt x="18" y="80"/>
                    <a:pt x="15" y="86"/>
                  </a:cubicBezTo>
                  <a:cubicBezTo>
                    <a:pt x="14" y="75"/>
                    <a:pt x="11" y="74"/>
                    <a:pt x="8" y="71"/>
                  </a:cubicBezTo>
                  <a:cubicBezTo>
                    <a:pt x="5" y="68"/>
                    <a:pt x="8" y="65"/>
                    <a:pt x="5" y="65"/>
                  </a:cubicBezTo>
                  <a:cubicBezTo>
                    <a:pt x="3" y="63"/>
                    <a:pt x="2" y="58"/>
                    <a:pt x="2" y="52"/>
                  </a:cubicBezTo>
                  <a:cubicBezTo>
                    <a:pt x="3" y="48"/>
                    <a:pt x="0" y="49"/>
                    <a:pt x="2" y="48"/>
                  </a:cubicBezTo>
                  <a:cubicBezTo>
                    <a:pt x="5" y="46"/>
                    <a:pt x="6" y="40"/>
                    <a:pt x="9" y="34"/>
                  </a:cubicBezTo>
                  <a:cubicBezTo>
                    <a:pt x="12" y="35"/>
                    <a:pt x="15" y="34"/>
                    <a:pt x="17" y="32"/>
                  </a:cubicBezTo>
                  <a:cubicBezTo>
                    <a:pt x="18" y="29"/>
                    <a:pt x="18" y="35"/>
                    <a:pt x="21" y="32"/>
                  </a:cubicBezTo>
                  <a:cubicBezTo>
                    <a:pt x="28" y="27"/>
                    <a:pt x="32" y="32"/>
                    <a:pt x="37" y="26"/>
                  </a:cubicBezTo>
                  <a:cubicBezTo>
                    <a:pt x="40" y="21"/>
                    <a:pt x="35" y="21"/>
                    <a:pt x="37" y="20"/>
                  </a:cubicBezTo>
                  <a:cubicBezTo>
                    <a:pt x="38" y="18"/>
                    <a:pt x="47" y="21"/>
                    <a:pt x="53" y="14"/>
                  </a:cubicBezTo>
                  <a:cubicBezTo>
                    <a:pt x="58" y="6"/>
                    <a:pt x="59" y="9"/>
                    <a:pt x="58" y="4"/>
                  </a:cubicBezTo>
                  <a:cubicBezTo>
                    <a:pt x="58" y="3"/>
                    <a:pt x="66" y="0"/>
                    <a:pt x="69" y="1"/>
                  </a:cubicBezTo>
                  <a:cubicBezTo>
                    <a:pt x="72" y="6"/>
                    <a:pt x="76" y="10"/>
                    <a:pt x="73" y="17"/>
                  </a:cubicBezTo>
                  <a:cubicBezTo>
                    <a:pt x="72" y="27"/>
                    <a:pt x="81" y="21"/>
                    <a:pt x="78" y="24"/>
                  </a:cubicBezTo>
                  <a:cubicBezTo>
                    <a:pt x="76" y="29"/>
                    <a:pt x="82" y="26"/>
                    <a:pt x="85" y="29"/>
                  </a:cubicBezTo>
                  <a:cubicBezTo>
                    <a:pt x="88" y="34"/>
                    <a:pt x="84" y="32"/>
                    <a:pt x="90" y="37"/>
                  </a:cubicBezTo>
                  <a:cubicBezTo>
                    <a:pt x="94" y="41"/>
                    <a:pt x="96" y="41"/>
                    <a:pt x="96" y="44"/>
                  </a:cubicBezTo>
                  <a:cubicBezTo>
                    <a:pt x="94" y="48"/>
                    <a:pt x="96" y="48"/>
                    <a:pt x="101" y="51"/>
                  </a:cubicBezTo>
                  <a:cubicBezTo>
                    <a:pt x="104" y="51"/>
                    <a:pt x="102" y="55"/>
                    <a:pt x="105" y="58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799" name="Freeform 115">
              <a:extLst>
                <a:ext uri="{FF2B5EF4-FFF2-40B4-BE49-F238E27FC236}">
                  <a16:creationId xmlns:a16="http://schemas.microsoft.com/office/drawing/2014/main" id="{4560411A-5EFC-AAB3-74A3-EE4350964A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44671" y="4350706"/>
              <a:ext cx="194421" cy="351879"/>
            </a:xfrm>
            <a:custGeom>
              <a:avLst/>
              <a:gdLst/>
              <a:ahLst/>
              <a:cxnLst>
                <a:cxn ang="0">
                  <a:pos x="39" y="107"/>
                </a:cxn>
                <a:cxn ang="0">
                  <a:pos x="49" y="107"/>
                </a:cxn>
                <a:cxn ang="0">
                  <a:pos x="56" y="109"/>
                </a:cxn>
                <a:cxn ang="0">
                  <a:pos x="60" y="112"/>
                </a:cxn>
                <a:cxn ang="0">
                  <a:pos x="62" y="107"/>
                </a:cxn>
                <a:cxn ang="0">
                  <a:pos x="54" y="92"/>
                </a:cxn>
                <a:cxn ang="0">
                  <a:pos x="51" y="85"/>
                </a:cxn>
                <a:cxn ang="0">
                  <a:pos x="48" y="73"/>
                </a:cxn>
                <a:cxn ang="0">
                  <a:pos x="48" y="68"/>
                </a:cxn>
                <a:cxn ang="0">
                  <a:pos x="56" y="54"/>
                </a:cxn>
                <a:cxn ang="0">
                  <a:pos x="54" y="48"/>
                </a:cxn>
                <a:cxn ang="0">
                  <a:pos x="45" y="36"/>
                </a:cxn>
                <a:cxn ang="0">
                  <a:pos x="48" y="31"/>
                </a:cxn>
                <a:cxn ang="0">
                  <a:pos x="57" y="30"/>
                </a:cxn>
                <a:cxn ang="0">
                  <a:pos x="51" y="9"/>
                </a:cxn>
                <a:cxn ang="0">
                  <a:pos x="49" y="3"/>
                </a:cxn>
                <a:cxn ang="0">
                  <a:pos x="45" y="0"/>
                </a:cxn>
                <a:cxn ang="0">
                  <a:pos x="48" y="13"/>
                </a:cxn>
                <a:cxn ang="0">
                  <a:pos x="39" y="30"/>
                </a:cxn>
                <a:cxn ang="0">
                  <a:pos x="32" y="45"/>
                </a:cxn>
                <a:cxn ang="0">
                  <a:pos x="25" y="61"/>
                </a:cxn>
                <a:cxn ang="0">
                  <a:pos x="19" y="62"/>
                </a:cxn>
                <a:cxn ang="0">
                  <a:pos x="11" y="64"/>
                </a:cxn>
                <a:cxn ang="0">
                  <a:pos x="5" y="70"/>
                </a:cxn>
                <a:cxn ang="0">
                  <a:pos x="0" y="82"/>
                </a:cxn>
                <a:cxn ang="0">
                  <a:pos x="3" y="85"/>
                </a:cxn>
                <a:cxn ang="0">
                  <a:pos x="5" y="90"/>
                </a:cxn>
                <a:cxn ang="0">
                  <a:pos x="9" y="88"/>
                </a:cxn>
                <a:cxn ang="0">
                  <a:pos x="9" y="93"/>
                </a:cxn>
                <a:cxn ang="0">
                  <a:pos x="9" y="96"/>
                </a:cxn>
                <a:cxn ang="0">
                  <a:pos x="9" y="105"/>
                </a:cxn>
                <a:cxn ang="0">
                  <a:pos x="22" y="107"/>
                </a:cxn>
                <a:cxn ang="0">
                  <a:pos x="31" y="105"/>
                </a:cxn>
                <a:cxn ang="0">
                  <a:pos x="39" y="107"/>
                </a:cxn>
              </a:cxnLst>
              <a:rect l="0" t="0" r="r" b="b"/>
              <a:pathLst>
                <a:path w="62" h="113">
                  <a:moveTo>
                    <a:pt x="39" y="107"/>
                  </a:moveTo>
                  <a:cubicBezTo>
                    <a:pt x="49" y="107"/>
                    <a:pt x="49" y="107"/>
                    <a:pt x="49" y="107"/>
                  </a:cubicBezTo>
                  <a:cubicBezTo>
                    <a:pt x="49" y="107"/>
                    <a:pt x="52" y="109"/>
                    <a:pt x="56" y="109"/>
                  </a:cubicBezTo>
                  <a:cubicBezTo>
                    <a:pt x="59" y="110"/>
                    <a:pt x="60" y="113"/>
                    <a:pt x="60" y="112"/>
                  </a:cubicBezTo>
                  <a:cubicBezTo>
                    <a:pt x="62" y="112"/>
                    <a:pt x="60" y="109"/>
                    <a:pt x="62" y="107"/>
                  </a:cubicBezTo>
                  <a:cubicBezTo>
                    <a:pt x="60" y="96"/>
                    <a:pt x="57" y="95"/>
                    <a:pt x="54" y="92"/>
                  </a:cubicBezTo>
                  <a:cubicBezTo>
                    <a:pt x="51" y="88"/>
                    <a:pt x="54" y="85"/>
                    <a:pt x="51" y="85"/>
                  </a:cubicBezTo>
                  <a:cubicBezTo>
                    <a:pt x="49" y="84"/>
                    <a:pt x="48" y="79"/>
                    <a:pt x="48" y="73"/>
                  </a:cubicBezTo>
                  <a:cubicBezTo>
                    <a:pt x="49" y="68"/>
                    <a:pt x="46" y="70"/>
                    <a:pt x="48" y="68"/>
                  </a:cubicBezTo>
                  <a:cubicBezTo>
                    <a:pt x="51" y="67"/>
                    <a:pt x="52" y="61"/>
                    <a:pt x="56" y="54"/>
                  </a:cubicBezTo>
                  <a:cubicBezTo>
                    <a:pt x="57" y="51"/>
                    <a:pt x="56" y="54"/>
                    <a:pt x="54" y="48"/>
                  </a:cubicBezTo>
                  <a:cubicBezTo>
                    <a:pt x="54" y="44"/>
                    <a:pt x="51" y="45"/>
                    <a:pt x="45" y="36"/>
                  </a:cubicBezTo>
                  <a:cubicBezTo>
                    <a:pt x="43" y="34"/>
                    <a:pt x="45" y="30"/>
                    <a:pt x="48" y="31"/>
                  </a:cubicBezTo>
                  <a:cubicBezTo>
                    <a:pt x="49" y="31"/>
                    <a:pt x="52" y="33"/>
                    <a:pt x="57" y="30"/>
                  </a:cubicBezTo>
                  <a:cubicBezTo>
                    <a:pt x="49" y="25"/>
                    <a:pt x="54" y="11"/>
                    <a:pt x="51" y="9"/>
                  </a:cubicBezTo>
                  <a:cubicBezTo>
                    <a:pt x="49" y="9"/>
                    <a:pt x="52" y="5"/>
                    <a:pt x="49" y="3"/>
                  </a:cubicBezTo>
                  <a:cubicBezTo>
                    <a:pt x="45" y="2"/>
                    <a:pt x="54" y="0"/>
                    <a:pt x="45" y="0"/>
                  </a:cubicBezTo>
                  <a:cubicBezTo>
                    <a:pt x="43" y="13"/>
                    <a:pt x="51" y="5"/>
                    <a:pt x="48" y="13"/>
                  </a:cubicBezTo>
                  <a:cubicBezTo>
                    <a:pt x="46" y="22"/>
                    <a:pt x="43" y="14"/>
                    <a:pt x="39" y="30"/>
                  </a:cubicBezTo>
                  <a:cubicBezTo>
                    <a:pt x="36" y="44"/>
                    <a:pt x="36" y="44"/>
                    <a:pt x="32" y="45"/>
                  </a:cubicBezTo>
                  <a:cubicBezTo>
                    <a:pt x="29" y="47"/>
                    <a:pt x="28" y="56"/>
                    <a:pt x="25" y="61"/>
                  </a:cubicBezTo>
                  <a:cubicBezTo>
                    <a:pt x="22" y="67"/>
                    <a:pt x="23" y="67"/>
                    <a:pt x="19" y="62"/>
                  </a:cubicBezTo>
                  <a:cubicBezTo>
                    <a:pt x="16" y="57"/>
                    <a:pt x="11" y="59"/>
                    <a:pt x="11" y="64"/>
                  </a:cubicBezTo>
                  <a:cubicBezTo>
                    <a:pt x="9" y="67"/>
                    <a:pt x="6" y="64"/>
                    <a:pt x="5" y="70"/>
                  </a:cubicBezTo>
                  <a:cubicBezTo>
                    <a:pt x="2" y="74"/>
                    <a:pt x="3" y="76"/>
                    <a:pt x="0" y="82"/>
                  </a:cubicBezTo>
                  <a:cubicBezTo>
                    <a:pt x="0" y="87"/>
                    <a:pt x="2" y="81"/>
                    <a:pt x="3" y="85"/>
                  </a:cubicBezTo>
                  <a:cubicBezTo>
                    <a:pt x="3" y="88"/>
                    <a:pt x="3" y="88"/>
                    <a:pt x="5" y="90"/>
                  </a:cubicBezTo>
                  <a:cubicBezTo>
                    <a:pt x="8" y="92"/>
                    <a:pt x="6" y="87"/>
                    <a:pt x="9" y="88"/>
                  </a:cubicBezTo>
                  <a:cubicBezTo>
                    <a:pt x="11" y="90"/>
                    <a:pt x="6" y="90"/>
                    <a:pt x="9" y="93"/>
                  </a:cubicBezTo>
                  <a:cubicBezTo>
                    <a:pt x="11" y="95"/>
                    <a:pt x="8" y="93"/>
                    <a:pt x="9" y="96"/>
                  </a:cubicBezTo>
                  <a:cubicBezTo>
                    <a:pt x="12" y="99"/>
                    <a:pt x="9" y="102"/>
                    <a:pt x="9" y="105"/>
                  </a:cubicBezTo>
                  <a:cubicBezTo>
                    <a:pt x="12" y="109"/>
                    <a:pt x="14" y="107"/>
                    <a:pt x="22" y="107"/>
                  </a:cubicBezTo>
                  <a:cubicBezTo>
                    <a:pt x="23" y="105"/>
                    <a:pt x="23" y="105"/>
                    <a:pt x="31" y="105"/>
                  </a:cubicBezTo>
                  <a:cubicBezTo>
                    <a:pt x="40" y="105"/>
                    <a:pt x="37" y="105"/>
                    <a:pt x="39" y="107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00" name="Freeform 116">
              <a:extLst>
                <a:ext uri="{FF2B5EF4-FFF2-40B4-BE49-F238E27FC236}">
                  <a16:creationId xmlns:a16="http://schemas.microsoft.com/office/drawing/2014/main" id="{3FE65AB2-5EC8-8988-124A-EDC83E2C1C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33043" y="4884147"/>
              <a:ext cx="27315" cy="43383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6" y="2"/>
                </a:cxn>
                <a:cxn ang="0">
                  <a:pos x="9" y="3"/>
                </a:cxn>
                <a:cxn ang="0">
                  <a:pos x="4" y="5"/>
                </a:cxn>
                <a:cxn ang="0">
                  <a:pos x="1" y="14"/>
                </a:cxn>
                <a:cxn ang="0">
                  <a:pos x="1" y="11"/>
                </a:cxn>
                <a:cxn ang="0">
                  <a:pos x="0" y="6"/>
                </a:cxn>
              </a:cxnLst>
              <a:rect l="0" t="0" r="r" b="b"/>
              <a:pathLst>
                <a:path w="9" h="14">
                  <a:moveTo>
                    <a:pt x="0" y="6"/>
                  </a:moveTo>
                  <a:cubicBezTo>
                    <a:pt x="1" y="3"/>
                    <a:pt x="4" y="2"/>
                    <a:pt x="6" y="2"/>
                  </a:cubicBezTo>
                  <a:cubicBezTo>
                    <a:pt x="6" y="0"/>
                    <a:pt x="8" y="2"/>
                    <a:pt x="9" y="3"/>
                  </a:cubicBezTo>
                  <a:cubicBezTo>
                    <a:pt x="8" y="3"/>
                    <a:pt x="8" y="3"/>
                    <a:pt x="4" y="5"/>
                  </a:cubicBezTo>
                  <a:cubicBezTo>
                    <a:pt x="3" y="8"/>
                    <a:pt x="6" y="14"/>
                    <a:pt x="1" y="14"/>
                  </a:cubicBezTo>
                  <a:cubicBezTo>
                    <a:pt x="1" y="13"/>
                    <a:pt x="0" y="14"/>
                    <a:pt x="1" y="11"/>
                  </a:cubicBezTo>
                  <a:cubicBezTo>
                    <a:pt x="1" y="10"/>
                    <a:pt x="1" y="8"/>
                    <a:pt x="0" y="6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01" name="Freeform 117">
              <a:extLst>
                <a:ext uri="{FF2B5EF4-FFF2-40B4-BE49-F238E27FC236}">
                  <a16:creationId xmlns:a16="http://schemas.microsoft.com/office/drawing/2014/main" id="{A0CFB7E8-08C0-1981-81F8-C551E551E4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07335" y="4638314"/>
              <a:ext cx="189600" cy="269934"/>
            </a:xfrm>
            <a:custGeom>
              <a:avLst/>
              <a:gdLst/>
              <a:ahLst/>
              <a:cxnLst>
                <a:cxn ang="0">
                  <a:pos x="18" y="16"/>
                </a:cxn>
                <a:cxn ang="0">
                  <a:pos x="17" y="23"/>
                </a:cxn>
                <a:cxn ang="0">
                  <a:pos x="23" y="23"/>
                </a:cxn>
                <a:cxn ang="0">
                  <a:pos x="26" y="30"/>
                </a:cxn>
                <a:cxn ang="0">
                  <a:pos x="23" y="37"/>
                </a:cxn>
                <a:cxn ang="0">
                  <a:pos x="28" y="43"/>
                </a:cxn>
                <a:cxn ang="0">
                  <a:pos x="26" y="56"/>
                </a:cxn>
                <a:cxn ang="0">
                  <a:pos x="25" y="60"/>
                </a:cxn>
                <a:cxn ang="0">
                  <a:pos x="22" y="59"/>
                </a:cxn>
                <a:cxn ang="0">
                  <a:pos x="14" y="56"/>
                </a:cxn>
                <a:cxn ang="0">
                  <a:pos x="12" y="57"/>
                </a:cxn>
                <a:cxn ang="0">
                  <a:pos x="6" y="60"/>
                </a:cxn>
                <a:cxn ang="0">
                  <a:pos x="6" y="68"/>
                </a:cxn>
                <a:cxn ang="0">
                  <a:pos x="5" y="73"/>
                </a:cxn>
                <a:cxn ang="0">
                  <a:pos x="0" y="74"/>
                </a:cxn>
                <a:cxn ang="0">
                  <a:pos x="6" y="82"/>
                </a:cxn>
                <a:cxn ang="0">
                  <a:pos x="8" y="85"/>
                </a:cxn>
                <a:cxn ang="0">
                  <a:pos x="14" y="81"/>
                </a:cxn>
                <a:cxn ang="0">
                  <a:pos x="17" y="82"/>
                </a:cxn>
                <a:cxn ang="0">
                  <a:pos x="26" y="79"/>
                </a:cxn>
                <a:cxn ang="0">
                  <a:pos x="28" y="84"/>
                </a:cxn>
                <a:cxn ang="0">
                  <a:pos x="37" y="76"/>
                </a:cxn>
                <a:cxn ang="0">
                  <a:pos x="41" y="67"/>
                </a:cxn>
                <a:cxn ang="0">
                  <a:pos x="50" y="47"/>
                </a:cxn>
                <a:cxn ang="0">
                  <a:pos x="55" y="34"/>
                </a:cxn>
                <a:cxn ang="0">
                  <a:pos x="55" y="23"/>
                </a:cxn>
                <a:cxn ang="0">
                  <a:pos x="57" y="11"/>
                </a:cxn>
                <a:cxn ang="0">
                  <a:pos x="61" y="3"/>
                </a:cxn>
                <a:cxn ang="0">
                  <a:pos x="54" y="2"/>
                </a:cxn>
                <a:cxn ang="0">
                  <a:pos x="46" y="2"/>
                </a:cxn>
                <a:cxn ang="0">
                  <a:pos x="41" y="16"/>
                </a:cxn>
                <a:cxn ang="0">
                  <a:pos x="40" y="20"/>
                </a:cxn>
                <a:cxn ang="0">
                  <a:pos x="35" y="17"/>
                </a:cxn>
                <a:cxn ang="0">
                  <a:pos x="29" y="16"/>
                </a:cxn>
                <a:cxn ang="0">
                  <a:pos x="18" y="16"/>
                </a:cxn>
              </a:cxnLst>
              <a:rect l="0" t="0" r="r" b="b"/>
              <a:pathLst>
                <a:path w="61" h="87">
                  <a:moveTo>
                    <a:pt x="18" y="16"/>
                  </a:moveTo>
                  <a:cubicBezTo>
                    <a:pt x="18" y="19"/>
                    <a:pt x="15" y="19"/>
                    <a:pt x="17" y="23"/>
                  </a:cubicBezTo>
                  <a:cubicBezTo>
                    <a:pt x="18" y="26"/>
                    <a:pt x="22" y="23"/>
                    <a:pt x="23" y="23"/>
                  </a:cubicBezTo>
                  <a:cubicBezTo>
                    <a:pt x="26" y="23"/>
                    <a:pt x="28" y="26"/>
                    <a:pt x="26" y="30"/>
                  </a:cubicBezTo>
                  <a:cubicBezTo>
                    <a:pt x="25" y="34"/>
                    <a:pt x="25" y="28"/>
                    <a:pt x="23" y="37"/>
                  </a:cubicBezTo>
                  <a:cubicBezTo>
                    <a:pt x="22" y="42"/>
                    <a:pt x="28" y="40"/>
                    <a:pt x="28" y="43"/>
                  </a:cubicBezTo>
                  <a:cubicBezTo>
                    <a:pt x="26" y="47"/>
                    <a:pt x="28" y="53"/>
                    <a:pt x="26" y="56"/>
                  </a:cubicBezTo>
                  <a:cubicBezTo>
                    <a:pt x="25" y="59"/>
                    <a:pt x="28" y="60"/>
                    <a:pt x="25" y="60"/>
                  </a:cubicBezTo>
                  <a:cubicBezTo>
                    <a:pt x="22" y="62"/>
                    <a:pt x="23" y="56"/>
                    <a:pt x="22" y="59"/>
                  </a:cubicBezTo>
                  <a:cubicBezTo>
                    <a:pt x="18" y="62"/>
                    <a:pt x="17" y="62"/>
                    <a:pt x="14" y="56"/>
                  </a:cubicBezTo>
                  <a:cubicBezTo>
                    <a:pt x="11" y="51"/>
                    <a:pt x="11" y="54"/>
                    <a:pt x="12" y="57"/>
                  </a:cubicBezTo>
                  <a:cubicBezTo>
                    <a:pt x="12" y="60"/>
                    <a:pt x="9" y="60"/>
                    <a:pt x="6" y="60"/>
                  </a:cubicBezTo>
                  <a:cubicBezTo>
                    <a:pt x="3" y="60"/>
                    <a:pt x="5" y="67"/>
                    <a:pt x="6" y="68"/>
                  </a:cubicBezTo>
                  <a:cubicBezTo>
                    <a:pt x="8" y="70"/>
                    <a:pt x="8" y="74"/>
                    <a:pt x="5" y="73"/>
                  </a:cubicBezTo>
                  <a:cubicBezTo>
                    <a:pt x="3" y="71"/>
                    <a:pt x="3" y="71"/>
                    <a:pt x="0" y="74"/>
                  </a:cubicBezTo>
                  <a:cubicBezTo>
                    <a:pt x="5" y="79"/>
                    <a:pt x="5" y="79"/>
                    <a:pt x="6" y="82"/>
                  </a:cubicBezTo>
                  <a:cubicBezTo>
                    <a:pt x="6" y="84"/>
                    <a:pt x="8" y="85"/>
                    <a:pt x="8" y="85"/>
                  </a:cubicBezTo>
                  <a:cubicBezTo>
                    <a:pt x="9" y="82"/>
                    <a:pt x="12" y="81"/>
                    <a:pt x="14" y="81"/>
                  </a:cubicBezTo>
                  <a:cubicBezTo>
                    <a:pt x="14" y="79"/>
                    <a:pt x="15" y="81"/>
                    <a:pt x="17" y="82"/>
                  </a:cubicBezTo>
                  <a:cubicBezTo>
                    <a:pt x="20" y="87"/>
                    <a:pt x="23" y="77"/>
                    <a:pt x="26" y="79"/>
                  </a:cubicBezTo>
                  <a:cubicBezTo>
                    <a:pt x="29" y="81"/>
                    <a:pt x="25" y="84"/>
                    <a:pt x="28" y="84"/>
                  </a:cubicBezTo>
                  <a:cubicBezTo>
                    <a:pt x="32" y="85"/>
                    <a:pt x="35" y="76"/>
                    <a:pt x="37" y="76"/>
                  </a:cubicBezTo>
                  <a:cubicBezTo>
                    <a:pt x="40" y="76"/>
                    <a:pt x="43" y="70"/>
                    <a:pt x="41" y="67"/>
                  </a:cubicBezTo>
                  <a:cubicBezTo>
                    <a:pt x="38" y="60"/>
                    <a:pt x="46" y="48"/>
                    <a:pt x="50" y="47"/>
                  </a:cubicBezTo>
                  <a:cubicBezTo>
                    <a:pt x="55" y="43"/>
                    <a:pt x="52" y="40"/>
                    <a:pt x="55" y="34"/>
                  </a:cubicBezTo>
                  <a:cubicBezTo>
                    <a:pt x="57" y="30"/>
                    <a:pt x="54" y="31"/>
                    <a:pt x="55" y="23"/>
                  </a:cubicBezTo>
                  <a:cubicBezTo>
                    <a:pt x="57" y="16"/>
                    <a:pt x="54" y="17"/>
                    <a:pt x="57" y="11"/>
                  </a:cubicBezTo>
                  <a:cubicBezTo>
                    <a:pt x="61" y="6"/>
                    <a:pt x="61" y="5"/>
                    <a:pt x="61" y="3"/>
                  </a:cubicBezTo>
                  <a:cubicBezTo>
                    <a:pt x="58" y="0"/>
                    <a:pt x="57" y="5"/>
                    <a:pt x="54" y="2"/>
                  </a:cubicBezTo>
                  <a:cubicBezTo>
                    <a:pt x="50" y="0"/>
                    <a:pt x="50" y="3"/>
                    <a:pt x="46" y="2"/>
                  </a:cubicBezTo>
                  <a:cubicBezTo>
                    <a:pt x="41" y="2"/>
                    <a:pt x="44" y="9"/>
                    <a:pt x="41" y="16"/>
                  </a:cubicBezTo>
                  <a:cubicBezTo>
                    <a:pt x="40" y="17"/>
                    <a:pt x="41" y="20"/>
                    <a:pt x="40" y="20"/>
                  </a:cubicBezTo>
                  <a:cubicBezTo>
                    <a:pt x="40" y="22"/>
                    <a:pt x="38" y="19"/>
                    <a:pt x="35" y="17"/>
                  </a:cubicBezTo>
                  <a:cubicBezTo>
                    <a:pt x="32" y="17"/>
                    <a:pt x="29" y="16"/>
                    <a:pt x="29" y="16"/>
                  </a:cubicBezTo>
                  <a:cubicBezTo>
                    <a:pt x="18" y="16"/>
                    <a:pt x="18" y="16"/>
                    <a:pt x="18" y="16"/>
                  </a:cubicBezTo>
                  <a:close/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02" name="Freeform 118">
              <a:extLst>
                <a:ext uri="{FF2B5EF4-FFF2-40B4-BE49-F238E27FC236}">
                  <a16:creationId xmlns:a16="http://schemas.microsoft.com/office/drawing/2014/main" id="{515C91F3-2AB6-BB5C-C49A-64F9F3551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44671" y="4681697"/>
              <a:ext cx="149431" cy="189597"/>
            </a:xfrm>
            <a:custGeom>
              <a:avLst/>
              <a:gdLst/>
              <a:ahLst/>
              <a:cxnLst>
                <a:cxn ang="0">
                  <a:pos x="22" y="1"/>
                </a:cxn>
                <a:cxn ang="0">
                  <a:pos x="31" y="0"/>
                </a:cxn>
                <a:cxn ang="0">
                  <a:pos x="39" y="1"/>
                </a:cxn>
                <a:cxn ang="0">
                  <a:pos x="37" y="9"/>
                </a:cxn>
                <a:cxn ang="0">
                  <a:pos x="43" y="9"/>
                </a:cxn>
                <a:cxn ang="0">
                  <a:pos x="46" y="15"/>
                </a:cxn>
                <a:cxn ang="0">
                  <a:pos x="43" y="23"/>
                </a:cxn>
                <a:cxn ang="0">
                  <a:pos x="48" y="29"/>
                </a:cxn>
                <a:cxn ang="0">
                  <a:pos x="46" y="42"/>
                </a:cxn>
                <a:cxn ang="0">
                  <a:pos x="45" y="47"/>
                </a:cxn>
                <a:cxn ang="0">
                  <a:pos x="42" y="45"/>
                </a:cxn>
                <a:cxn ang="0">
                  <a:pos x="34" y="42"/>
                </a:cxn>
                <a:cxn ang="0">
                  <a:pos x="32" y="44"/>
                </a:cxn>
                <a:cxn ang="0">
                  <a:pos x="26" y="47"/>
                </a:cxn>
                <a:cxn ang="0">
                  <a:pos x="26" y="54"/>
                </a:cxn>
                <a:cxn ang="0">
                  <a:pos x="25" y="59"/>
                </a:cxn>
                <a:cxn ang="0">
                  <a:pos x="20" y="61"/>
                </a:cxn>
                <a:cxn ang="0">
                  <a:pos x="12" y="50"/>
                </a:cxn>
                <a:cxn ang="0">
                  <a:pos x="6" y="44"/>
                </a:cxn>
                <a:cxn ang="0">
                  <a:pos x="3" y="34"/>
                </a:cxn>
                <a:cxn ang="0">
                  <a:pos x="3" y="29"/>
                </a:cxn>
                <a:cxn ang="0">
                  <a:pos x="6" y="23"/>
                </a:cxn>
                <a:cxn ang="0">
                  <a:pos x="8" y="22"/>
                </a:cxn>
                <a:cxn ang="0">
                  <a:pos x="11" y="20"/>
                </a:cxn>
                <a:cxn ang="0">
                  <a:pos x="6" y="17"/>
                </a:cxn>
                <a:cxn ang="0">
                  <a:pos x="8" y="17"/>
                </a:cxn>
                <a:cxn ang="0">
                  <a:pos x="8" y="12"/>
                </a:cxn>
                <a:cxn ang="0">
                  <a:pos x="22" y="12"/>
                </a:cxn>
                <a:cxn ang="0">
                  <a:pos x="22" y="1"/>
                </a:cxn>
              </a:cxnLst>
              <a:rect l="0" t="0" r="r" b="b"/>
              <a:pathLst>
                <a:path w="48" h="61">
                  <a:moveTo>
                    <a:pt x="22" y="1"/>
                  </a:moveTo>
                  <a:cubicBezTo>
                    <a:pt x="23" y="0"/>
                    <a:pt x="23" y="0"/>
                    <a:pt x="31" y="0"/>
                  </a:cubicBezTo>
                  <a:cubicBezTo>
                    <a:pt x="40" y="0"/>
                    <a:pt x="37" y="0"/>
                    <a:pt x="39" y="1"/>
                  </a:cubicBezTo>
                  <a:cubicBezTo>
                    <a:pt x="39" y="4"/>
                    <a:pt x="35" y="4"/>
                    <a:pt x="37" y="9"/>
                  </a:cubicBezTo>
                  <a:cubicBezTo>
                    <a:pt x="39" y="12"/>
                    <a:pt x="42" y="9"/>
                    <a:pt x="43" y="9"/>
                  </a:cubicBezTo>
                  <a:cubicBezTo>
                    <a:pt x="46" y="9"/>
                    <a:pt x="48" y="12"/>
                    <a:pt x="46" y="15"/>
                  </a:cubicBezTo>
                  <a:cubicBezTo>
                    <a:pt x="45" y="20"/>
                    <a:pt x="45" y="14"/>
                    <a:pt x="43" y="23"/>
                  </a:cubicBezTo>
                  <a:cubicBezTo>
                    <a:pt x="42" y="28"/>
                    <a:pt x="48" y="26"/>
                    <a:pt x="48" y="29"/>
                  </a:cubicBezTo>
                  <a:cubicBezTo>
                    <a:pt x="46" y="33"/>
                    <a:pt x="48" y="39"/>
                    <a:pt x="46" y="42"/>
                  </a:cubicBezTo>
                  <a:cubicBezTo>
                    <a:pt x="45" y="45"/>
                    <a:pt x="48" y="47"/>
                    <a:pt x="45" y="47"/>
                  </a:cubicBezTo>
                  <a:cubicBezTo>
                    <a:pt x="42" y="48"/>
                    <a:pt x="43" y="42"/>
                    <a:pt x="42" y="45"/>
                  </a:cubicBezTo>
                  <a:cubicBezTo>
                    <a:pt x="39" y="48"/>
                    <a:pt x="37" y="48"/>
                    <a:pt x="34" y="42"/>
                  </a:cubicBezTo>
                  <a:cubicBezTo>
                    <a:pt x="31" y="37"/>
                    <a:pt x="31" y="40"/>
                    <a:pt x="32" y="44"/>
                  </a:cubicBezTo>
                  <a:cubicBezTo>
                    <a:pt x="32" y="47"/>
                    <a:pt x="29" y="47"/>
                    <a:pt x="26" y="47"/>
                  </a:cubicBezTo>
                  <a:cubicBezTo>
                    <a:pt x="23" y="47"/>
                    <a:pt x="25" y="53"/>
                    <a:pt x="26" y="54"/>
                  </a:cubicBezTo>
                  <a:cubicBezTo>
                    <a:pt x="28" y="56"/>
                    <a:pt x="28" y="61"/>
                    <a:pt x="25" y="59"/>
                  </a:cubicBezTo>
                  <a:cubicBezTo>
                    <a:pt x="23" y="58"/>
                    <a:pt x="23" y="58"/>
                    <a:pt x="20" y="61"/>
                  </a:cubicBezTo>
                  <a:cubicBezTo>
                    <a:pt x="16" y="56"/>
                    <a:pt x="22" y="59"/>
                    <a:pt x="12" y="50"/>
                  </a:cubicBezTo>
                  <a:cubicBezTo>
                    <a:pt x="9" y="47"/>
                    <a:pt x="8" y="45"/>
                    <a:pt x="6" y="44"/>
                  </a:cubicBezTo>
                  <a:cubicBezTo>
                    <a:pt x="5" y="40"/>
                    <a:pt x="5" y="39"/>
                    <a:pt x="3" y="34"/>
                  </a:cubicBezTo>
                  <a:cubicBezTo>
                    <a:pt x="0" y="29"/>
                    <a:pt x="0" y="26"/>
                    <a:pt x="3" y="29"/>
                  </a:cubicBezTo>
                  <a:cubicBezTo>
                    <a:pt x="5" y="31"/>
                    <a:pt x="6" y="26"/>
                    <a:pt x="6" y="23"/>
                  </a:cubicBezTo>
                  <a:cubicBezTo>
                    <a:pt x="6" y="18"/>
                    <a:pt x="6" y="18"/>
                    <a:pt x="8" y="22"/>
                  </a:cubicBezTo>
                  <a:cubicBezTo>
                    <a:pt x="9" y="23"/>
                    <a:pt x="14" y="22"/>
                    <a:pt x="11" y="20"/>
                  </a:cubicBezTo>
                  <a:cubicBezTo>
                    <a:pt x="8" y="20"/>
                    <a:pt x="6" y="18"/>
                    <a:pt x="6" y="17"/>
                  </a:cubicBezTo>
                  <a:cubicBezTo>
                    <a:pt x="8" y="15"/>
                    <a:pt x="8" y="17"/>
                    <a:pt x="8" y="17"/>
                  </a:cubicBezTo>
                  <a:cubicBezTo>
                    <a:pt x="9" y="15"/>
                    <a:pt x="8" y="14"/>
                    <a:pt x="8" y="12"/>
                  </a:cubicBezTo>
                  <a:cubicBezTo>
                    <a:pt x="16" y="12"/>
                    <a:pt x="17" y="14"/>
                    <a:pt x="22" y="12"/>
                  </a:cubicBezTo>
                  <a:cubicBezTo>
                    <a:pt x="22" y="1"/>
                    <a:pt x="22" y="1"/>
                    <a:pt x="22" y="1"/>
                  </a:cubicBezTo>
                  <a:close/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03" name="Freeform 119">
              <a:extLst>
                <a:ext uri="{FF2B5EF4-FFF2-40B4-BE49-F238E27FC236}">
                  <a16:creationId xmlns:a16="http://schemas.microsoft.com/office/drawing/2014/main" id="{EE066710-78E1-0611-AFD9-C7BAF02B16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63952" y="4681697"/>
              <a:ext cx="49810" cy="43383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16" y="1"/>
                </a:cxn>
                <a:cxn ang="0">
                  <a:pos x="16" y="13"/>
                </a:cxn>
                <a:cxn ang="0">
                  <a:pos x="2" y="13"/>
                </a:cxn>
                <a:cxn ang="0">
                  <a:pos x="0" y="11"/>
                </a:cxn>
                <a:cxn ang="0">
                  <a:pos x="3" y="0"/>
                </a:cxn>
              </a:cxnLst>
              <a:rect l="0" t="0" r="r" b="b"/>
              <a:pathLst>
                <a:path w="16" h="14">
                  <a:moveTo>
                    <a:pt x="3" y="0"/>
                  </a:moveTo>
                  <a:cubicBezTo>
                    <a:pt x="6" y="3"/>
                    <a:pt x="8" y="1"/>
                    <a:pt x="16" y="1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1" y="14"/>
                    <a:pt x="9" y="13"/>
                    <a:pt x="2" y="13"/>
                  </a:cubicBezTo>
                  <a:cubicBezTo>
                    <a:pt x="3" y="11"/>
                    <a:pt x="0" y="14"/>
                    <a:pt x="0" y="11"/>
                  </a:cubicBezTo>
                  <a:cubicBezTo>
                    <a:pt x="0" y="8"/>
                    <a:pt x="5" y="8"/>
                    <a:pt x="3" y="0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04" name="Freeform 120">
              <a:extLst>
                <a:ext uri="{FF2B5EF4-FFF2-40B4-BE49-F238E27FC236}">
                  <a16:creationId xmlns:a16="http://schemas.microsoft.com/office/drawing/2014/main" id="{3C60BF83-24BF-1012-D65B-DE18E05332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36637" y="4638314"/>
              <a:ext cx="17675" cy="17674"/>
            </a:xfrm>
            <a:custGeom>
              <a:avLst/>
              <a:gdLst/>
              <a:ahLst/>
              <a:cxnLst>
                <a:cxn ang="0">
                  <a:pos x="3" y="6"/>
                </a:cxn>
                <a:cxn ang="0">
                  <a:pos x="3" y="2"/>
                </a:cxn>
                <a:cxn ang="0">
                  <a:pos x="5" y="3"/>
                </a:cxn>
                <a:cxn ang="0">
                  <a:pos x="3" y="6"/>
                </a:cxn>
              </a:cxnLst>
              <a:rect l="0" t="0" r="r" b="b"/>
              <a:pathLst>
                <a:path w="6" h="6">
                  <a:moveTo>
                    <a:pt x="3" y="6"/>
                  </a:moveTo>
                  <a:cubicBezTo>
                    <a:pt x="0" y="5"/>
                    <a:pt x="3" y="3"/>
                    <a:pt x="3" y="2"/>
                  </a:cubicBezTo>
                  <a:cubicBezTo>
                    <a:pt x="5" y="0"/>
                    <a:pt x="6" y="0"/>
                    <a:pt x="5" y="3"/>
                  </a:cubicBezTo>
                  <a:cubicBezTo>
                    <a:pt x="3" y="6"/>
                    <a:pt x="3" y="6"/>
                    <a:pt x="3" y="6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05" name="Freeform 121">
              <a:extLst>
                <a:ext uri="{FF2B5EF4-FFF2-40B4-BE49-F238E27FC236}">
                  <a16:creationId xmlns:a16="http://schemas.microsoft.com/office/drawing/2014/main" id="{BE2EE60D-A643-06D0-2AFE-F37B859AF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8434" y="4741146"/>
              <a:ext cx="16068" cy="11247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2" y="4"/>
                </a:cxn>
                <a:cxn ang="0">
                  <a:pos x="3" y="0"/>
                </a:cxn>
              </a:cxnLst>
              <a:rect l="0" t="0" r="r" b="b"/>
              <a:pathLst>
                <a:path w="5" h="4">
                  <a:moveTo>
                    <a:pt x="3" y="0"/>
                  </a:moveTo>
                  <a:cubicBezTo>
                    <a:pt x="5" y="1"/>
                    <a:pt x="3" y="4"/>
                    <a:pt x="2" y="4"/>
                  </a:cubicBezTo>
                  <a:cubicBezTo>
                    <a:pt x="0" y="3"/>
                    <a:pt x="2" y="0"/>
                    <a:pt x="3" y="0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06" name="Freeform 122">
              <a:extLst>
                <a:ext uri="{FF2B5EF4-FFF2-40B4-BE49-F238E27FC236}">
                  <a16:creationId xmlns:a16="http://schemas.microsoft.com/office/drawing/2014/main" id="{B0482D02-0BF1-DFB9-4DB7-186394B15E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41166" y="4781315"/>
              <a:ext cx="56237" cy="59450"/>
            </a:xfrm>
            <a:custGeom>
              <a:avLst/>
              <a:gdLst/>
              <a:ahLst/>
              <a:cxnLst>
                <a:cxn ang="0">
                  <a:pos x="3" y="18"/>
                </a:cxn>
                <a:cxn ang="0">
                  <a:pos x="6" y="18"/>
                </a:cxn>
                <a:cxn ang="0">
                  <a:pos x="11" y="16"/>
                </a:cxn>
                <a:cxn ang="0">
                  <a:pos x="12" y="15"/>
                </a:cxn>
                <a:cxn ang="0">
                  <a:pos x="17" y="15"/>
                </a:cxn>
                <a:cxn ang="0">
                  <a:pos x="18" y="8"/>
                </a:cxn>
                <a:cxn ang="0">
                  <a:pos x="15" y="0"/>
                </a:cxn>
                <a:cxn ang="0">
                  <a:pos x="12" y="5"/>
                </a:cxn>
                <a:cxn ang="0">
                  <a:pos x="9" y="3"/>
                </a:cxn>
                <a:cxn ang="0">
                  <a:pos x="5" y="13"/>
                </a:cxn>
                <a:cxn ang="0">
                  <a:pos x="3" y="18"/>
                </a:cxn>
              </a:cxnLst>
              <a:rect l="0" t="0" r="r" b="b"/>
              <a:pathLst>
                <a:path w="18" h="19">
                  <a:moveTo>
                    <a:pt x="3" y="18"/>
                  </a:moveTo>
                  <a:cubicBezTo>
                    <a:pt x="5" y="15"/>
                    <a:pt x="6" y="16"/>
                    <a:pt x="6" y="18"/>
                  </a:cubicBezTo>
                  <a:cubicBezTo>
                    <a:pt x="6" y="19"/>
                    <a:pt x="11" y="19"/>
                    <a:pt x="11" y="16"/>
                  </a:cubicBezTo>
                  <a:cubicBezTo>
                    <a:pt x="11" y="13"/>
                    <a:pt x="12" y="13"/>
                    <a:pt x="12" y="15"/>
                  </a:cubicBezTo>
                  <a:cubicBezTo>
                    <a:pt x="12" y="15"/>
                    <a:pt x="14" y="13"/>
                    <a:pt x="17" y="15"/>
                  </a:cubicBezTo>
                  <a:cubicBezTo>
                    <a:pt x="18" y="15"/>
                    <a:pt x="18" y="13"/>
                    <a:pt x="18" y="8"/>
                  </a:cubicBezTo>
                  <a:cubicBezTo>
                    <a:pt x="17" y="2"/>
                    <a:pt x="15" y="3"/>
                    <a:pt x="15" y="0"/>
                  </a:cubicBezTo>
                  <a:cubicBezTo>
                    <a:pt x="14" y="2"/>
                    <a:pt x="14" y="3"/>
                    <a:pt x="12" y="5"/>
                  </a:cubicBezTo>
                  <a:cubicBezTo>
                    <a:pt x="9" y="5"/>
                    <a:pt x="12" y="2"/>
                    <a:pt x="9" y="3"/>
                  </a:cubicBezTo>
                  <a:cubicBezTo>
                    <a:pt x="0" y="10"/>
                    <a:pt x="8" y="10"/>
                    <a:pt x="5" y="13"/>
                  </a:cubicBezTo>
                  <a:cubicBezTo>
                    <a:pt x="2" y="15"/>
                    <a:pt x="3" y="15"/>
                    <a:pt x="3" y="18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07" name="Freeform 123">
              <a:extLst>
                <a:ext uri="{FF2B5EF4-FFF2-40B4-BE49-F238E27FC236}">
                  <a16:creationId xmlns:a16="http://schemas.microsoft.com/office/drawing/2014/main" id="{40BD0258-0732-73D6-F303-259F2469D9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50807" y="4821484"/>
              <a:ext cx="57844" cy="69090"/>
            </a:xfrm>
            <a:custGeom>
              <a:avLst/>
              <a:gdLst/>
              <a:ahLst/>
              <a:cxnLst>
                <a:cxn ang="0">
                  <a:pos x="14" y="2"/>
                </a:cxn>
                <a:cxn ang="0">
                  <a:pos x="12" y="5"/>
                </a:cxn>
                <a:cxn ang="0">
                  <a:pos x="14" y="11"/>
                </a:cxn>
                <a:cxn ang="0">
                  <a:pos x="5" y="22"/>
                </a:cxn>
                <a:cxn ang="0">
                  <a:pos x="2" y="13"/>
                </a:cxn>
                <a:cxn ang="0">
                  <a:pos x="0" y="5"/>
                </a:cxn>
                <a:cxn ang="0">
                  <a:pos x="3" y="5"/>
                </a:cxn>
                <a:cxn ang="0">
                  <a:pos x="8" y="3"/>
                </a:cxn>
                <a:cxn ang="0">
                  <a:pos x="9" y="2"/>
                </a:cxn>
                <a:cxn ang="0">
                  <a:pos x="14" y="2"/>
                </a:cxn>
              </a:cxnLst>
              <a:rect l="0" t="0" r="r" b="b"/>
              <a:pathLst>
                <a:path w="19" h="22">
                  <a:moveTo>
                    <a:pt x="14" y="2"/>
                  </a:moveTo>
                  <a:cubicBezTo>
                    <a:pt x="14" y="3"/>
                    <a:pt x="12" y="3"/>
                    <a:pt x="12" y="5"/>
                  </a:cubicBezTo>
                  <a:cubicBezTo>
                    <a:pt x="12" y="6"/>
                    <a:pt x="19" y="6"/>
                    <a:pt x="14" y="11"/>
                  </a:cubicBezTo>
                  <a:cubicBezTo>
                    <a:pt x="9" y="16"/>
                    <a:pt x="11" y="20"/>
                    <a:pt x="5" y="22"/>
                  </a:cubicBezTo>
                  <a:cubicBezTo>
                    <a:pt x="5" y="17"/>
                    <a:pt x="2" y="17"/>
                    <a:pt x="2" y="13"/>
                  </a:cubicBezTo>
                  <a:cubicBezTo>
                    <a:pt x="3" y="8"/>
                    <a:pt x="2" y="8"/>
                    <a:pt x="0" y="5"/>
                  </a:cubicBezTo>
                  <a:cubicBezTo>
                    <a:pt x="2" y="2"/>
                    <a:pt x="3" y="3"/>
                    <a:pt x="3" y="5"/>
                  </a:cubicBezTo>
                  <a:cubicBezTo>
                    <a:pt x="3" y="6"/>
                    <a:pt x="8" y="6"/>
                    <a:pt x="8" y="3"/>
                  </a:cubicBezTo>
                  <a:cubicBezTo>
                    <a:pt x="8" y="0"/>
                    <a:pt x="9" y="0"/>
                    <a:pt x="9" y="2"/>
                  </a:cubicBezTo>
                  <a:cubicBezTo>
                    <a:pt x="9" y="2"/>
                    <a:pt x="11" y="0"/>
                    <a:pt x="14" y="2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08" name="Freeform 124">
              <a:extLst>
                <a:ext uri="{FF2B5EF4-FFF2-40B4-BE49-F238E27FC236}">
                  <a16:creationId xmlns:a16="http://schemas.microsoft.com/office/drawing/2014/main" id="{275F3CDB-145B-4102-C826-8B1A7D0685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95999" y="4281615"/>
              <a:ext cx="199241" cy="184776"/>
            </a:xfrm>
            <a:custGeom>
              <a:avLst/>
              <a:gdLst/>
              <a:ahLst/>
              <a:cxnLst>
                <a:cxn ang="0">
                  <a:pos x="24" y="58"/>
                </a:cxn>
                <a:cxn ang="0">
                  <a:pos x="23" y="48"/>
                </a:cxn>
                <a:cxn ang="0">
                  <a:pos x="23" y="42"/>
                </a:cxn>
                <a:cxn ang="0">
                  <a:pos x="38" y="42"/>
                </a:cxn>
                <a:cxn ang="0">
                  <a:pos x="41" y="42"/>
                </a:cxn>
                <a:cxn ang="0">
                  <a:pos x="44" y="41"/>
                </a:cxn>
                <a:cxn ang="0">
                  <a:pos x="49" y="44"/>
                </a:cxn>
                <a:cxn ang="0">
                  <a:pos x="52" y="42"/>
                </a:cxn>
                <a:cxn ang="0">
                  <a:pos x="64" y="34"/>
                </a:cxn>
                <a:cxn ang="0">
                  <a:pos x="62" y="30"/>
                </a:cxn>
                <a:cxn ang="0">
                  <a:pos x="59" y="27"/>
                </a:cxn>
                <a:cxn ang="0">
                  <a:pos x="53" y="22"/>
                </a:cxn>
                <a:cxn ang="0">
                  <a:pos x="53" y="19"/>
                </a:cxn>
                <a:cxn ang="0">
                  <a:pos x="52" y="17"/>
                </a:cxn>
                <a:cxn ang="0">
                  <a:pos x="49" y="13"/>
                </a:cxn>
                <a:cxn ang="0">
                  <a:pos x="47" y="3"/>
                </a:cxn>
                <a:cxn ang="0">
                  <a:pos x="44" y="3"/>
                </a:cxn>
                <a:cxn ang="0">
                  <a:pos x="41" y="2"/>
                </a:cxn>
                <a:cxn ang="0">
                  <a:pos x="32" y="6"/>
                </a:cxn>
                <a:cxn ang="0">
                  <a:pos x="27" y="11"/>
                </a:cxn>
                <a:cxn ang="0">
                  <a:pos x="23" y="16"/>
                </a:cxn>
                <a:cxn ang="0">
                  <a:pos x="18" y="17"/>
                </a:cxn>
                <a:cxn ang="0">
                  <a:pos x="15" y="20"/>
                </a:cxn>
                <a:cxn ang="0">
                  <a:pos x="12" y="19"/>
                </a:cxn>
                <a:cxn ang="0">
                  <a:pos x="12" y="23"/>
                </a:cxn>
                <a:cxn ang="0">
                  <a:pos x="9" y="27"/>
                </a:cxn>
                <a:cxn ang="0">
                  <a:pos x="9" y="31"/>
                </a:cxn>
                <a:cxn ang="0">
                  <a:pos x="3" y="34"/>
                </a:cxn>
                <a:cxn ang="0">
                  <a:pos x="1" y="42"/>
                </a:cxn>
                <a:cxn ang="0">
                  <a:pos x="1" y="48"/>
                </a:cxn>
                <a:cxn ang="0">
                  <a:pos x="7" y="54"/>
                </a:cxn>
                <a:cxn ang="0">
                  <a:pos x="15" y="53"/>
                </a:cxn>
                <a:cxn ang="0">
                  <a:pos x="24" y="58"/>
                </a:cxn>
              </a:cxnLst>
              <a:rect l="0" t="0" r="r" b="b"/>
              <a:pathLst>
                <a:path w="64" h="59">
                  <a:moveTo>
                    <a:pt x="24" y="58"/>
                  </a:moveTo>
                  <a:cubicBezTo>
                    <a:pt x="23" y="54"/>
                    <a:pt x="23" y="50"/>
                    <a:pt x="23" y="48"/>
                  </a:cubicBezTo>
                  <a:cubicBezTo>
                    <a:pt x="23" y="48"/>
                    <a:pt x="20" y="42"/>
                    <a:pt x="23" y="42"/>
                  </a:cubicBezTo>
                  <a:cubicBezTo>
                    <a:pt x="26" y="42"/>
                    <a:pt x="36" y="42"/>
                    <a:pt x="38" y="42"/>
                  </a:cubicBezTo>
                  <a:cubicBezTo>
                    <a:pt x="39" y="42"/>
                    <a:pt x="39" y="44"/>
                    <a:pt x="41" y="42"/>
                  </a:cubicBezTo>
                  <a:cubicBezTo>
                    <a:pt x="42" y="42"/>
                    <a:pt x="42" y="41"/>
                    <a:pt x="44" y="41"/>
                  </a:cubicBezTo>
                  <a:cubicBezTo>
                    <a:pt x="49" y="42"/>
                    <a:pt x="49" y="44"/>
                    <a:pt x="49" y="44"/>
                  </a:cubicBezTo>
                  <a:cubicBezTo>
                    <a:pt x="50" y="44"/>
                    <a:pt x="52" y="42"/>
                    <a:pt x="52" y="42"/>
                  </a:cubicBezTo>
                  <a:cubicBezTo>
                    <a:pt x="58" y="36"/>
                    <a:pt x="59" y="42"/>
                    <a:pt x="64" y="34"/>
                  </a:cubicBezTo>
                  <a:cubicBezTo>
                    <a:pt x="62" y="31"/>
                    <a:pt x="61" y="30"/>
                    <a:pt x="62" y="30"/>
                  </a:cubicBezTo>
                  <a:cubicBezTo>
                    <a:pt x="64" y="28"/>
                    <a:pt x="61" y="23"/>
                    <a:pt x="59" y="27"/>
                  </a:cubicBezTo>
                  <a:cubicBezTo>
                    <a:pt x="58" y="28"/>
                    <a:pt x="55" y="23"/>
                    <a:pt x="53" y="22"/>
                  </a:cubicBezTo>
                  <a:cubicBezTo>
                    <a:pt x="52" y="22"/>
                    <a:pt x="52" y="19"/>
                    <a:pt x="53" y="19"/>
                  </a:cubicBezTo>
                  <a:cubicBezTo>
                    <a:pt x="55" y="20"/>
                    <a:pt x="55" y="19"/>
                    <a:pt x="52" y="17"/>
                  </a:cubicBezTo>
                  <a:cubicBezTo>
                    <a:pt x="50" y="14"/>
                    <a:pt x="49" y="17"/>
                    <a:pt x="49" y="13"/>
                  </a:cubicBezTo>
                  <a:cubicBezTo>
                    <a:pt x="47" y="6"/>
                    <a:pt x="45" y="9"/>
                    <a:pt x="47" y="3"/>
                  </a:cubicBezTo>
                  <a:cubicBezTo>
                    <a:pt x="45" y="3"/>
                    <a:pt x="45" y="3"/>
                    <a:pt x="44" y="3"/>
                  </a:cubicBezTo>
                  <a:cubicBezTo>
                    <a:pt x="42" y="2"/>
                    <a:pt x="42" y="3"/>
                    <a:pt x="41" y="2"/>
                  </a:cubicBezTo>
                  <a:cubicBezTo>
                    <a:pt x="38" y="0"/>
                    <a:pt x="41" y="3"/>
                    <a:pt x="32" y="6"/>
                  </a:cubicBezTo>
                  <a:cubicBezTo>
                    <a:pt x="27" y="8"/>
                    <a:pt x="30" y="13"/>
                    <a:pt x="27" y="11"/>
                  </a:cubicBezTo>
                  <a:cubicBezTo>
                    <a:pt x="24" y="9"/>
                    <a:pt x="23" y="11"/>
                    <a:pt x="23" y="16"/>
                  </a:cubicBezTo>
                  <a:cubicBezTo>
                    <a:pt x="23" y="19"/>
                    <a:pt x="18" y="14"/>
                    <a:pt x="18" y="17"/>
                  </a:cubicBezTo>
                  <a:cubicBezTo>
                    <a:pt x="18" y="19"/>
                    <a:pt x="18" y="22"/>
                    <a:pt x="15" y="20"/>
                  </a:cubicBezTo>
                  <a:cubicBezTo>
                    <a:pt x="12" y="20"/>
                    <a:pt x="14" y="17"/>
                    <a:pt x="12" y="19"/>
                  </a:cubicBezTo>
                  <a:cubicBezTo>
                    <a:pt x="10" y="20"/>
                    <a:pt x="10" y="22"/>
                    <a:pt x="12" y="23"/>
                  </a:cubicBezTo>
                  <a:cubicBezTo>
                    <a:pt x="14" y="27"/>
                    <a:pt x="9" y="25"/>
                    <a:pt x="9" y="27"/>
                  </a:cubicBezTo>
                  <a:cubicBezTo>
                    <a:pt x="10" y="28"/>
                    <a:pt x="10" y="28"/>
                    <a:pt x="9" y="31"/>
                  </a:cubicBezTo>
                  <a:cubicBezTo>
                    <a:pt x="7" y="34"/>
                    <a:pt x="1" y="33"/>
                    <a:pt x="3" y="34"/>
                  </a:cubicBezTo>
                  <a:cubicBezTo>
                    <a:pt x="3" y="36"/>
                    <a:pt x="3" y="41"/>
                    <a:pt x="1" y="42"/>
                  </a:cubicBezTo>
                  <a:cubicBezTo>
                    <a:pt x="0" y="42"/>
                    <a:pt x="3" y="44"/>
                    <a:pt x="1" y="48"/>
                  </a:cubicBezTo>
                  <a:cubicBezTo>
                    <a:pt x="7" y="50"/>
                    <a:pt x="1" y="50"/>
                    <a:pt x="7" y="54"/>
                  </a:cubicBezTo>
                  <a:cubicBezTo>
                    <a:pt x="14" y="59"/>
                    <a:pt x="9" y="53"/>
                    <a:pt x="15" y="53"/>
                  </a:cubicBezTo>
                  <a:cubicBezTo>
                    <a:pt x="21" y="53"/>
                    <a:pt x="20" y="58"/>
                    <a:pt x="24" y="58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09" name="Freeform 125">
              <a:extLst>
                <a:ext uri="{FF2B5EF4-FFF2-40B4-BE49-F238E27FC236}">
                  <a16:creationId xmlns:a16="http://schemas.microsoft.com/office/drawing/2014/main" id="{51F35E67-85F4-C31F-192C-6C119DB154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51857" y="4366773"/>
              <a:ext cx="86766" cy="192810"/>
            </a:xfrm>
            <a:custGeom>
              <a:avLst/>
              <a:gdLst/>
              <a:ahLst/>
              <a:cxnLst>
                <a:cxn ang="0">
                  <a:pos x="14" y="7"/>
                </a:cxn>
                <a:cxn ang="0">
                  <a:pos x="2" y="15"/>
                </a:cxn>
                <a:cxn ang="0">
                  <a:pos x="5" y="25"/>
                </a:cxn>
                <a:cxn ang="0">
                  <a:pos x="6" y="32"/>
                </a:cxn>
                <a:cxn ang="0">
                  <a:pos x="8" y="54"/>
                </a:cxn>
                <a:cxn ang="0">
                  <a:pos x="6" y="56"/>
                </a:cxn>
                <a:cxn ang="0">
                  <a:pos x="8" y="62"/>
                </a:cxn>
                <a:cxn ang="0">
                  <a:pos x="17" y="62"/>
                </a:cxn>
                <a:cxn ang="0">
                  <a:pos x="17" y="40"/>
                </a:cxn>
                <a:cxn ang="0">
                  <a:pos x="20" y="32"/>
                </a:cxn>
                <a:cxn ang="0">
                  <a:pos x="25" y="22"/>
                </a:cxn>
                <a:cxn ang="0">
                  <a:pos x="23" y="9"/>
                </a:cxn>
                <a:cxn ang="0">
                  <a:pos x="19" y="3"/>
                </a:cxn>
                <a:cxn ang="0">
                  <a:pos x="16" y="3"/>
                </a:cxn>
                <a:cxn ang="0">
                  <a:pos x="14" y="7"/>
                </a:cxn>
              </a:cxnLst>
              <a:rect l="0" t="0" r="r" b="b"/>
              <a:pathLst>
                <a:path w="28" h="62">
                  <a:moveTo>
                    <a:pt x="14" y="7"/>
                  </a:moveTo>
                  <a:cubicBezTo>
                    <a:pt x="9" y="15"/>
                    <a:pt x="8" y="9"/>
                    <a:pt x="2" y="15"/>
                  </a:cubicBezTo>
                  <a:cubicBezTo>
                    <a:pt x="0" y="22"/>
                    <a:pt x="2" y="23"/>
                    <a:pt x="5" y="25"/>
                  </a:cubicBezTo>
                  <a:cubicBezTo>
                    <a:pt x="8" y="25"/>
                    <a:pt x="5" y="32"/>
                    <a:pt x="6" y="32"/>
                  </a:cubicBezTo>
                  <a:cubicBezTo>
                    <a:pt x="9" y="34"/>
                    <a:pt x="8" y="51"/>
                    <a:pt x="8" y="54"/>
                  </a:cubicBezTo>
                  <a:cubicBezTo>
                    <a:pt x="8" y="56"/>
                    <a:pt x="6" y="54"/>
                    <a:pt x="6" y="56"/>
                  </a:cubicBezTo>
                  <a:cubicBezTo>
                    <a:pt x="8" y="58"/>
                    <a:pt x="9" y="61"/>
                    <a:pt x="8" y="62"/>
                  </a:cubicBezTo>
                  <a:cubicBezTo>
                    <a:pt x="13" y="62"/>
                    <a:pt x="14" y="62"/>
                    <a:pt x="17" y="62"/>
                  </a:cubicBezTo>
                  <a:cubicBezTo>
                    <a:pt x="19" y="53"/>
                    <a:pt x="17" y="48"/>
                    <a:pt x="17" y="40"/>
                  </a:cubicBezTo>
                  <a:cubicBezTo>
                    <a:pt x="17" y="32"/>
                    <a:pt x="19" y="37"/>
                    <a:pt x="20" y="32"/>
                  </a:cubicBezTo>
                  <a:cubicBezTo>
                    <a:pt x="20" y="28"/>
                    <a:pt x="22" y="29"/>
                    <a:pt x="25" y="22"/>
                  </a:cubicBezTo>
                  <a:cubicBezTo>
                    <a:pt x="28" y="14"/>
                    <a:pt x="22" y="14"/>
                    <a:pt x="23" y="9"/>
                  </a:cubicBezTo>
                  <a:cubicBezTo>
                    <a:pt x="22" y="6"/>
                    <a:pt x="22" y="6"/>
                    <a:pt x="19" y="3"/>
                  </a:cubicBezTo>
                  <a:cubicBezTo>
                    <a:pt x="16" y="0"/>
                    <a:pt x="17" y="3"/>
                    <a:pt x="16" y="3"/>
                  </a:cubicBezTo>
                  <a:cubicBezTo>
                    <a:pt x="13" y="3"/>
                    <a:pt x="16" y="4"/>
                    <a:pt x="14" y="7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10" name="Freeform 126">
              <a:extLst>
                <a:ext uri="{FF2B5EF4-FFF2-40B4-BE49-F238E27FC236}">
                  <a16:creationId xmlns:a16="http://schemas.microsoft.com/office/drawing/2014/main" id="{A6A0D178-C72A-543F-B9E8-F091811EDC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22087" y="4416582"/>
              <a:ext cx="157465" cy="202450"/>
            </a:xfrm>
            <a:custGeom>
              <a:avLst/>
              <a:gdLst/>
              <a:ahLst/>
              <a:cxnLst>
                <a:cxn ang="0">
                  <a:pos x="48" y="15"/>
                </a:cxn>
                <a:cxn ang="0">
                  <a:pos x="48" y="29"/>
                </a:cxn>
                <a:cxn ang="0">
                  <a:pos x="44" y="43"/>
                </a:cxn>
                <a:cxn ang="0">
                  <a:pos x="45" y="52"/>
                </a:cxn>
                <a:cxn ang="0">
                  <a:pos x="47" y="57"/>
                </a:cxn>
                <a:cxn ang="0">
                  <a:pos x="44" y="57"/>
                </a:cxn>
                <a:cxn ang="0">
                  <a:pos x="39" y="57"/>
                </a:cxn>
                <a:cxn ang="0">
                  <a:pos x="35" y="57"/>
                </a:cxn>
                <a:cxn ang="0">
                  <a:pos x="21" y="59"/>
                </a:cxn>
                <a:cxn ang="0">
                  <a:pos x="9" y="65"/>
                </a:cxn>
                <a:cxn ang="0">
                  <a:pos x="10" y="52"/>
                </a:cxn>
                <a:cxn ang="0">
                  <a:pos x="7" y="48"/>
                </a:cxn>
                <a:cxn ang="0">
                  <a:pos x="1" y="43"/>
                </a:cxn>
                <a:cxn ang="0">
                  <a:pos x="1" y="32"/>
                </a:cxn>
                <a:cxn ang="0">
                  <a:pos x="6" y="29"/>
                </a:cxn>
                <a:cxn ang="0">
                  <a:pos x="3" y="26"/>
                </a:cxn>
                <a:cxn ang="0">
                  <a:pos x="9" y="26"/>
                </a:cxn>
                <a:cxn ang="0">
                  <a:pos x="7" y="20"/>
                </a:cxn>
                <a:cxn ang="0">
                  <a:pos x="4" y="14"/>
                </a:cxn>
                <a:cxn ang="0">
                  <a:pos x="6" y="9"/>
                </a:cxn>
                <a:cxn ang="0">
                  <a:pos x="15" y="7"/>
                </a:cxn>
                <a:cxn ang="0">
                  <a:pos x="20" y="6"/>
                </a:cxn>
                <a:cxn ang="0">
                  <a:pos x="26" y="6"/>
                </a:cxn>
                <a:cxn ang="0">
                  <a:pos x="32" y="12"/>
                </a:cxn>
                <a:cxn ang="0">
                  <a:pos x="39" y="10"/>
                </a:cxn>
                <a:cxn ang="0">
                  <a:pos x="48" y="15"/>
                </a:cxn>
              </a:cxnLst>
              <a:rect l="0" t="0" r="r" b="b"/>
              <a:pathLst>
                <a:path w="51" h="65">
                  <a:moveTo>
                    <a:pt x="48" y="15"/>
                  </a:moveTo>
                  <a:cubicBezTo>
                    <a:pt x="47" y="18"/>
                    <a:pt x="51" y="29"/>
                    <a:pt x="48" y="29"/>
                  </a:cubicBezTo>
                  <a:cubicBezTo>
                    <a:pt x="47" y="31"/>
                    <a:pt x="45" y="37"/>
                    <a:pt x="44" y="43"/>
                  </a:cubicBezTo>
                  <a:cubicBezTo>
                    <a:pt x="42" y="45"/>
                    <a:pt x="45" y="51"/>
                    <a:pt x="45" y="52"/>
                  </a:cubicBezTo>
                  <a:cubicBezTo>
                    <a:pt x="47" y="54"/>
                    <a:pt x="48" y="59"/>
                    <a:pt x="47" y="57"/>
                  </a:cubicBezTo>
                  <a:cubicBezTo>
                    <a:pt x="47" y="57"/>
                    <a:pt x="47" y="57"/>
                    <a:pt x="44" y="57"/>
                  </a:cubicBezTo>
                  <a:cubicBezTo>
                    <a:pt x="42" y="57"/>
                    <a:pt x="44" y="59"/>
                    <a:pt x="39" y="57"/>
                  </a:cubicBezTo>
                  <a:cubicBezTo>
                    <a:pt x="35" y="57"/>
                    <a:pt x="38" y="57"/>
                    <a:pt x="35" y="57"/>
                  </a:cubicBezTo>
                  <a:cubicBezTo>
                    <a:pt x="30" y="59"/>
                    <a:pt x="30" y="57"/>
                    <a:pt x="21" y="59"/>
                  </a:cubicBezTo>
                  <a:cubicBezTo>
                    <a:pt x="12" y="62"/>
                    <a:pt x="12" y="65"/>
                    <a:pt x="9" y="65"/>
                  </a:cubicBezTo>
                  <a:cubicBezTo>
                    <a:pt x="9" y="60"/>
                    <a:pt x="10" y="57"/>
                    <a:pt x="10" y="52"/>
                  </a:cubicBezTo>
                  <a:cubicBezTo>
                    <a:pt x="10" y="49"/>
                    <a:pt x="7" y="51"/>
                    <a:pt x="7" y="48"/>
                  </a:cubicBezTo>
                  <a:cubicBezTo>
                    <a:pt x="7" y="45"/>
                    <a:pt x="0" y="46"/>
                    <a:pt x="1" y="43"/>
                  </a:cubicBezTo>
                  <a:cubicBezTo>
                    <a:pt x="3" y="40"/>
                    <a:pt x="4" y="38"/>
                    <a:pt x="1" y="32"/>
                  </a:cubicBezTo>
                  <a:cubicBezTo>
                    <a:pt x="4" y="35"/>
                    <a:pt x="6" y="32"/>
                    <a:pt x="6" y="29"/>
                  </a:cubicBezTo>
                  <a:cubicBezTo>
                    <a:pt x="6" y="26"/>
                    <a:pt x="4" y="29"/>
                    <a:pt x="3" y="26"/>
                  </a:cubicBezTo>
                  <a:cubicBezTo>
                    <a:pt x="3" y="24"/>
                    <a:pt x="4" y="24"/>
                    <a:pt x="9" y="26"/>
                  </a:cubicBezTo>
                  <a:cubicBezTo>
                    <a:pt x="9" y="21"/>
                    <a:pt x="4" y="23"/>
                    <a:pt x="7" y="20"/>
                  </a:cubicBezTo>
                  <a:cubicBezTo>
                    <a:pt x="9" y="17"/>
                    <a:pt x="4" y="17"/>
                    <a:pt x="4" y="14"/>
                  </a:cubicBezTo>
                  <a:cubicBezTo>
                    <a:pt x="6" y="10"/>
                    <a:pt x="3" y="10"/>
                    <a:pt x="6" y="9"/>
                  </a:cubicBezTo>
                  <a:cubicBezTo>
                    <a:pt x="12" y="1"/>
                    <a:pt x="10" y="12"/>
                    <a:pt x="15" y="7"/>
                  </a:cubicBezTo>
                  <a:cubicBezTo>
                    <a:pt x="18" y="3"/>
                    <a:pt x="20" y="0"/>
                    <a:pt x="20" y="6"/>
                  </a:cubicBezTo>
                  <a:cubicBezTo>
                    <a:pt x="20" y="10"/>
                    <a:pt x="23" y="6"/>
                    <a:pt x="26" y="6"/>
                  </a:cubicBezTo>
                  <a:cubicBezTo>
                    <a:pt x="32" y="7"/>
                    <a:pt x="26" y="7"/>
                    <a:pt x="32" y="12"/>
                  </a:cubicBezTo>
                  <a:cubicBezTo>
                    <a:pt x="38" y="17"/>
                    <a:pt x="33" y="10"/>
                    <a:pt x="39" y="10"/>
                  </a:cubicBezTo>
                  <a:cubicBezTo>
                    <a:pt x="45" y="10"/>
                    <a:pt x="44" y="15"/>
                    <a:pt x="48" y="15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11" name="Freeform 127">
              <a:extLst>
                <a:ext uri="{FF2B5EF4-FFF2-40B4-BE49-F238E27FC236}">
                  <a16:creationId xmlns:a16="http://schemas.microsoft.com/office/drawing/2014/main" id="{40B647E9-F710-0B25-43CC-423890800D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2236" y="4410155"/>
              <a:ext cx="115688" cy="202450"/>
            </a:xfrm>
            <a:custGeom>
              <a:avLst/>
              <a:gdLst/>
              <a:ahLst/>
              <a:cxnLst>
                <a:cxn ang="0">
                  <a:pos x="26" y="0"/>
                </a:cxn>
                <a:cxn ang="0">
                  <a:pos x="29" y="14"/>
                </a:cxn>
                <a:cxn ang="0">
                  <a:pos x="31" y="22"/>
                </a:cxn>
                <a:cxn ang="0">
                  <a:pos x="31" y="33"/>
                </a:cxn>
                <a:cxn ang="0">
                  <a:pos x="32" y="40"/>
                </a:cxn>
                <a:cxn ang="0">
                  <a:pos x="37" y="50"/>
                </a:cxn>
                <a:cxn ang="0">
                  <a:pos x="32" y="53"/>
                </a:cxn>
                <a:cxn ang="0">
                  <a:pos x="18" y="59"/>
                </a:cxn>
                <a:cxn ang="0">
                  <a:pos x="9" y="64"/>
                </a:cxn>
                <a:cxn ang="0">
                  <a:pos x="1" y="61"/>
                </a:cxn>
                <a:cxn ang="0">
                  <a:pos x="4" y="59"/>
                </a:cxn>
                <a:cxn ang="0">
                  <a:pos x="3" y="54"/>
                </a:cxn>
                <a:cxn ang="0">
                  <a:pos x="1" y="45"/>
                </a:cxn>
                <a:cxn ang="0">
                  <a:pos x="6" y="31"/>
                </a:cxn>
                <a:cxn ang="0">
                  <a:pos x="6" y="17"/>
                </a:cxn>
                <a:cxn ang="0">
                  <a:pos x="4" y="8"/>
                </a:cxn>
                <a:cxn ang="0">
                  <a:pos x="4" y="2"/>
                </a:cxn>
                <a:cxn ang="0">
                  <a:pos x="20" y="2"/>
                </a:cxn>
                <a:cxn ang="0">
                  <a:pos x="23" y="2"/>
                </a:cxn>
                <a:cxn ang="0">
                  <a:pos x="26" y="0"/>
                </a:cxn>
              </a:cxnLst>
              <a:rect l="0" t="0" r="r" b="b"/>
              <a:pathLst>
                <a:path w="37" h="65">
                  <a:moveTo>
                    <a:pt x="26" y="0"/>
                  </a:moveTo>
                  <a:cubicBezTo>
                    <a:pt x="26" y="9"/>
                    <a:pt x="31" y="6"/>
                    <a:pt x="29" y="14"/>
                  </a:cubicBezTo>
                  <a:cubicBezTo>
                    <a:pt x="28" y="22"/>
                    <a:pt x="32" y="14"/>
                    <a:pt x="31" y="22"/>
                  </a:cubicBezTo>
                  <a:cubicBezTo>
                    <a:pt x="29" y="28"/>
                    <a:pt x="34" y="23"/>
                    <a:pt x="31" y="33"/>
                  </a:cubicBezTo>
                  <a:cubicBezTo>
                    <a:pt x="29" y="42"/>
                    <a:pt x="32" y="34"/>
                    <a:pt x="32" y="40"/>
                  </a:cubicBezTo>
                  <a:cubicBezTo>
                    <a:pt x="31" y="45"/>
                    <a:pt x="34" y="47"/>
                    <a:pt x="37" y="50"/>
                  </a:cubicBezTo>
                  <a:cubicBezTo>
                    <a:pt x="34" y="51"/>
                    <a:pt x="37" y="53"/>
                    <a:pt x="32" y="53"/>
                  </a:cubicBezTo>
                  <a:cubicBezTo>
                    <a:pt x="23" y="54"/>
                    <a:pt x="24" y="59"/>
                    <a:pt x="18" y="59"/>
                  </a:cubicBezTo>
                  <a:cubicBezTo>
                    <a:pt x="14" y="61"/>
                    <a:pt x="12" y="65"/>
                    <a:pt x="9" y="64"/>
                  </a:cubicBezTo>
                  <a:cubicBezTo>
                    <a:pt x="8" y="61"/>
                    <a:pt x="3" y="61"/>
                    <a:pt x="1" y="61"/>
                  </a:cubicBezTo>
                  <a:cubicBezTo>
                    <a:pt x="0" y="61"/>
                    <a:pt x="3" y="61"/>
                    <a:pt x="4" y="59"/>
                  </a:cubicBezTo>
                  <a:cubicBezTo>
                    <a:pt x="6" y="61"/>
                    <a:pt x="4" y="56"/>
                    <a:pt x="3" y="54"/>
                  </a:cubicBezTo>
                  <a:cubicBezTo>
                    <a:pt x="3" y="53"/>
                    <a:pt x="0" y="47"/>
                    <a:pt x="1" y="45"/>
                  </a:cubicBezTo>
                  <a:cubicBezTo>
                    <a:pt x="3" y="39"/>
                    <a:pt x="4" y="33"/>
                    <a:pt x="6" y="31"/>
                  </a:cubicBezTo>
                  <a:cubicBezTo>
                    <a:pt x="9" y="31"/>
                    <a:pt x="4" y="20"/>
                    <a:pt x="6" y="17"/>
                  </a:cubicBezTo>
                  <a:cubicBezTo>
                    <a:pt x="4" y="14"/>
                    <a:pt x="4" y="9"/>
                    <a:pt x="4" y="8"/>
                  </a:cubicBezTo>
                  <a:cubicBezTo>
                    <a:pt x="4" y="8"/>
                    <a:pt x="1" y="2"/>
                    <a:pt x="4" y="2"/>
                  </a:cubicBezTo>
                  <a:cubicBezTo>
                    <a:pt x="8" y="2"/>
                    <a:pt x="18" y="2"/>
                    <a:pt x="20" y="2"/>
                  </a:cubicBezTo>
                  <a:cubicBezTo>
                    <a:pt x="21" y="2"/>
                    <a:pt x="21" y="3"/>
                    <a:pt x="23" y="2"/>
                  </a:cubicBezTo>
                  <a:cubicBezTo>
                    <a:pt x="24" y="2"/>
                    <a:pt x="24" y="0"/>
                    <a:pt x="26" y="0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12" name="Freeform 128">
              <a:extLst>
                <a:ext uri="{FF2B5EF4-FFF2-40B4-BE49-F238E27FC236}">
                  <a16:creationId xmlns:a16="http://schemas.microsoft.com/office/drawing/2014/main" id="{C2C5E6D2-D0A7-4D5D-56F6-E558BA102B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32576" y="4410155"/>
              <a:ext cx="48203" cy="15585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3"/>
                </a:cxn>
                <a:cxn ang="0">
                  <a:pos x="8" y="2"/>
                </a:cxn>
                <a:cxn ang="0">
                  <a:pos x="11" y="11"/>
                </a:cxn>
                <a:cxn ang="0">
                  <a:pos x="12" y="19"/>
                </a:cxn>
                <a:cxn ang="0">
                  <a:pos x="14" y="40"/>
                </a:cxn>
                <a:cxn ang="0">
                  <a:pos x="12" y="42"/>
                </a:cxn>
                <a:cxn ang="0">
                  <a:pos x="14" y="48"/>
                </a:cxn>
                <a:cxn ang="0">
                  <a:pos x="11" y="50"/>
                </a:cxn>
                <a:cxn ang="0">
                  <a:pos x="6" y="40"/>
                </a:cxn>
                <a:cxn ang="0">
                  <a:pos x="4" y="33"/>
                </a:cxn>
                <a:cxn ang="0">
                  <a:pos x="4" y="22"/>
                </a:cxn>
                <a:cxn ang="0">
                  <a:pos x="3" y="14"/>
                </a:cxn>
                <a:cxn ang="0">
                  <a:pos x="0" y="0"/>
                </a:cxn>
              </a:cxnLst>
              <a:rect l="0" t="0" r="r" b="b"/>
              <a:pathLst>
                <a:path w="15" h="50">
                  <a:moveTo>
                    <a:pt x="0" y="0"/>
                  </a:moveTo>
                  <a:cubicBezTo>
                    <a:pt x="4" y="2"/>
                    <a:pt x="4" y="3"/>
                    <a:pt x="4" y="3"/>
                  </a:cubicBezTo>
                  <a:cubicBezTo>
                    <a:pt x="6" y="3"/>
                    <a:pt x="8" y="2"/>
                    <a:pt x="8" y="2"/>
                  </a:cubicBezTo>
                  <a:cubicBezTo>
                    <a:pt x="6" y="8"/>
                    <a:pt x="8" y="9"/>
                    <a:pt x="11" y="11"/>
                  </a:cubicBezTo>
                  <a:cubicBezTo>
                    <a:pt x="14" y="11"/>
                    <a:pt x="11" y="19"/>
                    <a:pt x="12" y="19"/>
                  </a:cubicBezTo>
                  <a:cubicBezTo>
                    <a:pt x="15" y="20"/>
                    <a:pt x="14" y="37"/>
                    <a:pt x="14" y="40"/>
                  </a:cubicBezTo>
                  <a:cubicBezTo>
                    <a:pt x="14" y="42"/>
                    <a:pt x="12" y="40"/>
                    <a:pt x="12" y="42"/>
                  </a:cubicBezTo>
                  <a:cubicBezTo>
                    <a:pt x="14" y="44"/>
                    <a:pt x="15" y="47"/>
                    <a:pt x="14" y="48"/>
                  </a:cubicBezTo>
                  <a:cubicBezTo>
                    <a:pt x="12" y="50"/>
                    <a:pt x="11" y="50"/>
                    <a:pt x="11" y="50"/>
                  </a:cubicBezTo>
                  <a:cubicBezTo>
                    <a:pt x="8" y="47"/>
                    <a:pt x="4" y="45"/>
                    <a:pt x="6" y="40"/>
                  </a:cubicBezTo>
                  <a:cubicBezTo>
                    <a:pt x="6" y="34"/>
                    <a:pt x="3" y="42"/>
                    <a:pt x="4" y="33"/>
                  </a:cubicBezTo>
                  <a:cubicBezTo>
                    <a:pt x="8" y="23"/>
                    <a:pt x="3" y="28"/>
                    <a:pt x="4" y="22"/>
                  </a:cubicBezTo>
                  <a:cubicBezTo>
                    <a:pt x="6" y="14"/>
                    <a:pt x="1" y="22"/>
                    <a:pt x="3" y="14"/>
                  </a:cubicBezTo>
                  <a:cubicBezTo>
                    <a:pt x="4" y="6"/>
                    <a:pt x="0" y="9"/>
                    <a:pt x="0" y="0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13" name="Freeform 129">
              <a:extLst>
                <a:ext uri="{FF2B5EF4-FFF2-40B4-BE49-F238E27FC236}">
                  <a16:creationId xmlns:a16="http://schemas.microsoft.com/office/drawing/2014/main" id="{E48A51B0-D68E-3263-39DC-4C5CCE49DB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09612" y="3621240"/>
              <a:ext cx="305289" cy="271541"/>
            </a:xfrm>
            <a:custGeom>
              <a:avLst/>
              <a:gdLst/>
              <a:ahLst/>
              <a:cxnLst>
                <a:cxn ang="0">
                  <a:pos x="35" y="87"/>
                </a:cxn>
                <a:cxn ang="0">
                  <a:pos x="0" y="87"/>
                </a:cxn>
                <a:cxn ang="0">
                  <a:pos x="16" y="79"/>
                </a:cxn>
                <a:cxn ang="0">
                  <a:pos x="26" y="65"/>
                </a:cxn>
                <a:cxn ang="0">
                  <a:pos x="29" y="43"/>
                </a:cxn>
                <a:cxn ang="0">
                  <a:pos x="32" y="34"/>
                </a:cxn>
                <a:cxn ang="0">
                  <a:pos x="45" y="24"/>
                </a:cxn>
                <a:cxn ang="0">
                  <a:pos x="60" y="1"/>
                </a:cxn>
                <a:cxn ang="0">
                  <a:pos x="66" y="7"/>
                </a:cxn>
                <a:cxn ang="0">
                  <a:pos x="76" y="7"/>
                </a:cxn>
                <a:cxn ang="0">
                  <a:pos x="81" y="6"/>
                </a:cxn>
                <a:cxn ang="0">
                  <a:pos x="87" y="9"/>
                </a:cxn>
                <a:cxn ang="0">
                  <a:pos x="95" y="35"/>
                </a:cxn>
                <a:cxn ang="0">
                  <a:pos x="95" y="40"/>
                </a:cxn>
                <a:cxn ang="0">
                  <a:pos x="81" y="43"/>
                </a:cxn>
                <a:cxn ang="0">
                  <a:pos x="73" y="48"/>
                </a:cxn>
                <a:cxn ang="0">
                  <a:pos x="72" y="55"/>
                </a:cxn>
                <a:cxn ang="0">
                  <a:pos x="63" y="62"/>
                </a:cxn>
                <a:cxn ang="0">
                  <a:pos x="43" y="71"/>
                </a:cxn>
                <a:cxn ang="0">
                  <a:pos x="35" y="76"/>
                </a:cxn>
                <a:cxn ang="0">
                  <a:pos x="35" y="87"/>
                </a:cxn>
              </a:cxnLst>
              <a:rect l="0" t="0" r="r" b="b"/>
              <a:pathLst>
                <a:path w="98" h="87">
                  <a:moveTo>
                    <a:pt x="35" y="87"/>
                  </a:moveTo>
                  <a:cubicBezTo>
                    <a:pt x="0" y="87"/>
                    <a:pt x="0" y="87"/>
                    <a:pt x="0" y="87"/>
                  </a:cubicBezTo>
                  <a:cubicBezTo>
                    <a:pt x="2" y="80"/>
                    <a:pt x="10" y="85"/>
                    <a:pt x="16" y="79"/>
                  </a:cubicBezTo>
                  <a:cubicBezTo>
                    <a:pt x="20" y="71"/>
                    <a:pt x="20" y="79"/>
                    <a:pt x="26" y="65"/>
                  </a:cubicBezTo>
                  <a:cubicBezTo>
                    <a:pt x="29" y="59"/>
                    <a:pt x="23" y="51"/>
                    <a:pt x="29" y="43"/>
                  </a:cubicBezTo>
                  <a:cubicBezTo>
                    <a:pt x="34" y="37"/>
                    <a:pt x="28" y="38"/>
                    <a:pt x="32" y="34"/>
                  </a:cubicBezTo>
                  <a:cubicBezTo>
                    <a:pt x="37" y="29"/>
                    <a:pt x="32" y="29"/>
                    <a:pt x="45" y="24"/>
                  </a:cubicBezTo>
                  <a:cubicBezTo>
                    <a:pt x="57" y="20"/>
                    <a:pt x="54" y="3"/>
                    <a:pt x="60" y="1"/>
                  </a:cubicBezTo>
                  <a:cubicBezTo>
                    <a:pt x="64" y="0"/>
                    <a:pt x="60" y="4"/>
                    <a:pt x="66" y="7"/>
                  </a:cubicBezTo>
                  <a:cubicBezTo>
                    <a:pt x="72" y="10"/>
                    <a:pt x="73" y="6"/>
                    <a:pt x="76" y="7"/>
                  </a:cubicBezTo>
                  <a:cubicBezTo>
                    <a:pt x="80" y="9"/>
                    <a:pt x="81" y="3"/>
                    <a:pt x="81" y="6"/>
                  </a:cubicBezTo>
                  <a:cubicBezTo>
                    <a:pt x="81" y="10"/>
                    <a:pt x="86" y="9"/>
                    <a:pt x="87" y="9"/>
                  </a:cubicBezTo>
                  <a:cubicBezTo>
                    <a:pt x="93" y="12"/>
                    <a:pt x="89" y="32"/>
                    <a:pt x="95" y="35"/>
                  </a:cubicBezTo>
                  <a:cubicBezTo>
                    <a:pt x="98" y="37"/>
                    <a:pt x="95" y="37"/>
                    <a:pt x="95" y="40"/>
                  </a:cubicBezTo>
                  <a:cubicBezTo>
                    <a:pt x="95" y="43"/>
                    <a:pt x="84" y="38"/>
                    <a:pt x="81" y="43"/>
                  </a:cubicBezTo>
                  <a:cubicBezTo>
                    <a:pt x="78" y="46"/>
                    <a:pt x="72" y="43"/>
                    <a:pt x="73" y="48"/>
                  </a:cubicBezTo>
                  <a:cubicBezTo>
                    <a:pt x="76" y="52"/>
                    <a:pt x="78" y="52"/>
                    <a:pt x="72" y="55"/>
                  </a:cubicBezTo>
                  <a:cubicBezTo>
                    <a:pt x="66" y="57"/>
                    <a:pt x="66" y="57"/>
                    <a:pt x="63" y="62"/>
                  </a:cubicBezTo>
                  <a:cubicBezTo>
                    <a:pt x="63" y="63"/>
                    <a:pt x="45" y="68"/>
                    <a:pt x="43" y="71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5" y="87"/>
                    <a:pt x="35" y="87"/>
                    <a:pt x="35" y="87"/>
                  </a:cubicBezTo>
                  <a:close/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14" name="Freeform 130">
              <a:extLst>
                <a:ext uri="{FF2B5EF4-FFF2-40B4-BE49-F238E27FC236}">
                  <a16:creationId xmlns:a16="http://schemas.microsoft.com/office/drawing/2014/main" id="{496F74D7-76C0-0D6D-11A9-660DA26C63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09992" y="3892781"/>
              <a:ext cx="212095" cy="221731"/>
            </a:xfrm>
            <a:custGeom>
              <a:avLst/>
              <a:gdLst/>
              <a:ahLst/>
              <a:cxnLst>
                <a:cxn ang="0">
                  <a:pos x="68" y="4"/>
                </a:cxn>
                <a:cxn ang="0">
                  <a:pos x="68" y="18"/>
                </a:cxn>
                <a:cxn ang="0">
                  <a:pos x="42" y="18"/>
                </a:cxn>
                <a:cxn ang="0">
                  <a:pos x="42" y="43"/>
                </a:cxn>
                <a:cxn ang="0">
                  <a:pos x="34" y="65"/>
                </a:cxn>
                <a:cxn ang="0">
                  <a:pos x="3" y="65"/>
                </a:cxn>
                <a:cxn ang="0">
                  <a:pos x="2" y="71"/>
                </a:cxn>
                <a:cxn ang="0">
                  <a:pos x="2" y="60"/>
                </a:cxn>
                <a:cxn ang="0">
                  <a:pos x="8" y="51"/>
                </a:cxn>
                <a:cxn ang="0">
                  <a:pos x="11" y="42"/>
                </a:cxn>
                <a:cxn ang="0">
                  <a:pos x="13" y="37"/>
                </a:cxn>
                <a:cxn ang="0">
                  <a:pos x="19" y="26"/>
                </a:cxn>
                <a:cxn ang="0">
                  <a:pos x="22" y="18"/>
                </a:cxn>
                <a:cxn ang="0">
                  <a:pos x="33" y="0"/>
                </a:cxn>
                <a:cxn ang="0">
                  <a:pos x="68" y="0"/>
                </a:cxn>
                <a:cxn ang="0">
                  <a:pos x="68" y="4"/>
                </a:cxn>
              </a:cxnLst>
              <a:rect l="0" t="0" r="r" b="b"/>
              <a:pathLst>
                <a:path w="68" h="71">
                  <a:moveTo>
                    <a:pt x="68" y="4"/>
                  </a:moveTo>
                  <a:cubicBezTo>
                    <a:pt x="68" y="18"/>
                    <a:pt x="68" y="18"/>
                    <a:pt x="68" y="18"/>
                  </a:cubicBezTo>
                  <a:cubicBezTo>
                    <a:pt x="42" y="18"/>
                    <a:pt x="42" y="18"/>
                    <a:pt x="42" y="18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33" y="48"/>
                    <a:pt x="31" y="46"/>
                    <a:pt x="34" y="65"/>
                  </a:cubicBezTo>
                  <a:cubicBezTo>
                    <a:pt x="34" y="65"/>
                    <a:pt x="5" y="65"/>
                    <a:pt x="3" y="65"/>
                  </a:cubicBezTo>
                  <a:cubicBezTo>
                    <a:pt x="2" y="65"/>
                    <a:pt x="0" y="68"/>
                    <a:pt x="2" y="71"/>
                  </a:cubicBezTo>
                  <a:cubicBezTo>
                    <a:pt x="0" y="71"/>
                    <a:pt x="0" y="68"/>
                    <a:pt x="2" y="60"/>
                  </a:cubicBezTo>
                  <a:cubicBezTo>
                    <a:pt x="3" y="54"/>
                    <a:pt x="7" y="57"/>
                    <a:pt x="8" y="51"/>
                  </a:cubicBezTo>
                  <a:cubicBezTo>
                    <a:pt x="8" y="45"/>
                    <a:pt x="13" y="42"/>
                    <a:pt x="11" y="42"/>
                  </a:cubicBezTo>
                  <a:cubicBezTo>
                    <a:pt x="10" y="42"/>
                    <a:pt x="8" y="42"/>
                    <a:pt x="13" y="37"/>
                  </a:cubicBezTo>
                  <a:cubicBezTo>
                    <a:pt x="17" y="32"/>
                    <a:pt x="19" y="34"/>
                    <a:pt x="19" y="26"/>
                  </a:cubicBezTo>
                  <a:cubicBezTo>
                    <a:pt x="20" y="18"/>
                    <a:pt x="20" y="23"/>
                    <a:pt x="22" y="18"/>
                  </a:cubicBezTo>
                  <a:cubicBezTo>
                    <a:pt x="23" y="9"/>
                    <a:pt x="26" y="18"/>
                    <a:pt x="33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4"/>
                    <a:pt x="68" y="4"/>
                    <a:pt x="68" y="4"/>
                  </a:cubicBezTo>
                  <a:close/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15" name="Freeform 131">
              <a:extLst>
                <a:ext uri="{FF2B5EF4-FFF2-40B4-BE49-F238E27FC236}">
                  <a16:creationId xmlns:a16="http://schemas.microsoft.com/office/drawing/2014/main" id="{A026599A-643B-26CF-B2E4-A439A26F9B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37308" y="3876714"/>
              <a:ext cx="19281" cy="16068"/>
            </a:xfrm>
            <a:custGeom>
              <a:avLst/>
              <a:gdLst/>
              <a:ahLst/>
              <a:cxnLst>
                <a:cxn ang="0">
                  <a:pos x="3" y="5"/>
                </a:cxn>
                <a:cxn ang="0">
                  <a:pos x="3" y="0"/>
                </a:cxn>
                <a:cxn ang="0">
                  <a:pos x="3" y="5"/>
                </a:cxn>
              </a:cxnLst>
              <a:rect l="0" t="0" r="r" b="b"/>
              <a:pathLst>
                <a:path w="6" h="5">
                  <a:moveTo>
                    <a:pt x="3" y="5"/>
                  </a:moveTo>
                  <a:cubicBezTo>
                    <a:pt x="0" y="5"/>
                    <a:pt x="2" y="0"/>
                    <a:pt x="3" y="0"/>
                  </a:cubicBezTo>
                  <a:cubicBezTo>
                    <a:pt x="6" y="2"/>
                    <a:pt x="5" y="5"/>
                    <a:pt x="3" y="5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16" name="Freeform 132">
              <a:extLst>
                <a:ext uri="{FF2B5EF4-FFF2-40B4-BE49-F238E27FC236}">
                  <a16:creationId xmlns:a16="http://schemas.microsoft.com/office/drawing/2014/main" id="{EF57EC9F-DDA5-A34B-30BA-5603FF3725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71050" y="3859039"/>
              <a:ext cx="25709" cy="24102"/>
            </a:xfrm>
            <a:custGeom>
              <a:avLst/>
              <a:gdLst/>
              <a:ahLst/>
              <a:cxnLst>
                <a:cxn ang="0">
                  <a:pos x="5" y="6"/>
                </a:cxn>
                <a:cxn ang="0">
                  <a:pos x="2" y="6"/>
                </a:cxn>
                <a:cxn ang="0">
                  <a:pos x="6" y="0"/>
                </a:cxn>
                <a:cxn ang="0">
                  <a:pos x="5" y="6"/>
                </a:cxn>
              </a:cxnLst>
              <a:rect l="0" t="0" r="r" b="b"/>
              <a:pathLst>
                <a:path w="8" h="8">
                  <a:moveTo>
                    <a:pt x="5" y="6"/>
                  </a:moveTo>
                  <a:cubicBezTo>
                    <a:pt x="0" y="8"/>
                    <a:pt x="0" y="8"/>
                    <a:pt x="2" y="6"/>
                  </a:cubicBezTo>
                  <a:cubicBezTo>
                    <a:pt x="5" y="4"/>
                    <a:pt x="5" y="0"/>
                    <a:pt x="6" y="0"/>
                  </a:cubicBezTo>
                  <a:cubicBezTo>
                    <a:pt x="8" y="1"/>
                    <a:pt x="6" y="6"/>
                    <a:pt x="5" y="6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17" name="Freeform 133">
              <a:extLst>
                <a:ext uri="{FF2B5EF4-FFF2-40B4-BE49-F238E27FC236}">
                  <a16:creationId xmlns:a16="http://schemas.microsoft.com/office/drawing/2014/main" id="{5F4BC3A9-6B2F-E5A2-12A1-43D9B727A5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90331" y="3842971"/>
              <a:ext cx="9641" cy="16068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3" y="0"/>
                </a:cxn>
                <a:cxn ang="0">
                  <a:pos x="2" y="3"/>
                </a:cxn>
                <a:cxn ang="0">
                  <a:pos x="0" y="3"/>
                </a:cxn>
              </a:cxnLst>
              <a:rect l="0" t="0" r="r" b="b"/>
              <a:pathLst>
                <a:path w="3" h="5">
                  <a:moveTo>
                    <a:pt x="0" y="3"/>
                  </a:moveTo>
                  <a:cubicBezTo>
                    <a:pt x="0" y="0"/>
                    <a:pt x="2" y="1"/>
                    <a:pt x="3" y="0"/>
                  </a:cubicBezTo>
                  <a:cubicBezTo>
                    <a:pt x="3" y="0"/>
                    <a:pt x="3" y="1"/>
                    <a:pt x="2" y="3"/>
                  </a:cubicBezTo>
                  <a:cubicBezTo>
                    <a:pt x="2" y="3"/>
                    <a:pt x="0" y="5"/>
                    <a:pt x="0" y="3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18" name="Freeform 134">
              <a:extLst>
                <a:ext uri="{FF2B5EF4-FFF2-40B4-BE49-F238E27FC236}">
                  <a16:creationId xmlns:a16="http://schemas.microsoft.com/office/drawing/2014/main" id="{3A0C8D6C-7971-4472-C363-F033F3B8E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09992" y="3862252"/>
              <a:ext cx="24102" cy="24102"/>
            </a:xfrm>
            <a:custGeom>
              <a:avLst/>
              <a:gdLst/>
              <a:ahLst/>
              <a:cxnLst>
                <a:cxn ang="0">
                  <a:pos x="3" y="6"/>
                </a:cxn>
                <a:cxn ang="0">
                  <a:pos x="2" y="3"/>
                </a:cxn>
                <a:cxn ang="0">
                  <a:pos x="8" y="0"/>
                </a:cxn>
                <a:cxn ang="0">
                  <a:pos x="6" y="5"/>
                </a:cxn>
                <a:cxn ang="0">
                  <a:pos x="3" y="6"/>
                </a:cxn>
              </a:cxnLst>
              <a:rect l="0" t="0" r="r" b="b"/>
              <a:pathLst>
                <a:path w="8" h="8">
                  <a:moveTo>
                    <a:pt x="3" y="6"/>
                  </a:moveTo>
                  <a:cubicBezTo>
                    <a:pt x="2" y="3"/>
                    <a:pt x="0" y="3"/>
                    <a:pt x="2" y="3"/>
                  </a:cubicBezTo>
                  <a:cubicBezTo>
                    <a:pt x="5" y="2"/>
                    <a:pt x="8" y="0"/>
                    <a:pt x="8" y="0"/>
                  </a:cubicBezTo>
                  <a:cubicBezTo>
                    <a:pt x="8" y="2"/>
                    <a:pt x="6" y="2"/>
                    <a:pt x="6" y="5"/>
                  </a:cubicBezTo>
                  <a:cubicBezTo>
                    <a:pt x="5" y="6"/>
                    <a:pt x="3" y="8"/>
                    <a:pt x="3" y="6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19" name="Freeform 135">
              <a:extLst>
                <a:ext uri="{FF2B5EF4-FFF2-40B4-BE49-F238E27FC236}">
                  <a16:creationId xmlns:a16="http://schemas.microsoft.com/office/drawing/2014/main" id="{E6EDEE76-C084-5AA6-D859-2375D3B586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7497" y="3852613"/>
              <a:ext cx="9641" cy="17674"/>
            </a:xfrm>
            <a:custGeom>
              <a:avLst/>
              <a:gdLst/>
              <a:ahLst/>
              <a:cxnLst>
                <a:cxn ang="0">
                  <a:pos x="1" y="2"/>
                </a:cxn>
                <a:cxn ang="0">
                  <a:pos x="1" y="5"/>
                </a:cxn>
                <a:cxn ang="0">
                  <a:pos x="1" y="2"/>
                </a:cxn>
              </a:cxnLst>
              <a:rect l="0" t="0" r="r" b="b"/>
              <a:pathLst>
                <a:path w="3" h="6">
                  <a:moveTo>
                    <a:pt x="1" y="2"/>
                  </a:moveTo>
                  <a:cubicBezTo>
                    <a:pt x="1" y="0"/>
                    <a:pt x="3" y="3"/>
                    <a:pt x="1" y="5"/>
                  </a:cubicBezTo>
                  <a:cubicBezTo>
                    <a:pt x="1" y="6"/>
                    <a:pt x="0" y="2"/>
                    <a:pt x="1" y="2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20" name="Freeform 136">
              <a:extLst>
                <a:ext uri="{FF2B5EF4-FFF2-40B4-BE49-F238E27FC236}">
                  <a16:creationId xmlns:a16="http://schemas.microsoft.com/office/drawing/2014/main" id="{C2DEB8B7-BA48-2497-94BE-475D60C76E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00352" y="3876714"/>
              <a:ext cx="9641" cy="642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3" y="2"/>
                </a:cxn>
                <a:cxn ang="0">
                  <a:pos x="2" y="0"/>
                </a:cxn>
              </a:cxnLst>
              <a:rect l="0" t="0" r="r" b="b"/>
              <a:pathLst>
                <a:path w="3" h="2">
                  <a:moveTo>
                    <a:pt x="2" y="0"/>
                  </a:moveTo>
                  <a:cubicBezTo>
                    <a:pt x="3" y="0"/>
                    <a:pt x="3" y="2"/>
                    <a:pt x="3" y="2"/>
                  </a:cubicBezTo>
                  <a:cubicBezTo>
                    <a:pt x="2" y="2"/>
                    <a:pt x="0" y="0"/>
                    <a:pt x="2" y="0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21" name="Freeform 137">
              <a:extLst>
                <a:ext uri="{FF2B5EF4-FFF2-40B4-BE49-F238E27FC236}">
                  <a16:creationId xmlns:a16="http://schemas.microsoft.com/office/drawing/2014/main" id="{88EEDF3E-22D7-BCCA-F9FC-0D6E87934A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1070" y="3886354"/>
              <a:ext cx="9641" cy="964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3" y="2"/>
                </a:cxn>
                <a:cxn ang="0">
                  <a:pos x="2" y="0"/>
                </a:cxn>
              </a:cxnLst>
              <a:rect l="0" t="0" r="r" b="b"/>
              <a:pathLst>
                <a:path w="3" h="3">
                  <a:moveTo>
                    <a:pt x="2" y="0"/>
                  </a:moveTo>
                  <a:cubicBezTo>
                    <a:pt x="3" y="0"/>
                    <a:pt x="3" y="0"/>
                    <a:pt x="3" y="2"/>
                  </a:cubicBezTo>
                  <a:cubicBezTo>
                    <a:pt x="2" y="3"/>
                    <a:pt x="0" y="2"/>
                    <a:pt x="2" y="0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22" name="Freeform 138">
              <a:extLst>
                <a:ext uri="{FF2B5EF4-FFF2-40B4-BE49-F238E27FC236}">
                  <a16:creationId xmlns:a16="http://schemas.microsoft.com/office/drawing/2014/main" id="{84E68F2C-CDA2-8A9A-4BF1-7FA7C01CD32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52996" y="4490493"/>
              <a:ext cx="99621" cy="131754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6" y="3"/>
                </a:cxn>
                <a:cxn ang="0">
                  <a:pos x="16" y="10"/>
                </a:cxn>
                <a:cxn ang="0">
                  <a:pos x="19" y="13"/>
                </a:cxn>
                <a:cxn ang="0">
                  <a:pos x="23" y="8"/>
                </a:cxn>
                <a:cxn ang="0">
                  <a:pos x="23" y="19"/>
                </a:cxn>
                <a:cxn ang="0">
                  <a:pos x="29" y="24"/>
                </a:cxn>
                <a:cxn ang="0">
                  <a:pos x="32" y="28"/>
                </a:cxn>
                <a:cxn ang="0">
                  <a:pos x="31" y="41"/>
                </a:cxn>
                <a:cxn ang="0">
                  <a:pos x="26" y="39"/>
                </a:cxn>
                <a:cxn ang="0">
                  <a:pos x="13" y="28"/>
                </a:cxn>
                <a:cxn ang="0">
                  <a:pos x="5" y="22"/>
                </a:cxn>
                <a:cxn ang="0">
                  <a:pos x="0" y="16"/>
                </a:cxn>
                <a:cxn ang="0">
                  <a:pos x="6" y="6"/>
                </a:cxn>
                <a:cxn ang="0">
                  <a:pos x="9" y="0"/>
                </a:cxn>
              </a:cxnLst>
              <a:rect l="0" t="0" r="r" b="b"/>
              <a:pathLst>
                <a:path w="32" h="42">
                  <a:moveTo>
                    <a:pt x="9" y="0"/>
                  </a:moveTo>
                  <a:cubicBezTo>
                    <a:pt x="11" y="0"/>
                    <a:pt x="17" y="0"/>
                    <a:pt x="16" y="3"/>
                  </a:cubicBezTo>
                  <a:cubicBezTo>
                    <a:pt x="16" y="5"/>
                    <a:pt x="17" y="6"/>
                    <a:pt x="16" y="10"/>
                  </a:cubicBezTo>
                  <a:cubicBezTo>
                    <a:pt x="16" y="13"/>
                    <a:pt x="17" y="10"/>
                    <a:pt x="19" y="13"/>
                  </a:cubicBezTo>
                  <a:cubicBezTo>
                    <a:pt x="20" y="16"/>
                    <a:pt x="22" y="6"/>
                    <a:pt x="23" y="8"/>
                  </a:cubicBezTo>
                  <a:cubicBezTo>
                    <a:pt x="26" y="14"/>
                    <a:pt x="25" y="16"/>
                    <a:pt x="23" y="19"/>
                  </a:cubicBezTo>
                  <a:cubicBezTo>
                    <a:pt x="22" y="22"/>
                    <a:pt x="29" y="20"/>
                    <a:pt x="29" y="24"/>
                  </a:cubicBezTo>
                  <a:cubicBezTo>
                    <a:pt x="29" y="27"/>
                    <a:pt x="32" y="25"/>
                    <a:pt x="32" y="28"/>
                  </a:cubicBezTo>
                  <a:cubicBezTo>
                    <a:pt x="32" y="33"/>
                    <a:pt x="31" y="36"/>
                    <a:pt x="31" y="41"/>
                  </a:cubicBezTo>
                  <a:cubicBezTo>
                    <a:pt x="29" y="42"/>
                    <a:pt x="31" y="41"/>
                    <a:pt x="26" y="39"/>
                  </a:cubicBezTo>
                  <a:cubicBezTo>
                    <a:pt x="23" y="38"/>
                    <a:pt x="17" y="34"/>
                    <a:pt x="13" y="28"/>
                  </a:cubicBezTo>
                  <a:cubicBezTo>
                    <a:pt x="8" y="22"/>
                    <a:pt x="6" y="24"/>
                    <a:pt x="5" y="22"/>
                  </a:cubicBezTo>
                  <a:cubicBezTo>
                    <a:pt x="5" y="19"/>
                    <a:pt x="2" y="19"/>
                    <a:pt x="0" y="16"/>
                  </a:cubicBezTo>
                  <a:cubicBezTo>
                    <a:pt x="5" y="8"/>
                    <a:pt x="6" y="10"/>
                    <a:pt x="6" y="6"/>
                  </a:cubicBezTo>
                  <a:cubicBezTo>
                    <a:pt x="6" y="3"/>
                    <a:pt x="9" y="5"/>
                    <a:pt x="9" y="0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23" name="Freeform 139">
              <a:extLst>
                <a:ext uri="{FF2B5EF4-FFF2-40B4-BE49-F238E27FC236}">
                  <a16:creationId xmlns:a16="http://schemas.microsoft.com/office/drawing/2014/main" id="{5C2626F7-0854-7D35-F28A-6B6AFE2895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06399" y="4443897"/>
              <a:ext cx="73912" cy="96405"/>
            </a:xfrm>
            <a:custGeom>
              <a:avLst/>
              <a:gdLst/>
              <a:ahLst/>
              <a:cxnLst>
                <a:cxn ang="0">
                  <a:pos x="15" y="31"/>
                </a:cxn>
                <a:cxn ang="0">
                  <a:pos x="21" y="21"/>
                </a:cxn>
                <a:cxn ang="0">
                  <a:pos x="24" y="15"/>
                </a:cxn>
                <a:cxn ang="0">
                  <a:pos x="23" y="12"/>
                </a:cxn>
                <a:cxn ang="0">
                  <a:pos x="21" y="9"/>
                </a:cxn>
                <a:cxn ang="0">
                  <a:pos x="18" y="3"/>
                </a:cxn>
                <a:cxn ang="0">
                  <a:pos x="11" y="1"/>
                </a:cxn>
                <a:cxn ang="0">
                  <a:pos x="6" y="3"/>
                </a:cxn>
                <a:cxn ang="0">
                  <a:pos x="0" y="11"/>
                </a:cxn>
                <a:cxn ang="0">
                  <a:pos x="0" y="14"/>
                </a:cxn>
                <a:cxn ang="0">
                  <a:pos x="3" y="15"/>
                </a:cxn>
                <a:cxn ang="0">
                  <a:pos x="0" y="17"/>
                </a:cxn>
                <a:cxn ang="0">
                  <a:pos x="3" y="20"/>
                </a:cxn>
                <a:cxn ang="0">
                  <a:pos x="3" y="21"/>
                </a:cxn>
                <a:cxn ang="0">
                  <a:pos x="6" y="24"/>
                </a:cxn>
                <a:cxn ang="0">
                  <a:pos x="8" y="28"/>
                </a:cxn>
                <a:cxn ang="0">
                  <a:pos x="15" y="31"/>
                </a:cxn>
              </a:cxnLst>
              <a:rect l="0" t="0" r="r" b="b"/>
              <a:pathLst>
                <a:path w="24" h="31">
                  <a:moveTo>
                    <a:pt x="15" y="31"/>
                  </a:moveTo>
                  <a:cubicBezTo>
                    <a:pt x="20" y="23"/>
                    <a:pt x="21" y="24"/>
                    <a:pt x="21" y="21"/>
                  </a:cubicBezTo>
                  <a:cubicBezTo>
                    <a:pt x="21" y="18"/>
                    <a:pt x="24" y="20"/>
                    <a:pt x="24" y="15"/>
                  </a:cubicBezTo>
                  <a:cubicBezTo>
                    <a:pt x="20" y="20"/>
                    <a:pt x="23" y="14"/>
                    <a:pt x="23" y="12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6"/>
                    <a:pt x="20" y="7"/>
                    <a:pt x="18" y="3"/>
                  </a:cubicBezTo>
                  <a:cubicBezTo>
                    <a:pt x="17" y="0"/>
                    <a:pt x="11" y="0"/>
                    <a:pt x="11" y="1"/>
                  </a:cubicBezTo>
                  <a:cubicBezTo>
                    <a:pt x="11" y="3"/>
                    <a:pt x="8" y="0"/>
                    <a:pt x="6" y="3"/>
                  </a:cubicBezTo>
                  <a:cubicBezTo>
                    <a:pt x="6" y="7"/>
                    <a:pt x="3" y="9"/>
                    <a:pt x="0" y="11"/>
                  </a:cubicBezTo>
                  <a:cubicBezTo>
                    <a:pt x="3" y="12"/>
                    <a:pt x="0" y="12"/>
                    <a:pt x="0" y="14"/>
                  </a:cubicBezTo>
                  <a:cubicBezTo>
                    <a:pt x="1" y="15"/>
                    <a:pt x="1" y="14"/>
                    <a:pt x="3" y="15"/>
                  </a:cubicBezTo>
                  <a:cubicBezTo>
                    <a:pt x="1" y="17"/>
                    <a:pt x="0" y="14"/>
                    <a:pt x="0" y="17"/>
                  </a:cubicBezTo>
                  <a:cubicBezTo>
                    <a:pt x="1" y="20"/>
                    <a:pt x="3" y="17"/>
                    <a:pt x="3" y="20"/>
                  </a:cubicBezTo>
                  <a:cubicBezTo>
                    <a:pt x="4" y="21"/>
                    <a:pt x="1" y="20"/>
                    <a:pt x="3" y="21"/>
                  </a:cubicBezTo>
                  <a:cubicBezTo>
                    <a:pt x="3" y="23"/>
                    <a:pt x="6" y="23"/>
                    <a:pt x="6" y="24"/>
                  </a:cubicBezTo>
                  <a:cubicBezTo>
                    <a:pt x="8" y="26"/>
                    <a:pt x="4" y="26"/>
                    <a:pt x="8" y="28"/>
                  </a:cubicBezTo>
                  <a:cubicBezTo>
                    <a:pt x="11" y="28"/>
                    <a:pt x="14" y="29"/>
                    <a:pt x="15" y="31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24" name="Freeform 140">
              <a:extLst>
                <a:ext uri="{FF2B5EF4-FFF2-40B4-BE49-F238E27FC236}">
                  <a16:creationId xmlns:a16="http://schemas.microsoft.com/office/drawing/2014/main" id="{7A41C145-469D-46FF-7BBD-2A24B3C2C3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00352" y="4241446"/>
              <a:ext cx="159071" cy="134967"/>
            </a:xfrm>
            <a:custGeom>
              <a:avLst/>
              <a:gdLst/>
              <a:ahLst/>
              <a:cxnLst>
                <a:cxn ang="0">
                  <a:pos x="8" y="30"/>
                </a:cxn>
                <a:cxn ang="0">
                  <a:pos x="3" y="20"/>
                </a:cxn>
                <a:cxn ang="0">
                  <a:pos x="2" y="18"/>
                </a:cxn>
                <a:cxn ang="0">
                  <a:pos x="10" y="4"/>
                </a:cxn>
                <a:cxn ang="0">
                  <a:pos x="25" y="1"/>
                </a:cxn>
                <a:cxn ang="0">
                  <a:pos x="33" y="6"/>
                </a:cxn>
                <a:cxn ang="0">
                  <a:pos x="43" y="20"/>
                </a:cxn>
                <a:cxn ang="0">
                  <a:pos x="45" y="26"/>
                </a:cxn>
                <a:cxn ang="0">
                  <a:pos x="45" y="30"/>
                </a:cxn>
                <a:cxn ang="0">
                  <a:pos x="49" y="35"/>
                </a:cxn>
                <a:cxn ang="0">
                  <a:pos x="49" y="41"/>
                </a:cxn>
                <a:cxn ang="0">
                  <a:pos x="43" y="41"/>
                </a:cxn>
                <a:cxn ang="0">
                  <a:pos x="31" y="40"/>
                </a:cxn>
                <a:cxn ang="0">
                  <a:pos x="19" y="40"/>
                </a:cxn>
                <a:cxn ang="0">
                  <a:pos x="17" y="41"/>
                </a:cxn>
                <a:cxn ang="0">
                  <a:pos x="8" y="43"/>
                </a:cxn>
                <a:cxn ang="0">
                  <a:pos x="7" y="41"/>
                </a:cxn>
                <a:cxn ang="0">
                  <a:pos x="16" y="40"/>
                </a:cxn>
                <a:cxn ang="0">
                  <a:pos x="11" y="40"/>
                </a:cxn>
                <a:cxn ang="0">
                  <a:pos x="8" y="40"/>
                </a:cxn>
                <a:cxn ang="0">
                  <a:pos x="7" y="35"/>
                </a:cxn>
                <a:cxn ang="0">
                  <a:pos x="14" y="33"/>
                </a:cxn>
                <a:cxn ang="0">
                  <a:pos x="19" y="32"/>
                </a:cxn>
                <a:cxn ang="0">
                  <a:pos x="25" y="32"/>
                </a:cxn>
                <a:cxn ang="0">
                  <a:pos x="31" y="30"/>
                </a:cxn>
                <a:cxn ang="0">
                  <a:pos x="25" y="30"/>
                </a:cxn>
                <a:cxn ang="0">
                  <a:pos x="22" y="29"/>
                </a:cxn>
                <a:cxn ang="0">
                  <a:pos x="17" y="30"/>
                </a:cxn>
                <a:cxn ang="0">
                  <a:pos x="8" y="30"/>
                </a:cxn>
              </a:cxnLst>
              <a:rect l="0" t="0" r="r" b="b"/>
              <a:pathLst>
                <a:path w="51" h="43">
                  <a:moveTo>
                    <a:pt x="8" y="30"/>
                  </a:moveTo>
                  <a:cubicBezTo>
                    <a:pt x="5" y="27"/>
                    <a:pt x="5" y="18"/>
                    <a:pt x="3" y="20"/>
                  </a:cubicBezTo>
                  <a:cubicBezTo>
                    <a:pt x="0" y="20"/>
                    <a:pt x="0" y="18"/>
                    <a:pt x="2" y="18"/>
                  </a:cubicBezTo>
                  <a:cubicBezTo>
                    <a:pt x="7" y="15"/>
                    <a:pt x="10" y="7"/>
                    <a:pt x="10" y="4"/>
                  </a:cubicBezTo>
                  <a:cubicBezTo>
                    <a:pt x="10" y="0"/>
                    <a:pt x="20" y="1"/>
                    <a:pt x="25" y="1"/>
                  </a:cubicBezTo>
                  <a:cubicBezTo>
                    <a:pt x="28" y="0"/>
                    <a:pt x="31" y="4"/>
                    <a:pt x="33" y="6"/>
                  </a:cubicBezTo>
                  <a:cubicBezTo>
                    <a:pt x="36" y="7"/>
                    <a:pt x="40" y="17"/>
                    <a:pt x="43" y="20"/>
                  </a:cubicBezTo>
                  <a:cubicBezTo>
                    <a:pt x="42" y="24"/>
                    <a:pt x="45" y="21"/>
                    <a:pt x="45" y="26"/>
                  </a:cubicBezTo>
                  <a:cubicBezTo>
                    <a:pt x="45" y="30"/>
                    <a:pt x="43" y="27"/>
                    <a:pt x="45" y="30"/>
                  </a:cubicBezTo>
                  <a:cubicBezTo>
                    <a:pt x="46" y="35"/>
                    <a:pt x="46" y="30"/>
                    <a:pt x="49" y="35"/>
                  </a:cubicBezTo>
                  <a:cubicBezTo>
                    <a:pt x="51" y="38"/>
                    <a:pt x="49" y="38"/>
                    <a:pt x="49" y="41"/>
                  </a:cubicBezTo>
                  <a:cubicBezTo>
                    <a:pt x="48" y="41"/>
                    <a:pt x="45" y="40"/>
                    <a:pt x="43" y="41"/>
                  </a:cubicBezTo>
                  <a:cubicBezTo>
                    <a:pt x="40" y="43"/>
                    <a:pt x="37" y="40"/>
                    <a:pt x="31" y="40"/>
                  </a:cubicBezTo>
                  <a:cubicBezTo>
                    <a:pt x="28" y="40"/>
                    <a:pt x="22" y="38"/>
                    <a:pt x="19" y="40"/>
                  </a:cubicBezTo>
                  <a:cubicBezTo>
                    <a:pt x="14" y="40"/>
                    <a:pt x="20" y="40"/>
                    <a:pt x="17" y="41"/>
                  </a:cubicBezTo>
                  <a:cubicBezTo>
                    <a:pt x="14" y="43"/>
                    <a:pt x="11" y="41"/>
                    <a:pt x="8" y="43"/>
                  </a:cubicBezTo>
                  <a:cubicBezTo>
                    <a:pt x="8" y="41"/>
                    <a:pt x="7" y="43"/>
                    <a:pt x="7" y="41"/>
                  </a:cubicBezTo>
                  <a:cubicBezTo>
                    <a:pt x="10" y="38"/>
                    <a:pt x="8" y="41"/>
                    <a:pt x="16" y="40"/>
                  </a:cubicBezTo>
                  <a:cubicBezTo>
                    <a:pt x="14" y="40"/>
                    <a:pt x="13" y="38"/>
                    <a:pt x="11" y="40"/>
                  </a:cubicBezTo>
                  <a:cubicBezTo>
                    <a:pt x="10" y="40"/>
                    <a:pt x="10" y="38"/>
                    <a:pt x="8" y="40"/>
                  </a:cubicBezTo>
                  <a:cubicBezTo>
                    <a:pt x="7" y="41"/>
                    <a:pt x="8" y="38"/>
                    <a:pt x="7" y="35"/>
                  </a:cubicBezTo>
                  <a:cubicBezTo>
                    <a:pt x="10" y="33"/>
                    <a:pt x="16" y="37"/>
                    <a:pt x="14" y="33"/>
                  </a:cubicBezTo>
                  <a:cubicBezTo>
                    <a:pt x="14" y="32"/>
                    <a:pt x="19" y="33"/>
                    <a:pt x="19" y="32"/>
                  </a:cubicBezTo>
                  <a:cubicBezTo>
                    <a:pt x="20" y="29"/>
                    <a:pt x="19" y="30"/>
                    <a:pt x="25" y="32"/>
                  </a:cubicBezTo>
                  <a:cubicBezTo>
                    <a:pt x="28" y="33"/>
                    <a:pt x="31" y="33"/>
                    <a:pt x="31" y="30"/>
                  </a:cubicBezTo>
                  <a:cubicBezTo>
                    <a:pt x="29" y="29"/>
                    <a:pt x="26" y="33"/>
                    <a:pt x="25" y="30"/>
                  </a:cubicBezTo>
                  <a:cubicBezTo>
                    <a:pt x="23" y="27"/>
                    <a:pt x="23" y="30"/>
                    <a:pt x="22" y="29"/>
                  </a:cubicBezTo>
                  <a:cubicBezTo>
                    <a:pt x="22" y="27"/>
                    <a:pt x="19" y="29"/>
                    <a:pt x="17" y="30"/>
                  </a:cubicBezTo>
                  <a:cubicBezTo>
                    <a:pt x="17" y="30"/>
                    <a:pt x="16" y="30"/>
                    <a:pt x="8" y="30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25" name="Freeform 141">
              <a:extLst>
                <a:ext uri="{FF2B5EF4-FFF2-40B4-BE49-F238E27FC236}">
                  <a16:creationId xmlns:a16="http://schemas.microsoft.com/office/drawing/2014/main" id="{A8B7E1B9-01EF-FA02-53AE-5E1C2BEB3F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16419" y="4329818"/>
              <a:ext cx="80339" cy="27315"/>
            </a:xfrm>
            <a:custGeom>
              <a:avLst/>
              <a:gdLst/>
              <a:ahLst/>
              <a:cxnLst>
                <a:cxn ang="0">
                  <a:pos x="3" y="3"/>
                </a:cxn>
                <a:cxn ang="0">
                  <a:pos x="12" y="4"/>
                </a:cxn>
                <a:cxn ang="0">
                  <a:pos x="3" y="4"/>
                </a:cxn>
                <a:cxn ang="0">
                  <a:pos x="1" y="7"/>
                </a:cxn>
                <a:cxn ang="0">
                  <a:pos x="9" y="6"/>
                </a:cxn>
                <a:cxn ang="0">
                  <a:pos x="14" y="4"/>
                </a:cxn>
                <a:cxn ang="0">
                  <a:pos x="20" y="4"/>
                </a:cxn>
                <a:cxn ang="0">
                  <a:pos x="26" y="3"/>
                </a:cxn>
                <a:cxn ang="0">
                  <a:pos x="20" y="3"/>
                </a:cxn>
                <a:cxn ang="0">
                  <a:pos x="17" y="1"/>
                </a:cxn>
                <a:cxn ang="0">
                  <a:pos x="12" y="3"/>
                </a:cxn>
                <a:cxn ang="0">
                  <a:pos x="3" y="3"/>
                </a:cxn>
              </a:cxnLst>
              <a:rect l="0" t="0" r="r" b="b"/>
              <a:pathLst>
                <a:path w="26" h="9">
                  <a:moveTo>
                    <a:pt x="3" y="3"/>
                  </a:moveTo>
                  <a:cubicBezTo>
                    <a:pt x="5" y="6"/>
                    <a:pt x="6" y="3"/>
                    <a:pt x="12" y="4"/>
                  </a:cubicBezTo>
                  <a:cubicBezTo>
                    <a:pt x="6" y="4"/>
                    <a:pt x="5" y="7"/>
                    <a:pt x="3" y="4"/>
                  </a:cubicBezTo>
                  <a:cubicBezTo>
                    <a:pt x="1" y="3"/>
                    <a:pt x="0" y="6"/>
                    <a:pt x="1" y="7"/>
                  </a:cubicBezTo>
                  <a:cubicBezTo>
                    <a:pt x="5" y="6"/>
                    <a:pt x="11" y="9"/>
                    <a:pt x="9" y="6"/>
                  </a:cubicBezTo>
                  <a:cubicBezTo>
                    <a:pt x="9" y="4"/>
                    <a:pt x="14" y="6"/>
                    <a:pt x="14" y="4"/>
                  </a:cubicBezTo>
                  <a:cubicBezTo>
                    <a:pt x="15" y="1"/>
                    <a:pt x="14" y="3"/>
                    <a:pt x="20" y="4"/>
                  </a:cubicBezTo>
                  <a:cubicBezTo>
                    <a:pt x="23" y="6"/>
                    <a:pt x="26" y="6"/>
                    <a:pt x="26" y="3"/>
                  </a:cubicBezTo>
                  <a:cubicBezTo>
                    <a:pt x="24" y="1"/>
                    <a:pt x="21" y="6"/>
                    <a:pt x="20" y="3"/>
                  </a:cubicBezTo>
                  <a:cubicBezTo>
                    <a:pt x="18" y="0"/>
                    <a:pt x="18" y="3"/>
                    <a:pt x="17" y="1"/>
                  </a:cubicBezTo>
                  <a:cubicBezTo>
                    <a:pt x="17" y="0"/>
                    <a:pt x="14" y="1"/>
                    <a:pt x="12" y="3"/>
                  </a:cubicBezTo>
                  <a:cubicBezTo>
                    <a:pt x="12" y="3"/>
                    <a:pt x="11" y="3"/>
                    <a:pt x="3" y="3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26" name="Freeform 142">
              <a:extLst>
                <a:ext uri="{FF2B5EF4-FFF2-40B4-BE49-F238E27FC236}">
                  <a16:creationId xmlns:a16="http://schemas.microsoft.com/office/drawing/2014/main" id="{D38CE408-FFFA-CA45-3ECF-BA6FC90AE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63016" y="4366773"/>
              <a:ext cx="186387" cy="173529"/>
            </a:xfrm>
            <a:custGeom>
              <a:avLst/>
              <a:gdLst/>
              <a:ahLst/>
              <a:cxnLst>
                <a:cxn ang="0">
                  <a:pos x="38" y="40"/>
                </a:cxn>
                <a:cxn ang="0">
                  <a:pos x="37" y="37"/>
                </a:cxn>
                <a:cxn ang="0">
                  <a:pos x="35" y="34"/>
                </a:cxn>
                <a:cxn ang="0">
                  <a:pos x="32" y="28"/>
                </a:cxn>
                <a:cxn ang="0">
                  <a:pos x="25" y="26"/>
                </a:cxn>
                <a:cxn ang="0">
                  <a:pos x="20" y="28"/>
                </a:cxn>
                <a:cxn ang="0">
                  <a:pos x="14" y="35"/>
                </a:cxn>
                <a:cxn ang="0">
                  <a:pos x="14" y="34"/>
                </a:cxn>
                <a:cxn ang="0">
                  <a:pos x="13" y="31"/>
                </a:cxn>
                <a:cxn ang="0">
                  <a:pos x="13" y="29"/>
                </a:cxn>
                <a:cxn ang="0">
                  <a:pos x="8" y="25"/>
                </a:cxn>
                <a:cxn ang="0">
                  <a:pos x="5" y="23"/>
                </a:cxn>
                <a:cxn ang="0">
                  <a:pos x="5" y="18"/>
                </a:cxn>
                <a:cxn ang="0">
                  <a:pos x="3" y="18"/>
                </a:cxn>
                <a:cxn ang="0">
                  <a:pos x="3" y="15"/>
                </a:cxn>
                <a:cxn ang="0">
                  <a:pos x="0" y="18"/>
                </a:cxn>
                <a:cxn ang="0">
                  <a:pos x="0" y="17"/>
                </a:cxn>
                <a:cxn ang="0">
                  <a:pos x="6" y="9"/>
                </a:cxn>
                <a:cxn ang="0">
                  <a:pos x="10" y="9"/>
                </a:cxn>
                <a:cxn ang="0">
                  <a:pos x="10" y="4"/>
                </a:cxn>
                <a:cxn ang="0">
                  <a:pos x="11" y="0"/>
                </a:cxn>
                <a:cxn ang="0">
                  <a:pos x="23" y="1"/>
                </a:cxn>
                <a:cxn ang="0">
                  <a:pos x="29" y="1"/>
                </a:cxn>
                <a:cxn ang="0">
                  <a:pos x="32" y="4"/>
                </a:cxn>
                <a:cxn ang="0">
                  <a:pos x="34" y="6"/>
                </a:cxn>
                <a:cxn ang="0">
                  <a:pos x="42" y="4"/>
                </a:cxn>
                <a:cxn ang="0">
                  <a:pos x="45" y="3"/>
                </a:cxn>
                <a:cxn ang="0">
                  <a:pos x="48" y="1"/>
                </a:cxn>
                <a:cxn ang="0">
                  <a:pos x="49" y="6"/>
                </a:cxn>
                <a:cxn ang="0">
                  <a:pos x="51" y="9"/>
                </a:cxn>
                <a:cxn ang="0">
                  <a:pos x="52" y="12"/>
                </a:cxn>
                <a:cxn ang="0">
                  <a:pos x="52" y="15"/>
                </a:cxn>
                <a:cxn ang="0">
                  <a:pos x="54" y="20"/>
                </a:cxn>
                <a:cxn ang="0">
                  <a:pos x="57" y="25"/>
                </a:cxn>
                <a:cxn ang="0">
                  <a:pos x="55" y="29"/>
                </a:cxn>
                <a:cxn ang="0">
                  <a:pos x="58" y="35"/>
                </a:cxn>
                <a:cxn ang="0">
                  <a:pos x="60" y="42"/>
                </a:cxn>
                <a:cxn ang="0">
                  <a:pos x="54" y="42"/>
                </a:cxn>
                <a:cxn ang="0">
                  <a:pos x="57" y="45"/>
                </a:cxn>
                <a:cxn ang="0">
                  <a:pos x="52" y="48"/>
                </a:cxn>
                <a:cxn ang="0">
                  <a:pos x="48" y="53"/>
                </a:cxn>
                <a:cxn ang="0">
                  <a:pos x="45" y="49"/>
                </a:cxn>
                <a:cxn ang="0">
                  <a:pos x="45" y="43"/>
                </a:cxn>
                <a:cxn ang="0">
                  <a:pos x="38" y="40"/>
                </a:cxn>
              </a:cxnLst>
              <a:rect l="0" t="0" r="r" b="b"/>
              <a:pathLst>
                <a:path w="60" h="56">
                  <a:moveTo>
                    <a:pt x="38" y="40"/>
                  </a:moveTo>
                  <a:cubicBezTo>
                    <a:pt x="34" y="45"/>
                    <a:pt x="37" y="39"/>
                    <a:pt x="37" y="37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5" y="31"/>
                    <a:pt x="34" y="32"/>
                    <a:pt x="32" y="28"/>
                  </a:cubicBezTo>
                  <a:cubicBezTo>
                    <a:pt x="31" y="25"/>
                    <a:pt x="25" y="25"/>
                    <a:pt x="25" y="26"/>
                  </a:cubicBezTo>
                  <a:cubicBezTo>
                    <a:pt x="25" y="28"/>
                    <a:pt x="22" y="25"/>
                    <a:pt x="20" y="28"/>
                  </a:cubicBezTo>
                  <a:cubicBezTo>
                    <a:pt x="20" y="32"/>
                    <a:pt x="17" y="34"/>
                    <a:pt x="14" y="35"/>
                  </a:cubicBezTo>
                  <a:cubicBezTo>
                    <a:pt x="14" y="34"/>
                    <a:pt x="16" y="34"/>
                    <a:pt x="14" y="34"/>
                  </a:cubicBezTo>
                  <a:cubicBezTo>
                    <a:pt x="13" y="32"/>
                    <a:pt x="14" y="32"/>
                    <a:pt x="13" y="31"/>
                  </a:cubicBezTo>
                  <a:cubicBezTo>
                    <a:pt x="11" y="31"/>
                    <a:pt x="11" y="31"/>
                    <a:pt x="13" y="29"/>
                  </a:cubicBezTo>
                  <a:cubicBezTo>
                    <a:pt x="13" y="28"/>
                    <a:pt x="10" y="28"/>
                    <a:pt x="8" y="25"/>
                  </a:cubicBezTo>
                  <a:cubicBezTo>
                    <a:pt x="8" y="23"/>
                    <a:pt x="5" y="25"/>
                    <a:pt x="5" y="23"/>
                  </a:cubicBezTo>
                  <a:cubicBezTo>
                    <a:pt x="5" y="20"/>
                    <a:pt x="3" y="23"/>
                    <a:pt x="5" y="18"/>
                  </a:cubicBezTo>
                  <a:cubicBezTo>
                    <a:pt x="5" y="15"/>
                    <a:pt x="3" y="20"/>
                    <a:pt x="3" y="18"/>
                  </a:cubicBezTo>
                  <a:cubicBezTo>
                    <a:pt x="2" y="17"/>
                    <a:pt x="5" y="15"/>
                    <a:pt x="3" y="15"/>
                  </a:cubicBezTo>
                  <a:cubicBezTo>
                    <a:pt x="0" y="15"/>
                    <a:pt x="2" y="18"/>
                    <a:pt x="0" y="18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3" y="9"/>
                    <a:pt x="5" y="12"/>
                    <a:pt x="6" y="9"/>
                  </a:cubicBezTo>
                  <a:cubicBezTo>
                    <a:pt x="8" y="7"/>
                    <a:pt x="8" y="11"/>
                    <a:pt x="10" y="9"/>
                  </a:cubicBezTo>
                  <a:cubicBezTo>
                    <a:pt x="13" y="9"/>
                    <a:pt x="13" y="6"/>
                    <a:pt x="10" y="4"/>
                  </a:cubicBezTo>
                  <a:cubicBezTo>
                    <a:pt x="8" y="3"/>
                    <a:pt x="13" y="4"/>
                    <a:pt x="11" y="0"/>
                  </a:cubicBezTo>
                  <a:cubicBezTo>
                    <a:pt x="17" y="0"/>
                    <a:pt x="20" y="3"/>
                    <a:pt x="23" y="1"/>
                  </a:cubicBezTo>
                  <a:cubicBezTo>
                    <a:pt x="25" y="0"/>
                    <a:pt x="28" y="1"/>
                    <a:pt x="29" y="1"/>
                  </a:cubicBezTo>
                  <a:cubicBezTo>
                    <a:pt x="28" y="6"/>
                    <a:pt x="31" y="7"/>
                    <a:pt x="32" y="4"/>
                  </a:cubicBezTo>
                  <a:cubicBezTo>
                    <a:pt x="32" y="3"/>
                    <a:pt x="34" y="4"/>
                    <a:pt x="34" y="6"/>
                  </a:cubicBezTo>
                  <a:cubicBezTo>
                    <a:pt x="37" y="9"/>
                    <a:pt x="35" y="1"/>
                    <a:pt x="42" y="4"/>
                  </a:cubicBezTo>
                  <a:cubicBezTo>
                    <a:pt x="45" y="7"/>
                    <a:pt x="43" y="4"/>
                    <a:pt x="45" y="3"/>
                  </a:cubicBezTo>
                  <a:cubicBezTo>
                    <a:pt x="48" y="3"/>
                    <a:pt x="43" y="0"/>
                    <a:pt x="48" y="1"/>
                  </a:cubicBezTo>
                  <a:cubicBezTo>
                    <a:pt x="51" y="3"/>
                    <a:pt x="49" y="4"/>
                    <a:pt x="49" y="6"/>
                  </a:cubicBezTo>
                  <a:cubicBezTo>
                    <a:pt x="51" y="6"/>
                    <a:pt x="49" y="9"/>
                    <a:pt x="51" y="9"/>
                  </a:cubicBezTo>
                  <a:cubicBezTo>
                    <a:pt x="52" y="9"/>
                    <a:pt x="55" y="12"/>
                    <a:pt x="52" y="12"/>
                  </a:cubicBezTo>
                  <a:cubicBezTo>
                    <a:pt x="51" y="14"/>
                    <a:pt x="51" y="18"/>
                    <a:pt x="52" y="15"/>
                  </a:cubicBezTo>
                  <a:cubicBezTo>
                    <a:pt x="54" y="14"/>
                    <a:pt x="55" y="15"/>
                    <a:pt x="54" y="20"/>
                  </a:cubicBezTo>
                  <a:cubicBezTo>
                    <a:pt x="54" y="23"/>
                    <a:pt x="55" y="20"/>
                    <a:pt x="57" y="25"/>
                  </a:cubicBezTo>
                  <a:cubicBezTo>
                    <a:pt x="54" y="26"/>
                    <a:pt x="57" y="26"/>
                    <a:pt x="55" y="29"/>
                  </a:cubicBezTo>
                  <a:cubicBezTo>
                    <a:pt x="55" y="32"/>
                    <a:pt x="60" y="32"/>
                    <a:pt x="58" y="35"/>
                  </a:cubicBezTo>
                  <a:cubicBezTo>
                    <a:pt x="55" y="39"/>
                    <a:pt x="60" y="37"/>
                    <a:pt x="60" y="42"/>
                  </a:cubicBezTo>
                  <a:cubicBezTo>
                    <a:pt x="55" y="40"/>
                    <a:pt x="54" y="40"/>
                    <a:pt x="54" y="42"/>
                  </a:cubicBezTo>
                  <a:cubicBezTo>
                    <a:pt x="55" y="45"/>
                    <a:pt x="57" y="42"/>
                    <a:pt x="57" y="45"/>
                  </a:cubicBezTo>
                  <a:cubicBezTo>
                    <a:pt x="57" y="48"/>
                    <a:pt x="55" y="51"/>
                    <a:pt x="52" y="48"/>
                  </a:cubicBezTo>
                  <a:cubicBezTo>
                    <a:pt x="51" y="46"/>
                    <a:pt x="49" y="56"/>
                    <a:pt x="48" y="53"/>
                  </a:cubicBezTo>
                  <a:cubicBezTo>
                    <a:pt x="46" y="49"/>
                    <a:pt x="45" y="53"/>
                    <a:pt x="45" y="49"/>
                  </a:cubicBezTo>
                  <a:cubicBezTo>
                    <a:pt x="46" y="46"/>
                    <a:pt x="45" y="45"/>
                    <a:pt x="45" y="43"/>
                  </a:cubicBezTo>
                  <a:cubicBezTo>
                    <a:pt x="46" y="40"/>
                    <a:pt x="40" y="40"/>
                    <a:pt x="38" y="40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27" name="Freeform 143">
              <a:extLst>
                <a:ext uri="{FF2B5EF4-FFF2-40B4-BE49-F238E27FC236}">
                  <a16:creationId xmlns:a16="http://schemas.microsoft.com/office/drawing/2014/main" id="{BC81FBE5-DAD5-7741-E816-5815B134A6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24453" y="4360346"/>
              <a:ext cx="75519" cy="59450"/>
            </a:xfrm>
            <a:custGeom>
              <a:avLst/>
              <a:gdLst/>
              <a:ahLst/>
              <a:cxnLst>
                <a:cxn ang="0">
                  <a:pos x="12" y="19"/>
                </a:cxn>
                <a:cxn ang="0">
                  <a:pos x="18" y="11"/>
                </a:cxn>
                <a:cxn ang="0">
                  <a:pos x="21" y="11"/>
                </a:cxn>
                <a:cxn ang="0">
                  <a:pos x="21" y="7"/>
                </a:cxn>
                <a:cxn ang="0">
                  <a:pos x="23" y="2"/>
                </a:cxn>
                <a:cxn ang="0">
                  <a:pos x="11" y="2"/>
                </a:cxn>
                <a:cxn ang="0">
                  <a:pos x="9" y="3"/>
                </a:cxn>
                <a:cxn ang="0">
                  <a:pos x="0" y="5"/>
                </a:cxn>
                <a:cxn ang="0">
                  <a:pos x="3" y="7"/>
                </a:cxn>
                <a:cxn ang="0">
                  <a:pos x="5" y="8"/>
                </a:cxn>
                <a:cxn ang="0">
                  <a:pos x="6" y="11"/>
                </a:cxn>
                <a:cxn ang="0">
                  <a:pos x="9" y="10"/>
                </a:cxn>
                <a:cxn ang="0">
                  <a:pos x="9" y="14"/>
                </a:cxn>
                <a:cxn ang="0">
                  <a:pos x="9" y="16"/>
                </a:cxn>
                <a:cxn ang="0">
                  <a:pos x="11" y="18"/>
                </a:cxn>
                <a:cxn ang="0">
                  <a:pos x="12" y="16"/>
                </a:cxn>
                <a:cxn ang="0">
                  <a:pos x="12" y="19"/>
                </a:cxn>
              </a:cxnLst>
              <a:rect l="0" t="0" r="r" b="b"/>
              <a:pathLst>
                <a:path w="24" h="19">
                  <a:moveTo>
                    <a:pt x="12" y="19"/>
                  </a:moveTo>
                  <a:cubicBezTo>
                    <a:pt x="15" y="11"/>
                    <a:pt x="17" y="14"/>
                    <a:pt x="18" y="11"/>
                  </a:cubicBezTo>
                  <a:cubicBezTo>
                    <a:pt x="20" y="10"/>
                    <a:pt x="20" y="13"/>
                    <a:pt x="21" y="11"/>
                  </a:cubicBezTo>
                  <a:cubicBezTo>
                    <a:pt x="24" y="11"/>
                    <a:pt x="24" y="8"/>
                    <a:pt x="21" y="7"/>
                  </a:cubicBezTo>
                  <a:cubicBezTo>
                    <a:pt x="20" y="5"/>
                    <a:pt x="24" y="7"/>
                    <a:pt x="23" y="2"/>
                  </a:cubicBezTo>
                  <a:cubicBezTo>
                    <a:pt x="20" y="2"/>
                    <a:pt x="14" y="0"/>
                    <a:pt x="11" y="2"/>
                  </a:cubicBezTo>
                  <a:cubicBezTo>
                    <a:pt x="6" y="2"/>
                    <a:pt x="12" y="2"/>
                    <a:pt x="9" y="3"/>
                  </a:cubicBezTo>
                  <a:cubicBezTo>
                    <a:pt x="6" y="5"/>
                    <a:pt x="3" y="3"/>
                    <a:pt x="0" y="5"/>
                  </a:cubicBezTo>
                  <a:cubicBezTo>
                    <a:pt x="1" y="7"/>
                    <a:pt x="5" y="5"/>
                    <a:pt x="3" y="7"/>
                  </a:cubicBezTo>
                  <a:cubicBezTo>
                    <a:pt x="1" y="10"/>
                    <a:pt x="3" y="10"/>
                    <a:pt x="5" y="8"/>
                  </a:cubicBezTo>
                  <a:cubicBezTo>
                    <a:pt x="8" y="8"/>
                    <a:pt x="3" y="13"/>
                    <a:pt x="6" y="11"/>
                  </a:cubicBezTo>
                  <a:cubicBezTo>
                    <a:pt x="9" y="8"/>
                    <a:pt x="12" y="8"/>
                    <a:pt x="9" y="10"/>
                  </a:cubicBezTo>
                  <a:cubicBezTo>
                    <a:pt x="8" y="11"/>
                    <a:pt x="11" y="11"/>
                    <a:pt x="9" y="14"/>
                  </a:cubicBezTo>
                  <a:cubicBezTo>
                    <a:pt x="8" y="16"/>
                    <a:pt x="9" y="14"/>
                    <a:pt x="9" y="16"/>
                  </a:cubicBezTo>
                  <a:cubicBezTo>
                    <a:pt x="9" y="18"/>
                    <a:pt x="11" y="16"/>
                    <a:pt x="11" y="18"/>
                  </a:cubicBezTo>
                  <a:cubicBezTo>
                    <a:pt x="11" y="19"/>
                    <a:pt x="12" y="18"/>
                    <a:pt x="12" y="16"/>
                  </a:cubicBezTo>
                  <a:cubicBezTo>
                    <a:pt x="12" y="19"/>
                    <a:pt x="12" y="18"/>
                    <a:pt x="12" y="19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28" name="Freeform 144">
              <a:extLst>
                <a:ext uri="{FF2B5EF4-FFF2-40B4-BE49-F238E27FC236}">
                  <a16:creationId xmlns:a16="http://schemas.microsoft.com/office/drawing/2014/main" id="{65D4FCFE-D1E0-8D4F-597A-10FE80679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34094" y="4384448"/>
              <a:ext cx="3213" cy="9640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1" y="1"/>
                </a:cxn>
                <a:cxn ang="0">
                  <a:pos x="0" y="1"/>
                </a:cxn>
              </a:cxnLst>
              <a:rect l="0" t="0" r="r" b="b"/>
              <a:pathLst>
                <a:path w="1" h="3">
                  <a:moveTo>
                    <a:pt x="0" y="1"/>
                  </a:moveTo>
                  <a:cubicBezTo>
                    <a:pt x="0" y="1"/>
                    <a:pt x="1" y="0"/>
                    <a:pt x="1" y="1"/>
                  </a:cubicBezTo>
                  <a:cubicBezTo>
                    <a:pt x="1" y="3"/>
                    <a:pt x="1" y="3"/>
                    <a:pt x="0" y="1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29" name="Freeform 145">
              <a:extLst>
                <a:ext uri="{FF2B5EF4-FFF2-40B4-BE49-F238E27FC236}">
                  <a16:creationId xmlns:a16="http://schemas.microsoft.com/office/drawing/2014/main" id="{F42AA367-8ECD-6B17-CB99-D4407B58F2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34094" y="4394088"/>
              <a:ext cx="9641" cy="12854"/>
            </a:xfrm>
            <a:custGeom>
              <a:avLst/>
              <a:gdLst/>
              <a:ahLst/>
              <a:cxnLst>
                <a:cxn ang="0">
                  <a:pos x="1" y="4"/>
                </a:cxn>
                <a:cxn ang="0">
                  <a:pos x="1" y="2"/>
                </a:cxn>
                <a:cxn ang="0">
                  <a:pos x="1" y="4"/>
                </a:cxn>
              </a:cxnLst>
              <a:rect l="0" t="0" r="r" b="b"/>
              <a:pathLst>
                <a:path w="3" h="4">
                  <a:moveTo>
                    <a:pt x="1" y="4"/>
                  </a:moveTo>
                  <a:cubicBezTo>
                    <a:pt x="0" y="2"/>
                    <a:pt x="1" y="0"/>
                    <a:pt x="1" y="2"/>
                  </a:cubicBezTo>
                  <a:cubicBezTo>
                    <a:pt x="3" y="2"/>
                    <a:pt x="1" y="4"/>
                    <a:pt x="1" y="4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30" name="Freeform 146">
              <a:extLst>
                <a:ext uri="{FF2B5EF4-FFF2-40B4-BE49-F238E27FC236}">
                  <a16:creationId xmlns:a16="http://schemas.microsoft.com/office/drawing/2014/main" id="{32AFCFC9-181D-9372-034B-FF3BA9085F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34094" y="4410155"/>
              <a:ext cx="3213" cy="9640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" y="2"/>
                </a:cxn>
                <a:cxn ang="0">
                  <a:pos x="0" y="2"/>
                </a:cxn>
              </a:cxnLst>
              <a:rect l="0" t="0" r="r" b="b"/>
              <a:pathLst>
                <a:path w="1" h="3">
                  <a:moveTo>
                    <a:pt x="0" y="2"/>
                  </a:moveTo>
                  <a:cubicBezTo>
                    <a:pt x="0" y="0"/>
                    <a:pt x="1" y="0"/>
                    <a:pt x="1" y="2"/>
                  </a:cubicBezTo>
                  <a:cubicBezTo>
                    <a:pt x="1" y="3"/>
                    <a:pt x="0" y="2"/>
                    <a:pt x="0" y="2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31" name="Freeform 147">
              <a:extLst>
                <a:ext uri="{FF2B5EF4-FFF2-40B4-BE49-F238E27FC236}">
                  <a16:creationId xmlns:a16="http://schemas.microsoft.com/office/drawing/2014/main" id="{385213ED-8B15-B370-BE20-C1EAEF960E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37308" y="4410155"/>
              <a:ext cx="6427" cy="6427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0"/>
                </a:cxn>
                <a:cxn ang="0">
                  <a:pos x="0" y="2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2"/>
                    <a:pt x="0" y="2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32" name="Freeform 148">
              <a:extLst>
                <a:ext uri="{FF2B5EF4-FFF2-40B4-BE49-F238E27FC236}">
                  <a16:creationId xmlns:a16="http://schemas.microsoft.com/office/drawing/2014/main" id="{B83A7029-1E05-0DA1-ADE9-B0281D026B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43734" y="4406942"/>
              <a:ext cx="3213" cy="3213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1" y="0"/>
                </a:cxn>
                <a:cxn ang="0">
                  <a:pos x="0" y="1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0" y="1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33" name="Freeform 149">
              <a:extLst>
                <a:ext uri="{FF2B5EF4-FFF2-40B4-BE49-F238E27FC236}">
                  <a16:creationId xmlns:a16="http://schemas.microsoft.com/office/drawing/2014/main" id="{600DAF4C-541D-C19A-07F6-20910136EE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27667" y="4394088"/>
              <a:ext cx="6427" cy="6427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" y="2"/>
                </a:cxn>
                <a:cxn ang="0">
                  <a:pos x="0" y="2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cubicBezTo>
                    <a:pt x="0" y="2"/>
                    <a:pt x="2" y="0"/>
                    <a:pt x="2" y="2"/>
                  </a:cubicBezTo>
                  <a:cubicBezTo>
                    <a:pt x="0" y="2"/>
                    <a:pt x="0" y="2"/>
                    <a:pt x="0" y="2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34" name="Freeform 150">
              <a:extLst>
                <a:ext uri="{FF2B5EF4-FFF2-40B4-BE49-F238E27FC236}">
                  <a16:creationId xmlns:a16="http://schemas.microsoft.com/office/drawing/2014/main" id="{DD02D925-9739-A4D6-C58F-A4395FEDD9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46948" y="4394088"/>
              <a:ext cx="6427" cy="6427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" y="2"/>
                </a:cxn>
                <a:cxn ang="0">
                  <a:pos x="0" y="2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cubicBezTo>
                    <a:pt x="0" y="2"/>
                    <a:pt x="0" y="0"/>
                    <a:pt x="2" y="2"/>
                  </a:cubicBezTo>
                  <a:cubicBezTo>
                    <a:pt x="0" y="2"/>
                    <a:pt x="0" y="2"/>
                    <a:pt x="0" y="2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35" name="Freeform 151">
              <a:extLst>
                <a:ext uri="{FF2B5EF4-FFF2-40B4-BE49-F238E27FC236}">
                  <a16:creationId xmlns:a16="http://schemas.microsoft.com/office/drawing/2014/main" id="{E4D0669C-B0C9-0F48-5EA9-3685FE41B9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44494" y="4280009"/>
              <a:ext cx="16068" cy="17674"/>
            </a:xfrm>
            <a:custGeom>
              <a:avLst/>
              <a:gdLst/>
              <a:ahLst/>
              <a:cxnLst>
                <a:cxn ang="0">
                  <a:pos x="2" y="6"/>
                </a:cxn>
                <a:cxn ang="0">
                  <a:pos x="2" y="1"/>
                </a:cxn>
                <a:cxn ang="0">
                  <a:pos x="2" y="6"/>
                </a:cxn>
              </a:cxnLst>
              <a:rect l="0" t="0" r="r" b="b"/>
              <a:pathLst>
                <a:path w="5" h="6">
                  <a:moveTo>
                    <a:pt x="2" y="6"/>
                  </a:moveTo>
                  <a:cubicBezTo>
                    <a:pt x="0" y="6"/>
                    <a:pt x="0" y="0"/>
                    <a:pt x="2" y="1"/>
                  </a:cubicBezTo>
                  <a:cubicBezTo>
                    <a:pt x="3" y="3"/>
                    <a:pt x="5" y="5"/>
                    <a:pt x="2" y="6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36" name="Freeform 152">
              <a:extLst>
                <a:ext uri="{FF2B5EF4-FFF2-40B4-BE49-F238E27FC236}">
                  <a16:creationId xmlns:a16="http://schemas.microsoft.com/office/drawing/2014/main" id="{FE63A862-285E-DF3F-C043-5A06F85860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62168" y="4254301"/>
              <a:ext cx="16068" cy="9640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3" y="2"/>
                </a:cxn>
                <a:cxn ang="0">
                  <a:pos x="2" y="2"/>
                </a:cxn>
              </a:cxnLst>
              <a:rect l="0" t="0" r="r" b="b"/>
              <a:pathLst>
                <a:path w="5" h="3">
                  <a:moveTo>
                    <a:pt x="2" y="2"/>
                  </a:moveTo>
                  <a:cubicBezTo>
                    <a:pt x="2" y="0"/>
                    <a:pt x="5" y="0"/>
                    <a:pt x="3" y="2"/>
                  </a:cubicBezTo>
                  <a:cubicBezTo>
                    <a:pt x="2" y="3"/>
                    <a:pt x="0" y="3"/>
                    <a:pt x="2" y="2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37" name="Freeform 156">
              <a:extLst>
                <a:ext uri="{FF2B5EF4-FFF2-40B4-BE49-F238E27FC236}">
                  <a16:creationId xmlns:a16="http://schemas.microsoft.com/office/drawing/2014/main" id="{4BB0799A-C683-1FF8-6652-4863A624CB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54134" y="4281615"/>
              <a:ext cx="8034" cy="6427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2" y="0"/>
                </a:cxn>
                <a:cxn ang="0">
                  <a:pos x="2" y="2"/>
                </a:cxn>
              </a:cxnLst>
              <a:rect l="0" t="0" r="r" b="b"/>
              <a:pathLst>
                <a:path w="3" h="2">
                  <a:moveTo>
                    <a:pt x="2" y="2"/>
                  </a:moveTo>
                  <a:cubicBezTo>
                    <a:pt x="0" y="2"/>
                    <a:pt x="2" y="0"/>
                    <a:pt x="2" y="0"/>
                  </a:cubicBezTo>
                  <a:cubicBezTo>
                    <a:pt x="3" y="0"/>
                    <a:pt x="3" y="2"/>
                    <a:pt x="2" y="2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38" name="Freeform 159">
              <a:extLst>
                <a:ext uri="{FF2B5EF4-FFF2-40B4-BE49-F238E27FC236}">
                  <a16:creationId xmlns:a16="http://schemas.microsoft.com/office/drawing/2014/main" id="{265C7B0E-35E0-EE02-01E2-3975650F51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94570" y="3179384"/>
              <a:ext cx="89980" cy="109260"/>
            </a:xfrm>
            <a:custGeom>
              <a:avLst/>
              <a:gdLst/>
              <a:ahLst/>
              <a:cxnLst>
                <a:cxn ang="0">
                  <a:pos x="12" y="35"/>
                </a:cxn>
                <a:cxn ang="0">
                  <a:pos x="12" y="31"/>
                </a:cxn>
                <a:cxn ang="0">
                  <a:pos x="10" y="18"/>
                </a:cxn>
                <a:cxn ang="0">
                  <a:pos x="7" y="12"/>
                </a:cxn>
                <a:cxn ang="0">
                  <a:pos x="0" y="3"/>
                </a:cxn>
                <a:cxn ang="0">
                  <a:pos x="6" y="1"/>
                </a:cxn>
                <a:cxn ang="0">
                  <a:pos x="15" y="5"/>
                </a:cxn>
                <a:cxn ang="0">
                  <a:pos x="19" y="6"/>
                </a:cxn>
                <a:cxn ang="0">
                  <a:pos x="19" y="9"/>
                </a:cxn>
                <a:cxn ang="0">
                  <a:pos x="22" y="14"/>
                </a:cxn>
                <a:cxn ang="0">
                  <a:pos x="24" y="18"/>
                </a:cxn>
                <a:cxn ang="0">
                  <a:pos x="25" y="25"/>
                </a:cxn>
                <a:cxn ang="0">
                  <a:pos x="25" y="25"/>
                </a:cxn>
                <a:cxn ang="0">
                  <a:pos x="19" y="25"/>
                </a:cxn>
                <a:cxn ang="0">
                  <a:pos x="18" y="26"/>
                </a:cxn>
                <a:cxn ang="0">
                  <a:pos x="15" y="34"/>
                </a:cxn>
                <a:cxn ang="0">
                  <a:pos x="12" y="35"/>
                </a:cxn>
              </a:cxnLst>
              <a:rect l="0" t="0" r="r" b="b"/>
              <a:pathLst>
                <a:path w="29" h="35">
                  <a:moveTo>
                    <a:pt x="12" y="35"/>
                  </a:moveTo>
                  <a:cubicBezTo>
                    <a:pt x="10" y="34"/>
                    <a:pt x="12" y="34"/>
                    <a:pt x="12" y="31"/>
                  </a:cubicBezTo>
                  <a:cubicBezTo>
                    <a:pt x="10" y="26"/>
                    <a:pt x="15" y="23"/>
                    <a:pt x="10" y="18"/>
                  </a:cubicBezTo>
                  <a:cubicBezTo>
                    <a:pt x="6" y="12"/>
                    <a:pt x="7" y="14"/>
                    <a:pt x="7" y="12"/>
                  </a:cubicBezTo>
                  <a:cubicBezTo>
                    <a:pt x="4" y="11"/>
                    <a:pt x="3" y="1"/>
                    <a:pt x="0" y="3"/>
                  </a:cubicBezTo>
                  <a:cubicBezTo>
                    <a:pt x="1" y="1"/>
                    <a:pt x="4" y="1"/>
                    <a:pt x="6" y="1"/>
                  </a:cubicBezTo>
                  <a:cubicBezTo>
                    <a:pt x="7" y="0"/>
                    <a:pt x="13" y="5"/>
                    <a:pt x="15" y="5"/>
                  </a:cubicBezTo>
                  <a:cubicBezTo>
                    <a:pt x="16" y="3"/>
                    <a:pt x="16" y="8"/>
                    <a:pt x="19" y="6"/>
                  </a:cubicBezTo>
                  <a:cubicBezTo>
                    <a:pt x="21" y="6"/>
                    <a:pt x="21" y="8"/>
                    <a:pt x="19" y="9"/>
                  </a:cubicBezTo>
                  <a:cubicBezTo>
                    <a:pt x="18" y="12"/>
                    <a:pt x="21" y="14"/>
                    <a:pt x="22" y="14"/>
                  </a:cubicBezTo>
                  <a:cubicBezTo>
                    <a:pt x="24" y="14"/>
                    <a:pt x="21" y="17"/>
                    <a:pt x="24" y="18"/>
                  </a:cubicBezTo>
                  <a:cubicBezTo>
                    <a:pt x="27" y="20"/>
                    <a:pt x="24" y="23"/>
                    <a:pt x="25" y="25"/>
                  </a:cubicBezTo>
                  <a:cubicBezTo>
                    <a:pt x="29" y="25"/>
                    <a:pt x="25" y="26"/>
                    <a:pt x="25" y="25"/>
                  </a:cubicBezTo>
                  <a:cubicBezTo>
                    <a:pt x="24" y="25"/>
                    <a:pt x="21" y="26"/>
                    <a:pt x="19" y="25"/>
                  </a:cubicBezTo>
                  <a:cubicBezTo>
                    <a:pt x="18" y="23"/>
                    <a:pt x="16" y="25"/>
                    <a:pt x="18" y="26"/>
                  </a:cubicBezTo>
                  <a:cubicBezTo>
                    <a:pt x="19" y="29"/>
                    <a:pt x="13" y="32"/>
                    <a:pt x="15" y="34"/>
                  </a:cubicBezTo>
                  <a:cubicBezTo>
                    <a:pt x="15" y="35"/>
                    <a:pt x="13" y="35"/>
                    <a:pt x="12" y="35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39" name="Freeform 160">
              <a:extLst>
                <a:ext uri="{FF2B5EF4-FFF2-40B4-BE49-F238E27FC236}">
                  <a16:creationId xmlns:a16="http://schemas.microsoft.com/office/drawing/2014/main" id="{D576338E-9D1F-E10E-9059-1D0E16780B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38711" y="3189024"/>
              <a:ext cx="229770" cy="167103"/>
            </a:xfrm>
            <a:custGeom>
              <a:avLst/>
              <a:gdLst/>
              <a:ahLst/>
              <a:cxnLst>
                <a:cxn ang="0">
                  <a:pos x="21" y="3"/>
                </a:cxn>
                <a:cxn ang="0">
                  <a:pos x="15" y="6"/>
                </a:cxn>
                <a:cxn ang="0">
                  <a:pos x="12" y="11"/>
                </a:cxn>
                <a:cxn ang="0">
                  <a:pos x="10" y="15"/>
                </a:cxn>
                <a:cxn ang="0">
                  <a:pos x="6" y="23"/>
                </a:cxn>
                <a:cxn ang="0">
                  <a:pos x="3" y="23"/>
                </a:cxn>
                <a:cxn ang="0">
                  <a:pos x="3" y="23"/>
                </a:cxn>
                <a:cxn ang="0">
                  <a:pos x="0" y="25"/>
                </a:cxn>
                <a:cxn ang="0">
                  <a:pos x="3" y="30"/>
                </a:cxn>
                <a:cxn ang="0">
                  <a:pos x="9" y="36"/>
                </a:cxn>
                <a:cxn ang="0">
                  <a:pos x="13" y="42"/>
                </a:cxn>
                <a:cxn ang="0">
                  <a:pos x="16" y="40"/>
                </a:cxn>
                <a:cxn ang="0">
                  <a:pos x="18" y="47"/>
                </a:cxn>
                <a:cxn ang="0">
                  <a:pos x="19" y="51"/>
                </a:cxn>
                <a:cxn ang="0">
                  <a:pos x="25" y="51"/>
                </a:cxn>
                <a:cxn ang="0">
                  <a:pos x="33" y="51"/>
                </a:cxn>
                <a:cxn ang="0">
                  <a:pos x="42" y="51"/>
                </a:cxn>
                <a:cxn ang="0">
                  <a:pos x="54" y="50"/>
                </a:cxn>
                <a:cxn ang="0">
                  <a:pos x="60" y="51"/>
                </a:cxn>
                <a:cxn ang="0">
                  <a:pos x="65" y="53"/>
                </a:cxn>
                <a:cxn ang="0">
                  <a:pos x="71" y="40"/>
                </a:cxn>
                <a:cxn ang="0">
                  <a:pos x="74" y="36"/>
                </a:cxn>
                <a:cxn ang="0">
                  <a:pos x="69" y="34"/>
                </a:cxn>
                <a:cxn ang="0">
                  <a:pos x="66" y="36"/>
                </a:cxn>
                <a:cxn ang="0">
                  <a:pos x="62" y="33"/>
                </a:cxn>
                <a:cxn ang="0">
                  <a:pos x="62" y="28"/>
                </a:cxn>
                <a:cxn ang="0">
                  <a:pos x="60" y="15"/>
                </a:cxn>
                <a:cxn ang="0">
                  <a:pos x="57" y="9"/>
                </a:cxn>
                <a:cxn ang="0">
                  <a:pos x="50" y="0"/>
                </a:cxn>
                <a:cxn ang="0">
                  <a:pos x="44" y="5"/>
                </a:cxn>
                <a:cxn ang="0">
                  <a:pos x="38" y="6"/>
                </a:cxn>
                <a:cxn ang="0">
                  <a:pos x="33" y="3"/>
                </a:cxn>
                <a:cxn ang="0">
                  <a:pos x="27" y="3"/>
                </a:cxn>
                <a:cxn ang="0">
                  <a:pos x="22" y="3"/>
                </a:cxn>
                <a:cxn ang="0">
                  <a:pos x="21" y="3"/>
                </a:cxn>
              </a:cxnLst>
              <a:rect l="0" t="0" r="r" b="b"/>
              <a:pathLst>
                <a:path w="74" h="54">
                  <a:moveTo>
                    <a:pt x="21" y="3"/>
                  </a:moveTo>
                  <a:cubicBezTo>
                    <a:pt x="18" y="8"/>
                    <a:pt x="16" y="5"/>
                    <a:pt x="15" y="6"/>
                  </a:cubicBezTo>
                  <a:cubicBezTo>
                    <a:pt x="13" y="8"/>
                    <a:pt x="15" y="8"/>
                    <a:pt x="12" y="11"/>
                  </a:cubicBezTo>
                  <a:cubicBezTo>
                    <a:pt x="9" y="14"/>
                    <a:pt x="12" y="14"/>
                    <a:pt x="10" y="15"/>
                  </a:cubicBezTo>
                  <a:cubicBezTo>
                    <a:pt x="9" y="19"/>
                    <a:pt x="6" y="23"/>
                    <a:pt x="6" y="23"/>
                  </a:cubicBezTo>
                  <a:cubicBezTo>
                    <a:pt x="4" y="23"/>
                    <a:pt x="4" y="22"/>
                    <a:pt x="3" y="23"/>
                  </a:cubicBezTo>
                  <a:cubicBezTo>
                    <a:pt x="3" y="23"/>
                    <a:pt x="4" y="23"/>
                    <a:pt x="3" y="23"/>
                  </a:cubicBezTo>
                  <a:cubicBezTo>
                    <a:pt x="1" y="23"/>
                    <a:pt x="0" y="23"/>
                    <a:pt x="0" y="25"/>
                  </a:cubicBezTo>
                  <a:cubicBezTo>
                    <a:pt x="1" y="28"/>
                    <a:pt x="4" y="28"/>
                    <a:pt x="3" y="30"/>
                  </a:cubicBezTo>
                  <a:cubicBezTo>
                    <a:pt x="3" y="34"/>
                    <a:pt x="10" y="34"/>
                    <a:pt x="9" y="36"/>
                  </a:cubicBezTo>
                  <a:cubicBezTo>
                    <a:pt x="7" y="39"/>
                    <a:pt x="9" y="42"/>
                    <a:pt x="13" y="42"/>
                  </a:cubicBezTo>
                  <a:cubicBezTo>
                    <a:pt x="16" y="44"/>
                    <a:pt x="15" y="40"/>
                    <a:pt x="16" y="40"/>
                  </a:cubicBezTo>
                  <a:cubicBezTo>
                    <a:pt x="22" y="45"/>
                    <a:pt x="13" y="42"/>
                    <a:pt x="18" y="47"/>
                  </a:cubicBezTo>
                  <a:cubicBezTo>
                    <a:pt x="24" y="50"/>
                    <a:pt x="18" y="50"/>
                    <a:pt x="19" y="51"/>
                  </a:cubicBezTo>
                  <a:cubicBezTo>
                    <a:pt x="21" y="53"/>
                    <a:pt x="22" y="50"/>
                    <a:pt x="25" y="51"/>
                  </a:cubicBezTo>
                  <a:cubicBezTo>
                    <a:pt x="30" y="54"/>
                    <a:pt x="30" y="51"/>
                    <a:pt x="33" y="51"/>
                  </a:cubicBezTo>
                  <a:cubicBezTo>
                    <a:pt x="36" y="53"/>
                    <a:pt x="39" y="54"/>
                    <a:pt x="42" y="51"/>
                  </a:cubicBezTo>
                  <a:cubicBezTo>
                    <a:pt x="45" y="50"/>
                    <a:pt x="53" y="47"/>
                    <a:pt x="54" y="50"/>
                  </a:cubicBezTo>
                  <a:cubicBezTo>
                    <a:pt x="56" y="51"/>
                    <a:pt x="57" y="48"/>
                    <a:pt x="60" y="51"/>
                  </a:cubicBezTo>
                  <a:cubicBezTo>
                    <a:pt x="60" y="53"/>
                    <a:pt x="63" y="53"/>
                    <a:pt x="65" y="53"/>
                  </a:cubicBezTo>
                  <a:cubicBezTo>
                    <a:pt x="65" y="45"/>
                    <a:pt x="66" y="42"/>
                    <a:pt x="71" y="40"/>
                  </a:cubicBezTo>
                  <a:cubicBezTo>
                    <a:pt x="74" y="40"/>
                    <a:pt x="74" y="39"/>
                    <a:pt x="74" y="36"/>
                  </a:cubicBezTo>
                  <a:cubicBezTo>
                    <a:pt x="73" y="33"/>
                    <a:pt x="69" y="34"/>
                    <a:pt x="69" y="34"/>
                  </a:cubicBezTo>
                  <a:cubicBezTo>
                    <a:pt x="68" y="36"/>
                    <a:pt x="66" y="34"/>
                    <a:pt x="66" y="36"/>
                  </a:cubicBezTo>
                  <a:cubicBezTo>
                    <a:pt x="65" y="37"/>
                    <a:pt x="63" y="36"/>
                    <a:pt x="62" y="33"/>
                  </a:cubicBezTo>
                  <a:cubicBezTo>
                    <a:pt x="60" y="31"/>
                    <a:pt x="62" y="33"/>
                    <a:pt x="62" y="28"/>
                  </a:cubicBezTo>
                  <a:cubicBezTo>
                    <a:pt x="60" y="25"/>
                    <a:pt x="65" y="20"/>
                    <a:pt x="60" y="15"/>
                  </a:cubicBezTo>
                  <a:cubicBezTo>
                    <a:pt x="56" y="11"/>
                    <a:pt x="59" y="11"/>
                    <a:pt x="57" y="9"/>
                  </a:cubicBezTo>
                  <a:cubicBezTo>
                    <a:pt x="54" y="8"/>
                    <a:pt x="54" y="0"/>
                    <a:pt x="50" y="0"/>
                  </a:cubicBezTo>
                  <a:cubicBezTo>
                    <a:pt x="47" y="1"/>
                    <a:pt x="48" y="3"/>
                    <a:pt x="44" y="5"/>
                  </a:cubicBezTo>
                  <a:cubicBezTo>
                    <a:pt x="39" y="5"/>
                    <a:pt x="39" y="5"/>
                    <a:pt x="38" y="6"/>
                  </a:cubicBezTo>
                  <a:cubicBezTo>
                    <a:pt x="36" y="8"/>
                    <a:pt x="35" y="3"/>
                    <a:pt x="33" y="3"/>
                  </a:cubicBezTo>
                  <a:cubicBezTo>
                    <a:pt x="30" y="5"/>
                    <a:pt x="30" y="3"/>
                    <a:pt x="27" y="3"/>
                  </a:cubicBezTo>
                  <a:cubicBezTo>
                    <a:pt x="24" y="3"/>
                    <a:pt x="22" y="1"/>
                    <a:pt x="22" y="3"/>
                  </a:cubicBezTo>
                  <a:cubicBezTo>
                    <a:pt x="21" y="5"/>
                    <a:pt x="21" y="3"/>
                    <a:pt x="21" y="3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40" name="Freeform 161">
              <a:extLst>
                <a:ext uri="{FF2B5EF4-FFF2-40B4-BE49-F238E27FC236}">
                  <a16:creationId xmlns:a16="http://schemas.microsoft.com/office/drawing/2014/main" id="{1AA9E7CF-DD43-6957-2A0F-1BFB634D74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78501" y="3405935"/>
              <a:ext cx="77125" cy="78731"/>
            </a:xfrm>
            <a:custGeom>
              <a:avLst/>
              <a:gdLst/>
              <a:ahLst/>
              <a:cxnLst>
                <a:cxn ang="0">
                  <a:pos x="2" y="5"/>
                </a:cxn>
                <a:cxn ang="0">
                  <a:pos x="3" y="11"/>
                </a:cxn>
                <a:cxn ang="0">
                  <a:pos x="0" y="16"/>
                </a:cxn>
                <a:cxn ang="0">
                  <a:pos x="5" y="17"/>
                </a:cxn>
                <a:cxn ang="0">
                  <a:pos x="2" y="22"/>
                </a:cxn>
                <a:cxn ang="0">
                  <a:pos x="5" y="20"/>
                </a:cxn>
                <a:cxn ang="0">
                  <a:pos x="11" y="16"/>
                </a:cxn>
                <a:cxn ang="0">
                  <a:pos x="15" y="14"/>
                </a:cxn>
                <a:cxn ang="0">
                  <a:pos x="23" y="12"/>
                </a:cxn>
                <a:cxn ang="0">
                  <a:pos x="20" y="9"/>
                </a:cxn>
                <a:cxn ang="0">
                  <a:pos x="15" y="2"/>
                </a:cxn>
                <a:cxn ang="0">
                  <a:pos x="12" y="3"/>
                </a:cxn>
                <a:cxn ang="0">
                  <a:pos x="8" y="2"/>
                </a:cxn>
                <a:cxn ang="0">
                  <a:pos x="5" y="3"/>
                </a:cxn>
                <a:cxn ang="0">
                  <a:pos x="2" y="5"/>
                </a:cxn>
              </a:cxnLst>
              <a:rect l="0" t="0" r="r" b="b"/>
              <a:pathLst>
                <a:path w="25" h="25">
                  <a:moveTo>
                    <a:pt x="2" y="5"/>
                  </a:moveTo>
                  <a:cubicBezTo>
                    <a:pt x="5" y="8"/>
                    <a:pt x="5" y="9"/>
                    <a:pt x="3" y="11"/>
                  </a:cubicBezTo>
                  <a:cubicBezTo>
                    <a:pt x="2" y="11"/>
                    <a:pt x="3" y="14"/>
                    <a:pt x="0" y="16"/>
                  </a:cubicBezTo>
                  <a:cubicBezTo>
                    <a:pt x="0" y="20"/>
                    <a:pt x="9" y="16"/>
                    <a:pt x="5" y="17"/>
                  </a:cubicBezTo>
                  <a:cubicBezTo>
                    <a:pt x="2" y="20"/>
                    <a:pt x="2" y="19"/>
                    <a:pt x="2" y="22"/>
                  </a:cubicBezTo>
                  <a:cubicBezTo>
                    <a:pt x="0" y="25"/>
                    <a:pt x="2" y="22"/>
                    <a:pt x="5" y="20"/>
                  </a:cubicBezTo>
                  <a:cubicBezTo>
                    <a:pt x="8" y="17"/>
                    <a:pt x="9" y="19"/>
                    <a:pt x="11" y="16"/>
                  </a:cubicBezTo>
                  <a:cubicBezTo>
                    <a:pt x="14" y="9"/>
                    <a:pt x="14" y="16"/>
                    <a:pt x="15" y="14"/>
                  </a:cubicBezTo>
                  <a:cubicBezTo>
                    <a:pt x="18" y="11"/>
                    <a:pt x="21" y="16"/>
                    <a:pt x="23" y="12"/>
                  </a:cubicBezTo>
                  <a:cubicBezTo>
                    <a:pt x="25" y="9"/>
                    <a:pt x="23" y="11"/>
                    <a:pt x="20" y="9"/>
                  </a:cubicBezTo>
                  <a:cubicBezTo>
                    <a:pt x="15" y="6"/>
                    <a:pt x="15" y="5"/>
                    <a:pt x="15" y="2"/>
                  </a:cubicBezTo>
                  <a:cubicBezTo>
                    <a:pt x="14" y="2"/>
                    <a:pt x="14" y="3"/>
                    <a:pt x="12" y="3"/>
                  </a:cubicBezTo>
                  <a:cubicBezTo>
                    <a:pt x="11" y="3"/>
                    <a:pt x="9" y="0"/>
                    <a:pt x="8" y="2"/>
                  </a:cubicBezTo>
                  <a:cubicBezTo>
                    <a:pt x="6" y="3"/>
                    <a:pt x="5" y="0"/>
                    <a:pt x="5" y="3"/>
                  </a:cubicBezTo>
                  <a:cubicBezTo>
                    <a:pt x="3" y="5"/>
                    <a:pt x="2" y="3"/>
                    <a:pt x="2" y="5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41" name="Freeform 162">
              <a:extLst>
                <a:ext uri="{FF2B5EF4-FFF2-40B4-BE49-F238E27FC236}">
                  <a16:creationId xmlns:a16="http://schemas.microsoft.com/office/drawing/2014/main" id="{928D08AD-F4E1-CD72-4138-2373F9CB5B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2623" y="2748774"/>
              <a:ext cx="125329" cy="89979"/>
            </a:xfrm>
            <a:custGeom>
              <a:avLst/>
              <a:gdLst/>
              <a:ahLst/>
              <a:cxnLst>
                <a:cxn ang="0">
                  <a:pos x="7" y="18"/>
                </a:cxn>
                <a:cxn ang="0">
                  <a:pos x="1" y="15"/>
                </a:cxn>
                <a:cxn ang="0">
                  <a:pos x="1" y="9"/>
                </a:cxn>
                <a:cxn ang="0">
                  <a:pos x="4" y="4"/>
                </a:cxn>
                <a:cxn ang="0">
                  <a:pos x="13" y="3"/>
                </a:cxn>
                <a:cxn ang="0">
                  <a:pos x="18" y="1"/>
                </a:cxn>
                <a:cxn ang="0">
                  <a:pos x="27" y="3"/>
                </a:cxn>
                <a:cxn ang="0">
                  <a:pos x="36" y="3"/>
                </a:cxn>
                <a:cxn ang="0">
                  <a:pos x="35" y="8"/>
                </a:cxn>
                <a:cxn ang="0">
                  <a:pos x="32" y="15"/>
                </a:cxn>
                <a:cxn ang="0">
                  <a:pos x="33" y="22"/>
                </a:cxn>
                <a:cxn ang="0">
                  <a:pos x="32" y="28"/>
                </a:cxn>
                <a:cxn ang="0">
                  <a:pos x="26" y="28"/>
                </a:cxn>
                <a:cxn ang="0">
                  <a:pos x="20" y="25"/>
                </a:cxn>
                <a:cxn ang="0">
                  <a:pos x="15" y="22"/>
                </a:cxn>
                <a:cxn ang="0">
                  <a:pos x="7" y="25"/>
                </a:cxn>
                <a:cxn ang="0">
                  <a:pos x="7" y="18"/>
                </a:cxn>
              </a:cxnLst>
              <a:rect l="0" t="0" r="r" b="b"/>
              <a:pathLst>
                <a:path w="40" h="29">
                  <a:moveTo>
                    <a:pt x="7" y="18"/>
                  </a:moveTo>
                  <a:cubicBezTo>
                    <a:pt x="3" y="20"/>
                    <a:pt x="3" y="17"/>
                    <a:pt x="1" y="15"/>
                  </a:cubicBezTo>
                  <a:cubicBezTo>
                    <a:pt x="0" y="12"/>
                    <a:pt x="0" y="12"/>
                    <a:pt x="1" y="9"/>
                  </a:cubicBezTo>
                  <a:cubicBezTo>
                    <a:pt x="1" y="6"/>
                    <a:pt x="4" y="8"/>
                    <a:pt x="4" y="4"/>
                  </a:cubicBezTo>
                  <a:cubicBezTo>
                    <a:pt x="6" y="3"/>
                    <a:pt x="10" y="3"/>
                    <a:pt x="13" y="3"/>
                  </a:cubicBezTo>
                  <a:cubicBezTo>
                    <a:pt x="18" y="3"/>
                    <a:pt x="13" y="0"/>
                    <a:pt x="18" y="1"/>
                  </a:cubicBezTo>
                  <a:cubicBezTo>
                    <a:pt x="23" y="3"/>
                    <a:pt x="26" y="1"/>
                    <a:pt x="27" y="3"/>
                  </a:cubicBezTo>
                  <a:cubicBezTo>
                    <a:pt x="30" y="4"/>
                    <a:pt x="33" y="4"/>
                    <a:pt x="36" y="3"/>
                  </a:cubicBezTo>
                  <a:cubicBezTo>
                    <a:pt x="40" y="6"/>
                    <a:pt x="35" y="4"/>
                    <a:pt x="35" y="8"/>
                  </a:cubicBezTo>
                  <a:cubicBezTo>
                    <a:pt x="35" y="12"/>
                    <a:pt x="30" y="9"/>
                    <a:pt x="32" y="15"/>
                  </a:cubicBezTo>
                  <a:cubicBezTo>
                    <a:pt x="35" y="20"/>
                    <a:pt x="30" y="17"/>
                    <a:pt x="33" y="22"/>
                  </a:cubicBezTo>
                  <a:cubicBezTo>
                    <a:pt x="36" y="26"/>
                    <a:pt x="33" y="23"/>
                    <a:pt x="32" y="28"/>
                  </a:cubicBezTo>
                  <a:cubicBezTo>
                    <a:pt x="29" y="29"/>
                    <a:pt x="30" y="26"/>
                    <a:pt x="26" y="28"/>
                  </a:cubicBezTo>
                  <a:cubicBezTo>
                    <a:pt x="23" y="29"/>
                    <a:pt x="21" y="25"/>
                    <a:pt x="20" y="25"/>
                  </a:cubicBezTo>
                  <a:cubicBezTo>
                    <a:pt x="18" y="25"/>
                    <a:pt x="17" y="22"/>
                    <a:pt x="15" y="22"/>
                  </a:cubicBezTo>
                  <a:cubicBezTo>
                    <a:pt x="12" y="20"/>
                    <a:pt x="12" y="23"/>
                    <a:pt x="7" y="25"/>
                  </a:cubicBezTo>
                  <a:cubicBezTo>
                    <a:pt x="9" y="18"/>
                    <a:pt x="10" y="15"/>
                    <a:pt x="7" y="18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42" name="Freeform 163">
              <a:extLst>
                <a:ext uri="{FF2B5EF4-FFF2-40B4-BE49-F238E27FC236}">
                  <a16:creationId xmlns:a16="http://schemas.microsoft.com/office/drawing/2014/main" id="{F731E9E2-98D8-C7C0-BA79-DDE2EAF7C8C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49960" y="2808224"/>
              <a:ext cx="187993" cy="99618"/>
            </a:xfrm>
            <a:custGeom>
              <a:avLst/>
              <a:gdLst/>
              <a:ahLst/>
              <a:cxnLst>
                <a:cxn ang="0">
                  <a:pos x="0" y="27"/>
                </a:cxn>
                <a:cxn ang="0">
                  <a:pos x="15" y="24"/>
                </a:cxn>
                <a:cxn ang="0">
                  <a:pos x="26" y="24"/>
                </a:cxn>
                <a:cxn ang="0">
                  <a:pos x="32" y="22"/>
                </a:cxn>
                <a:cxn ang="0">
                  <a:pos x="35" y="26"/>
                </a:cxn>
                <a:cxn ang="0">
                  <a:pos x="46" y="32"/>
                </a:cxn>
                <a:cxn ang="0">
                  <a:pos x="53" y="30"/>
                </a:cxn>
                <a:cxn ang="0">
                  <a:pos x="58" y="27"/>
                </a:cxn>
                <a:cxn ang="0">
                  <a:pos x="56" y="21"/>
                </a:cxn>
                <a:cxn ang="0">
                  <a:pos x="55" y="18"/>
                </a:cxn>
                <a:cxn ang="0">
                  <a:pos x="55" y="13"/>
                </a:cxn>
                <a:cxn ang="0">
                  <a:pos x="52" y="8"/>
                </a:cxn>
                <a:cxn ang="0">
                  <a:pos x="46" y="8"/>
                </a:cxn>
                <a:cxn ang="0">
                  <a:pos x="40" y="5"/>
                </a:cxn>
                <a:cxn ang="0">
                  <a:pos x="35" y="2"/>
                </a:cxn>
                <a:cxn ang="0">
                  <a:pos x="27" y="5"/>
                </a:cxn>
                <a:cxn ang="0">
                  <a:pos x="24" y="15"/>
                </a:cxn>
                <a:cxn ang="0">
                  <a:pos x="15" y="10"/>
                </a:cxn>
                <a:cxn ang="0">
                  <a:pos x="12" y="7"/>
                </a:cxn>
                <a:cxn ang="0">
                  <a:pos x="4" y="10"/>
                </a:cxn>
                <a:cxn ang="0">
                  <a:pos x="4" y="13"/>
                </a:cxn>
                <a:cxn ang="0">
                  <a:pos x="1" y="19"/>
                </a:cxn>
                <a:cxn ang="0">
                  <a:pos x="0" y="27"/>
                </a:cxn>
              </a:cxnLst>
              <a:rect l="0" t="0" r="r" b="b"/>
              <a:pathLst>
                <a:path w="60" h="32">
                  <a:moveTo>
                    <a:pt x="0" y="27"/>
                  </a:moveTo>
                  <a:cubicBezTo>
                    <a:pt x="7" y="22"/>
                    <a:pt x="9" y="22"/>
                    <a:pt x="15" y="24"/>
                  </a:cubicBezTo>
                  <a:cubicBezTo>
                    <a:pt x="21" y="24"/>
                    <a:pt x="23" y="22"/>
                    <a:pt x="26" y="24"/>
                  </a:cubicBezTo>
                  <a:cubicBezTo>
                    <a:pt x="30" y="26"/>
                    <a:pt x="30" y="22"/>
                    <a:pt x="32" y="22"/>
                  </a:cubicBezTo>
                  <a:cubicBezTo>
                    <a:pt x="33" y="24"/>
                    <a:pt x="30" y="26"/>
                    <a:pt x="35" y="26"/>
                  </a:cubicBezTo>
                  <a:cubicBezTo>
                    <a:pt x="40" y="26"/>
                    <a:pt x="41" y="30"/>
                    <a:pt x="46" y="32"/>
                  </a:cubicBezTo>
                  <a:cubicBezTo>
                    <a:pt x="50" y="29"/>
                    <a:pt x="52" y="32"/>
                    <a:pt x="53" y="30"/>
                  </a:cubicBezTo>
                  <a:cubicBezTo>
                    <a:pt x="55" y="27"/>
                    <a:pt x="55" y="27"/>
                    <a:pt x="58" y="27"/>
                  </a:cubicBezTo>
                  <a:cubicBezTo>
                    <a:pt x="58" y="27"/>
                    <a:pt x="60" y="24"/>
                    <a:pt x="56" y="21"/>
                  </a:cubicBezTo>
                  <a:cubicBezTo>
                    <a:pt x="55" y="18"/>
                    <a:pt x="56" y="18"/>
                    <a:pt x="55" y="18"/>
                  </a:cubicBezTo>
                  <a:cubicBezTo>
                    <a:pt x="53" y="18"/>
                    <a:pt x="55" y="15"/>
                    <a:pt x="55" y="13"/>
                  </a:cubicBezTo>
                  <a:cubicBezTo>
                    <a:pt x="56" y="11"/>
                    <a:pt x="53" y="11"/>
                    <a:pt x="52" y="8"/>
                  </a:cubicBezTo>
                  <a:cubicBezTo>
                    <a:pt x="49" y="10"/>
                    <a:pt x="50" y="7"/>
                    <a:pt x="46" y="8"/>
                  </a:cubicBezTo>
                  <a:cubicBezTo>
                    <a:pt x="43" y="10"/>
                    <a:pt x="41" y="5"/>
                    <a:pt x="40" y="5"/>
                  </a:cubicBezTo>
                  <a:cubicBezTo>
                    <a:pt x="38" y="5"/>
                    <a:pt x="37" y="2"/>
                    <a:pt x="35" y="2"/>
                  </a:cubicBezTo>
                  <a:cubicBezTo>
                    <a:pt x="32" y="0"/>
                    <a:pt x="32" y="3"/>
                    <a:pt x="27" y="5"/>
                  </a:cubicBezTo>
                  <a:cubicBezTo>
                    <a:pt x="26" y="8"/>
                    <a:pt x="30" y="13"/>
                    <a:pt x="24" y="15"/>
                  </a:cubicBezTo>
                  <a:cubicBezTo>
                    <a:pt x="17" y="18"/>
                    <a:pt x="20" y="11"/>
                    <a:pt x="15" y="10"/>
                  </a:cubicBezTo>
                  <a:cubicBezTo>
                    <a:pt x="10" y="8"/>
                    <a:pt x="15" y="5"/>
                    <a:pt x="12" y="7"/>
                  </a:cubicBezTo>
                  <a:cubicBezTo>
                    <a:pt x="7" y="8"/>
                    <a:pt x="6" y="8"/>
                    <a:pt x="4" y="10"/>
                  </a:cubicBezTo>
                  <a:cubicBezTo>
                    <a:pt x="4" y="11"/>
                    <a:pt x="3" y="11"/>
                    <a:pt x="4" y="13"/>
                  </a:cubicBezTo>
                  <a:cubicBezTo>
                    <a:pt x="4" y="16"/>
                    <a:pt x="1" y="16"/>
                    <a:pt x="1" y="19"/>
                  </a:cubicBezTo>
                  <a:cubicBezTo>
                    <a:pt x="0" y="22"/>
                    <a:pt x="0" y="24"/>
                    <a:pt x="0" y="27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43" name="Freeform 164">
              <a:extLst>
                <a:ext uri="{FF2B5EF4-FFF2-40B4-BE49-F238E27FC236}">
                  <a16:creationId xmlns:a16="http://schemas.microsoft.com/office/drawing/2014/main" id="{A29B2C88-6915-EA60-F7D4-03028032F3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49960" y="2877314"/>
              <a:ext cx="147824" cy="109260"/>
            </a:xfrm>
            <a:custGeom>
              <a:avLst/>
              <a:gdLst/>
              <a:ahLst/>
              <a:cxnLst>
                <a:cxn ang="0">
                  <a:pos x="46" y="10"/>
                </a:cxn>
                <a:cxn ang="0">
                  <a:pos x="46" y="16"/>
                </a:cxn>
                <a:cxn ang="0">
                  <a:pos x="38" y="22"/>
                </a:cxn>
                <a:cxn ang="0">
                  <a:pos x="38" y="29"/>
                </a:cxn>
                <a:cxn ang="0">
                  <a:pos x="32" y="30"/>
                </a:cxn>
                <a:cxn ang="0">
                  <a:pos x="21" y="32"/>
                </a:cxn>
                <a:cxn ang="0">
                  <a:pos x="15" y="27"/>
                </a:cxn>
                <a:cxn ang="0">
                  <a:pos x="13" y="19"/>
                </a:cxn>
                <a:cxn ang="0">
                  <a:pos x="3" y="16"/>
                </a:cxn>
                <a:cxn ang="0">
                  <a:pos x="1" y="10"/>
                </a:cxn>
                <a:cxn ang="0">
                  <a:pos x="0" y="5"/>
                </a:cxn>
                <a:cxn ang="0">
                  <a:pos x="15" y="2"/>
                </a:cxn>
                <a:cxn ang="0">
                  <a:pos x="26" y="2"/>
                </a:cxn>
                <a:cxn ang="0">
                  <a:pos x="32" y="0"/>
                </a:cxn>
                <a:cxn ang="0">
                  <a:pos x="35" y="3"/>
                </a:cxn>
                <a:cxn ang="0">
                  <a:pos x="46" y="10"/>
                </a:cxn>
              </a:cxnLst>
              <a:rect l="0" t="0" r="r" b="b"/>
              <a:pathLst>
                <a:path w="47" h="35">
                  <a:moveTo>
                    <a:pt x="46" y="10"/>
                  </a:moveTo>
                  <a:cubicBezTo>
                    <a:pt x="42" y="18"/>
                    <a:pt x="47" y="13"/>
                    <a:pt x="46" y="16"/>
                  </a:cubicBezTo>
                  <a:cubicBezTo>
                    <a:pt x="44" y="19"/>
                    <a:pt x="42" y="16"/>
                    <a:pt x="38" y="22"/>
                  </a:cubicBezTo>
                  <a:cubicBezTo>
                    <a:pt x="35" y="27"/>
                    <a:pt x="41" y="27"/>
                    <a:pt x="38" y="29"/>
                  </a:cubicBezTo>
                  <a:cubicBezTo>
                    <a:pt x="36" y="32"/>
                    <a:pt x="38" y="24"/>
                    <a:pt x="32" y="30"/>
                  </a:cubicBezTo>
                  <a:cubicBezTo>
                    <a:pt x="27" y="35"/>
                    <a:pt x="26" y="30"/>
                    <a:pt x="21" y="32"/>
                  </a:cubicBezTo>
                  <a:cubicBezTo>
                    <a:pt x="21" y="29"/>
                    <a:pt x="16" y="25"/>
                    <a:pt x="15" y="27"/>
                  </a:cubicBezTo>
                  <a:cubicBezTo>
                    <a:pt x="13" y="22"/>
                    <a:pt x="16" y="21"/>
                    <a:pt x="13" y="19"/>
                  </a:cubicBezTo>
                  <a:cubicBezTo>
                    <a:pt x="10" y="16"/>
                    <a:pt x="13" y="21"/>
                    <a:pt x="3" y="16"/>
                  </a:cubicBezTo>
                  <a:cubicBezTo>
                    <a:pt x="3" y="14"/>
                    <a:pt x="3" y="11"/>
                    <a:pt x="1" y="10"/>
                  </a:cubicBezTo>
                  <a:cubicBezTo>
                    <a:pt x="0" y="8"/>
                    <a:pt x="0" y="8"/>
                    <a:pt x="0" y="5"/>
                  </a:cubicBezTo>
                  <a:cubicBezTo>
                    <a:pt x="7" y="0"/>
                    <a:pt x="9" y="0"/>
                    <a:pt x="15" y="2"/>
                  </a:cubicBezTo>
                  <a:cubicBezTo>
                    <a:pt x="21" y="2"/>
                    <a:pt x="23" y="0"/>
                    <a:pt x="26" y="2"/>
                  </a:cubicBezTo>
                  <a:cubicBezTo>
                    <a:pt x="30" y="3"/>
                    <a:pt x="30" y="0"/>
                    <a:pt x="32" y="0"/>
                  </a:cubicBezTo>
                  <a:cubicBezTo>
                    <a:pt x="33" y="2"/>
                    <a:pt x="30" y="3"/>
                    <a:pt x="35" y="3"/>
                  </a:cubicBezTo>
                  <a:cubicBezTo>
                    <a:pt x="39" y="3"/>
                    <a:pt x="41" y="8"/>
                    <a:pt x="46" y="10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44" name="Freeform 165">
              <a:extLst>
                <a:ext uri="{FF2B5EF4-FFF2-40B4-BE49-F238E27FC236}">
                  <a16:creationId xmlns:a16="http://schemas.microsoft.com/office/drawing/2014/main" id="{6EF7C0DC-B4D4-71C5-B8FA-50B352671E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98163" y="2886955"/>
              <a:ext cx="252265" cy="196024"/>
            </a:xfrm>
            <a:custGeom>
              <a:avLst/>
              <a:gdLst/>
              <a:ahLst/>
              <a:cxnLst>
                <a:cxn ang="0">
                  <a:pos x="70" y="50"/>
                </a:cxn>
                <a:cxn ang="0">
                  <a:pos x="63" y="58"/>
                </a:cxn>
                <a:cxn ang="0">
                  <a:pos x="60" y="60"/>
                </a:cxn>
                <a:cxn ang="0">
                  <a:pos x="54" y="60"/>
                </a:cxn>
                <a:cxn ang="0">
                  <a:pos x="47" y="58"/>
                </a:cxn>
                <a:cxn ang="0">
                  <a:pos x="40" y="57"/>
                </a:cxn>
                <a:cxn ang="0">
                  <a:pos x="32" y="55"/>
                </a:cxn>
                <a:cxn ang="0">
                  <a:pos x="17" y="54"/>
                </a:cxn>
                <a:cxn ang="0">
                  <a:pos x="9" y="57"/>
                </a:cxn>
                <a:cxn ang="0">
                  <a:pos x="6" y="58"/>
                </a:cxn>
                <a:cxn ang="0">
                  <a:pos x="3" y="50"/>
                </a:cxn>
                <a:cxn ang="0">
                  <a:pos x="8" y="46"/>
                </a:cxn>
                <a:cxn ang="0">
                  <a:pos x="6" y="29"/>
                </a:cxn>
                <a:cxn ang="0">
                  <a:pos x="17" y="27"/>
                </a:cxn>
                <a:cxn ang="0">
                  <a:pos x="23" y="25"/>
                </a:cxn>
                <a:cxn ang="0">
                  <a:pos x="23" y="19"/>
                </a:cxn>
                <a:cxn ang="0">
                  <a:pos x="31" y="13"/>
                </a:cxn>
                <a:cxn ang="0">
                  <a:pos x="31" y="7"/>
                </a:cxn>
                <a:cxn ang="0">
                  <a:pos x="38" y="5"/>
                </a:cxn>
                <a:cxn ang="0">
                  <a:pos x="43" y="2"/>
                </a:cxn>
                <a:cxn ang="0">
                  <a:pos x="49" y="3"/>
                </a:cxn>
                <a:cxn ang="0">
                  <a:pos x="55" y="7"/>
                </a:cxn>
                <a:cxn ang="0">
                  <a:pos x="61" y="7"/>
                </a:cxn>
                <a:cxn ang="0">
                  <a:pos x="64" y="10"/>
                </a:cxn>
                <a:cxn ang="0">
                  <a:pos x="64" y="16"/>
                </a:cxn>
                <a:cxn ang="0">
                  <a:pos x="66" y="22"/>
                </a:cxn>
                <a:cxn ang="0">
                  <a:pos x="72" y="29"/>
                </a:cxn>
                <a:cxn ang="0">
                  <a:pos x="76" y="33"/>
                </a:cxn>
                <a:cxn ang="0">
                  <a:pos x="78" y="36"/>
                </a:cxn>
                <a:cxn ang="0">
                  <a:pos x="70" y="38"/>
                </a:cxn>
                <a:cxn ang="0">
                  <a:pos x="69" y="41"/>
                </a:cxn>
                <a:cxn ang="0">
                  <a:pos x="70" y="50"/>
                </a:cxn>
              </a:cxnLst>
              <a:rect l="0" t="0" r="r" b="b"/>
              <a:pathLst>
                <a:path w="81" h="63">
                  <a:moveTo>
                    <a:pt x="70" y="50"/>
                  </a:moveTo>
                  <a:cubicBezTo>
                    <a:pt x="64" y="50"/>
                    <a:pt x="63" y="54"/>
                    <a:pt x="63" y="58"/>
                  </a:cubicBezTo>
                  <a:cubicBezTo>
                    <a:pt x="63" y="63"/>
                    <a:pt x="61" y="63"/>
                    <a:pt x="60" y="60"/>
                  </a:cubicBezTo>
                  <a:cubicBezTo>
                    <a:pt x="58" y="60"/>
                    <a:pt x="55" y="60"/>
                    <a:pt x="54" y="60"/>
                  </a:cubicBezTo>
                  <a:cubicBezTo>
                    <a:pt x="50" y="61"/>
                    <a:pt x="52" y="55"/>
                    <a:pt x="47" y="58"/>
                  </a:cubicBezTo>
                  <a:cubicBezTo>
                    <a:pt x="44" y="61"/>
                    <a:pt x="49" y="57"/>
                    <a:pt x="40" y="57"/>
                  </a:cubicBezTo>
                  <a:cubicBezTo>
                    <a:pt x="34" y="57"/>
                    <a:pt x="37" y="55"/>
                    <a:pt x="32" y="55"/>
                  </a:cubicBezTo>
                  <a:cubicBezTo>
                    <a:pt x="29" y="57"/>
                    <a:pt x="28" y="52"/>
                    <a:pt x="17" y="54"/>
                  </a:cubicBezTo>
                  <a:cubicBezTo>
                    <a:pt x="8" y="55"/>
                    <a:pt x="12" y="58"/>
                    <a:pt x="9" y="57"/>
                  </a:cubicBezTo>
                  <a:cubicBezTo>
                    <a:pt x="8" y="57"/>
                    <a:pt x="6" y="58"/>
                    <a:pt x="6" y="58"/>
                  </a:cubicBezTo>
                  <a:cubicBezTo>
                    <a:pt x="5" y="55"/>
                    <a:pt x="9" y="52"/>
                    <a:pt x="3" y="50"/>
                  </a:cubicBezTo>
                  <a:cubicBezTo>
                    <a:pt x="0" y="49"/>
                    <a:pt x="5" y="46"/>
                    <a:pt x="8" y="46"/>
                  </a:cubicBezTo>
                  <a:cubicBezTo>
                    <a:pt x="11" y="44"/>
                    <a:pt x="8" y="38"/>
                    <a:pt x="6" y="29"/>
                  </a:cubicBezTo>
                  <a:cubicBezTo>
                    <a:pt x="11" y="27"/>
                    <a:pt x="12" y="32"/>
                    <a:pt x="17" y="27"/>
                  </a:cubicBezTo>
                  <a:cubicBezTo>
                    <a:pt x="23" y="21"/>
                    <a:pt x="21" y="29"/>
                    <a:pt x="23" y="25"/>
                  </a:cubicBezTo>
                  <a:cubicBezTo>
                    <a:pt x="26" y="24"/>
                    <a:pt x="20" y="24"/>
                    <a:pt x="23" y="19"/>
                  </a:cubicBezTo>
                  <a:cubicBezTo>
                    <a:pt x="28" y="13"/>
                    <a:pt x="29" y="16"/>
                    <a:pt x="31" y="13"/>
                  </a:cubicBezTo>
                  <a:cubicBezTo>
                    <a:pt x="32" y="10"/>
                    <a:pt x="28" y="14"/>
                    <a:pt x="31" y="7"/>
                  </a:cubicBezTo>
                  <a:cubicBezTo>
                    <a:pt x="35" y="3"/>
                    <a:pt x="37" y="7"/>
                    <a:pt x="38" y="5"/>
                  </a:cubicBezTo>
                  <a:cubicBezTo>
                    <a:pt x="40" y="2"/>
                    <a:pt x="40" y="2"/>
                    <a:pt x="43" y="2"/>
                  </a:cubicBezTo>
                  <a:cubicBezTo>
                    <a:pt x="47" y="0"/>
                    <a:pt x="44" y="3"/>
                    <a:pt x="49" y="3"/>
                  </a:cubicBezTo>
                  <a:cubicBezTo>
                    <a:pt x="55" y="2"/>
                    <a:pt x="50" y="8"/>
                    <a:pt x="55" y="7"/>
                  </a:cubicBezTo>
                  <a:cubicBezTo>
                    <a:pt x="58" y="3"/>
                    <a:pt x="61" y="5"/>
                    <a:pt x="61" y="7"/>
                  </a:cubicBezTo>
                  <a:cubicBezTo>
                    <a:pt x="63" y="8"/>
                    <a:pt x="66" y="7"/>
                    <a:pt x="64" y="10"/>
                  </a:cubicBezTo>
                  <a:cubicBezTo>
                    <a:pt x="63" y="14"/>
                    <a:pt x="67" y="14"/>
                    <a:pt x="64" y="16"/>
                  </a:cubicBezTo>
                  <a:cubicBezTo>
                    <a:pt x="61" y="19"/>
                    <a:pt x="66" y="18"/>
                    <a:pt x="66" y="22"/>
                  </a:cubicBezTo>
                  <a:cubicBezTo>
                    <a:pt x="67" y="29"/>
                    <a:pt x="73" y="27"/>
                    <a:pt x="72" y="29"/>
                  </a:cubicBezTo>
                  <a:cubicBezTo>
                    <a:pt x="69" y="33"/>
                    <a:pt x="76" y="29"/>
                    <a:pt x="76" y="33"/>
                  </a:cubicBezTo>
                  <a:cubicBezTo>
                    <a:pt x="76" y="35"/>
                    <a:pt x="81" y="35"/>
                    <a:pt x="78" y="36"/>
                  </a:cubicBezTo>
                  <a:cubicBezTo>
                    <a:pt x="75" y="38"/>
                    <a:pt x="75" y="41"/>
                    <a:pt x="70" y="38"/>
                  </a:cubicBezTo>
                  <a:cubicBezTo>
                    <a:pt x="69" y="36"/>
                    <a:pt x="67" y="39"/>
                    <a:pt x="69" y="41"/>
                  </a:cubicBezTo>
                  <a:cubicBezTo>
                    <a:pt x="72" y="46"/>
                    <a:pt x="67" y="46"/>
                    <a:pt x="70" y="50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45" name="Freeform 166">
              <a:extLst>
                <a:ext uri="{FF2B5EF4-FFF2-40B4-BE49-F238E27FC236}">
                  <a16:creationId xmlns:a16="http://schemas.microsoft.com/office/drawing/2014/main" id="{5F9DA813-210F-7C63-97C7-15B1B18E75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76427" y="2941585"/>
              <a:ext cx="265119" cy="221731"/>
            </a:xfrm>
            <a:custGeom>
              <a:avLst/>
              <a:gdLst/>
              <a:ahLst/>
              <a:cxnLst>
                <a:cxn ang="0">
                  <a:pos x="77" y="40"/>
                </a:cxn>
                <a:cxn ang="0">
                  <a:pos x="79" y="47"/>
                </a:cxn>
                <a:cxn ang="0">
                  <a:pos x="80" y="50"/>
                </a:cxn>
                <a:cxn ang="0">
                  <a:pos x="79" y="54"/>
                </a:cxn>
                <a:cxn ang="0">
                  <a:pos x="71" y="62"/>
                </a:cxn>
                <a:cxn ang="0">
                  <a:pos x="71" y="68"/>
                </a:cxn>
                <a:cxn ang="0">
                  <a:pos x="68" y="70"/>
                </a:cxn>
                <a:cxn ang="0">
                  <a:pos x="63" y="67"/>
                </a:cxn>
                <a:cxn ang="0">
                  <a:pos x="53" y="65"/>
                </a:cxn>
                <a:cxn ang="0">
                  <a:pos x="48" y="68"/>
                </a:cxn>
                <a:cxn ang="0">
                  <a:pos x="47" y="67"/>
                </a:cxn>
                <a:cxn ang="0">
                  <a:pos x="42" y="65"/>
                </a:cxn>
                <a:cxn ang="0">
                  <a:pos x="41" y="65"/>
                </a:cxn>
                <a:cxn ang="0">
                  <a:pos x="39" y="65"/>
                </a:cxn>
                <a:cxn ang="0">
                  <a:pos x="35" y="59"/>
                </a:cxn>
                <a:cxn ang="0">
                  <a:pos x="30" y="57"/>
                </a:cxn>
                <a:cxn ang="0">
                  <a:pos x="28" y="56"/>
                </a:cxn>
                <a:cxn ang="0">
                  <a:pos x="24" y="54"/>
                </a:cxn>
                <a:cxn ang="0">
                  <a:pos x="21" y="56"/>
                </a:cxn>
                <a:cxn ang="0">
                  <a:pos x="21" y="51"/>
                </a:cxn>
                <a:cxn ang="0">
                  <a:pos x="15" y="50"/>
                </a:cxn>
                <a:cxn ang="0">
                  <a:pos x="9" y="48"/>
                </a:cxn>
                <a:cxn ang="0">
                  <a:pos x="6" y="39"/>
                </a:cxn>
                <a:cxn ang="0">
                  <a:pos x="6" y="31"/>
                </a:cxn>
                <a:cxn ang="0">
                  <a:pos x="4" y="26"/>
                </a:cxn>
                <a:cxn ang="0">
                  <a:pos x="3" y="14"/>
                </a:cxn>
                <a:cxn ang="0">
                  <a:pos x="6" y="14"/>
                </a:cxn>
                <a:cxn ang="0">
                  <a:pos x="6" y="12"/>
                </a:cxn>
                <a:cxn ang="0">
                  <a:pos x="3" y="12"/>
                </a:cxn>
                <a:cxn ang="0">
                  <a:pos x="3" y="11"/>
                </a:cxn>
                <a:cxn ang="0">
                  <a:pos x="15" y="8"/>
                </a:cxn>
                <a:cxn ang="0">
                  <a:pos x="22" y="3"/>
                </a:cxn>
                <a:cxn ang="0">
                  <a:pos x="30" y="0"/>
                </a:cxn>
                <a:cxn ang="0">
                  <a:pos x="39" y="3"/>
                </a:cxn>
                <a:cxn ang="0">
                  <a:pos x="38" y="3"/>
                </a:cxn>
                <a:cxn ang="0">
                  <a:pos x="38" y="5"/>
                </a:cxn>
                <a:cxn ang="0">
                  <a:pos x="45" y="5"/>
                </a:cxn>
                <a:cxn ang="0">
                  <a:pos x="71" y="6"/>
                </a:cxn>
                <a:cxn ang="0">
                  <a:pos x="77" y="11"/>
                </a:cxn>
                <a:cxn ang="0">
                  <a:pos x="79" y="28"/>
                </a:cxn>
                <a:cxn ang="0">
                  <a:pos x="74" y="33"/>
                </a:cxn>
                <a:cxn ang="0">
                  <a:pos x="77" y="40"/>
                </a:cxn>
              </a:cxnLst>
              <a:rect l="0" t="0" r="r" b="b"/>
              <a:pathLst>
                <a:path w="85" h="71">
                  <a:moveTo>
                    <a:pt x="77" y="40"/>
                  </a:moveTo>
                  <a:cubicBezTo>
                    <a:pt x="79" y="43"/>
                    <a:pt x="76" y="42"/>
                    <a:pt x="79" y="47"/>
                  </a:cubicBezTo>
                  <a:cubicBezTo>
                    <a:pt x="85" y="51"/>
                    <a:pt x="79" y="48"/>
                    <a:pt x="80" y="50"/>
                  </a:cubicBezTo>
                  <a:cubicBezTo>
                    <a:pt x="82" y="51"/>
                    <a:pt x="83" y="53"/>
                    <a:pt x="79" y="54"/>
                  </a:cubicBezTo>
                  <a:cubicBezTo>
                    <a:pt x="77" y="54"/>
                    <a:pt x="72" y="59"/>
                    <a:pt x="71" y="62"/>
                  </a:cubicBezTo>
                  <a:cubicBezTo>
                    <a:pt x="68" y="65"/>
                    <a:pt x="71" y="67"/>
                    <a:pt x="71" y="68"/>
                  </a:cubicBezTo>
                  <a:cubicBezTo>
                    <a:pt x="69" y="70"/>
                    <a:pt x="74" y="71"/>
                    <a:pt x="68" y="70"/>
                  </a:cubicBezTo>
                  <a:cubicBezTo>
                    <a:pt x="63" y="68"/>
                    <a:pt x="65" y="67"/>
                    <a:pt x="63" y="67"/>
                  </a:cubicBezTo>
                  <a:cubicBezTo>
                    <a:pt x="59" y="65"/>
                    <a:pt x="54" y="65"/>
                    <a:pt x="53" y="65"/>
                  </a:cubicBezTo>
                  <a:cubicBezTo>
                    <a:pt x="50" y="65"/>
                    <a:pt x="50" y="70"/>
                    <a:pt x="48" y="68"/>
                  </a:cubicBezTo>
                  <a:cubicBezTo>
                    <a:pt x="48" y="68"/>
                    <a:pt x="47" y="68"/>
                    <a:pt x="47" y="67"/>
                  </a:cubicBezTo>
                  <a:cubicBezTo>
                    <a:pt x="48" y="64"/>
                    <a:pt x="44" y="62"/>
                    <a:pt x="42" y="65"/>
                  </a:cubicBezTo>
                  <a:cubicBezTo>
                    <a:pt x="42" y="67"/>
                    <a:pt x="41" y="67"/>
                    <a:pt x="41" y="65"/>
                  </a:cubicBezTo>
                  <a:cubicBezTo>
                    <a:pt x="41" y="65"/>
                    <a:pt x="41" y="65"/>
                    <a:pt x="39" y="65"/>
                  </a:cubicBezTo>
                  <a:cubicBezTo>
                    <a:pt x="39" y="62"/>
                    <a:pt x="38" y="61"/>
                    <a:pt x="35" y="59"/>
                  </a:cubicBezTo>
                  <a:cubicBezTo>
                    <a:pt x="32" y="57"/>
                    <a:pt x="33" y="59"/>
                    <a:pt x="30" y="57"/>
                  </a:cubicBezTo>
                  <a:cubicBezTo>
                    <a:pt x="28" y="56"/>
                    <a:pt x="32" y="56"/>
                    <a:pt x="28" y="56"/>
                  </a:cubicBezTo>
                  <a:cubicBezTo>
                    <a:pt x="25" y="54"/>
                    <a:pt x="22" y="53"/>
                    <a:pt x="24" y="54"/>
                  </a:cubicBezTo>
                  <a:cubicBezTo>
                    <a:pt x="25" y="56"/>
                    <a:pt x="24" y="59"/>
                    <a:pt x="21" y="56"/>
                  </a:cubicBezTo>
                  <a:cubicBezTo>
                    <a:pt x="16" y="51"/>
                    <a:pt x="21" y="53"/>
                    <a:pt x="21" y="51"/>
                  </a:cubicBezTo>
                  <a:cubicBezTo>
                    <a:pt x="19" y="50"/>
                    <a:pt x="19" y="51"/>
                    <a:pt x="15" y="50"/>
                  </a:cubicBezTo>
                  <a:cubicBezTo>
                    <a:pt x="9" y="47"/>
                    <a:pt x="12" y="45"/>
                    <a:pt x="9" y="48"/>
                  </a:cubicBezTo>
                  <a:cubicBezTo>
                    <a:pt x="10" y="39"/>
                    <a:pt x="7" y="43"/>
                    <a:pt x="6" y="39"/>
                  </a:cubicBezTo>
                  <a:cubicBezTo>
                    <a:pt x="6" y="36"/>
                    <a:pt x="9" y="36"/>
                    <a:pt x="6" y="31"/>
                  </a:cubicBezTo>
                  <a:cubicBezTo>
                    <a:pt x="4" y="29"/>
                    <a:pt x="9" y="29"/>
                    <a:pt x="4" y="26"/>
                  </a:cubicBezTo>
                  <a:cubicBezTo>
                    <a:pt x="0" y="23"/>
                    <a:pt x="6" y="22"/>
                    <a:pt x="3" y="14"/>
                  </a:cubicBezTo>
                  <a:cubicBezTo>
                    <a:pt x="6" y="14"/>
                    <a:pt x="6" y="15"/>
                    <a:pt x="6" y="14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4" y="12"/>
                    <a:pt x="4" y="14"/>
                    <a:pt x="3" y="12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7" y="12"/>
                    <a:pt x="7" y="9"/>
                    <a:pt x="15" y="8"/>
                  </a:cubicBezTo>
                  <a:cubicBezTo>
                    <a:pt x="22" y="6"/>
                    <a:pt x="18" y="5"/>
                    <a:pt x="22" y="3"/>
                  </a:cubicBezTo>
                  <a:cubicBezTo>
                    <a:pt x="28" y="1"/>
                    <a:pt x="22" y="1"/>
                    <a:pt x="30" y="0"/>
                  </a:cubicBezTo>
                  <a:cubicBezTo>
                    <a:pt x="36" y="0"/>
                    <a:pt x="35" y="0"/>
                    <a:pt x="39" y="3"/>
                  </a:cubicBezTo>
                  <a:cubicBezTo>
                    <a:pt x="41" y="3"/>
                    <a:pt x="39" y="5"/>
                    <a:pt x="38" y="3"/>
                  </a:cubicBezTo>
                  <a:cubicBezTo>
                    <a:pt x="36" y="0"/>
                    <a:pt x="36" y="1"/>
                    <a:pt x="38" y="5"/>
                  </a:cubicBezTo>
                  <a:cubicBezTo>
                    <a:pt x="38" y="6"/>
                    <a:pt x="44" y="6"/>
                    <a:pt x="45" y="5"/>
                  </a:cubicBezTo>
                  <a:cubicBezTo>
                    <a:pt x="56" y="6"/>
                    <a:pt x="65" y="8"/>
                    <a:pt x="71" y="6"/>
                  </a:cubicBezTo>
                  <a:cubicBezTo>
                    <a:pt x="72" y="5"/>
                    <a:pt x="77" y="8"/>
                    <a:pt x="77" y="11"/>
                  </a:cubicBezTo>
                  <a:cubicBezTo>
                    <a:pt x="79" y="20"/>
                    <a:pt x="82" y="26"/>
                    <a:pt x="79" y="28"/>
                  </a:cubicBezTo>
                  <a:cubicBezTo>
                    <a:pt x="76" y="28"/>
                    <a:pt x="71" y="31"/>
                    <a:pt x="74" y="33"/>
                  </a:cubicBezTo>
                  <a:cubicBezTo>
                    <a:pt x="80" y="34"/>
                    <a:pt x="76" y="37"/>
                    <a:pt x="77" y="40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46" name="Freeform 167">
              <a:extLst>
                <a:ext uri="{FF2B5EF4-FFF2-40B4-BE49-F238E27FC236}">
                  <a16:creationId xmlns:a16="http://schemas.microsoft.com/office/drawing/2014/main" id="{CE7B4047-088C-ABF0-5106-AC9D7877AE0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08854" y="3086192"/>
              <a:ext cx="332604" cy="314923"/>
            </a:xfrm>
            <a:custGeom>
              <a:avLst/>
              <a:gdLst/>
              <a:ahLst/>
              <a:cxnLst>
                <a:cxn ang="0">
                  <a:pos x="96" y="67"/>
                </a:cxn>
                <a:cxn ang="0">
                  <a:pos x="95" y="78"/>
                </a:cxn>
                <a:cxn ang="0">
                  <a:pos x="99" y="86"/>
                </a:cxn>
                <a:cxn ang="0">
                  <a:pos x="85" y="92"/>
                </a:cxn>
                <a:cxn ang="0">
                  <a:pos x="78" y="89"/>
                </a:cxn>
                <a:cxn ang="0">
                  <a:pos x="69" y="89"/>
                </a:cxn>
                <a:cxn ang="0">
                  <a:pos x="64" y="100"/>
                </a:cxn>
                <a:cxn ang="0">
                  <a:pos x="54" y="100"/>
                </a:cxn>
                <a:cxn ang="0">
                  <a:pos x="44" y="97"/>
                </a:cxn>
                <a:cxn ang="0">
                  <a:pos x="35" y="95"/>
                </a:cxn>
                <a:cxn ang="0">
                  <a:pos x="26" y="89"/>
                </a:cxn>
                <a:cxn ang="0">
                  <a:pos x="31" y="75"/>
                </a:cxn>
                <a:cxn ang="0">
                  <a:pos x="31" y="70"/>
                </a:cxn>
                <a:cxn ang="0">
                  <a:pos x="35" y="69"/>
                </a:cxn>
                <a:cxn ang="0">
                  <a:pos x="31" y="61"/>
                </a:cxn>
                <a:cxn ang="0">
                  <a:pos x="28" y="55"/>
                </a:cxn>
                <a:cxn ang="0">
                  <a:pos x="23" y="47"/>
                </a:cxn>
                <a:cxn ang="0">
                  <a:pos x="20" y="42"/>
                </a:cxn>
                <a:cxn ang="0">
                  <a:pos x="17" y="41"/>
                </a:cxn>
                <a:cxn ang="0">
                  <a:pos x="6" y="38"/>
                </a:cxn>
                <a:cxn ang="0">
                  <a:pos x="6" y="35"/>
                </a:cxn>
                <a:cxn ang="0">
                  <a:pos x="5" y="32"/>
                </a:cxn>
                <a:cxn ang="0">
                  <a:pos x="6" y="28"/>
                </a:cxn>
                <a:cxn ang="0">
                  <a:pos x="12" y="27"/>
                </a:cxn>
                <a:cxn ang="0">
                  <a:pos x="19" y="30"/>
                </a:cxn>
                <a:cxn ang="0">
                  <a:pos x="23" y="28"/>
                </a:cxn>
                <a:cxn ang="0">
                  <a:pos x="28" y="30"/>
                </a:cxn>
                <a:cxn ang="0">
                  <a:pos x="26" y="21"/>
                </a:cxn>
                <a:cxn ang="0">
                  <a:pos x="29" y="16"/>
                </a:cxn>
                <a:cxn ang="0">
                  <a:pos x="40" y="21"/>
                </a:cxn>
                <a:cxn ang="0">
                  <a:pos x="44" y="14"/>
                </a:cxn>
                <a:cxn ang="0">
                  <a:pos x="52" y="10"/>
                </a:cxn>
                <a:cxn ang="0">
                  <a:pos x="52" y="4"/>
                </a:cxn>
                <a:cxn ang="0">
                  <a:pos x="66" y="5"/>
                </a:cxn>
                <a:cxn ang="0">
                  <a:pos x="73" y="11"/>
                </a:cxn>
                <a:cxn ang="0">
                  <a:pos x="81" y="16"/>
                </a:cxn>
                <a:cxn ang="0">
                  <a:pos x="90" y="19"/>
                </a:cxn>
                <a:cxn ang="0">
                  <a:pos x="98" y="24"/>
                </a:cxn>
                <a:cxn ang="0">
                  <a:pos x="99" y="41"/>
                </a:cxn>
                <a:cxn ang="0">
                  <a:pos x="95" y="45"/>
                </a:cxn>
                <a:cxn ang="0">
                  <a:pos x="90" y="52"/>
                </a:cxn>
                <a:cxn ang="0">
                  <a:pos x="88" y="58"/>
                </a:cxn>
                <a:cxn ang="0">
                  <a:pos x="93" y="58"/>
                </a:cxn>
              </a:cxnLst>
              <a:rect l="0" t="0" r="r" b="b"/>
              <a:pathLst>
                <a:path w="107" h="101">
                  <a:moveTo>
                    <a:pt x="95" y="61"/>
                  </a:moveTo>
                  <a:cubicBezTo>
                    <a:pt x="93" y="64"/>
                    <a:pt x="98" y="66"/>
                    <a:pt x="96" y="67"/>
                  </a:cubicBezTo>
                  <a:cubicBezTo>
                    <a:pt x="95" y="70"/>
                    <a:pt x="90" y="69"/>
                    <a:pt x="95" y="72"/>
                  </a:cubicBezTo>
                  <a:cubicBezTo>
                    <a:pt x="99" y="75"/>
                    <a:pt x="93" y="75"/>
                    <a:pt x="95" y="78"/>
                  </a:cubicBezTo>
                  <a:cubicBezTo>
                    <a:pt x="96" y="83"/>
                    <a:pt x="101" y="80"/>
                    <a:pt x="101" y="80"/>
                  </a:cubicBezTo>
                  <a:cubicBezTo>
                    <a:pt x="102" y="81"/>
                    <a:pt x="99" y="84"/>
                    <a:pt x="99" y="86"/>
                  </a:cubicBezTo>
                  <a:cubicBezTo>
                    <a:pt x="98" y="86"/>
                    <a:pt x="93" y="89"/>
                    <a:pt x="93" y="89"/>
                  </a:cubicBezTo>
                  <a:cubicBezTo>
                    <a:pt x="93" y="92"/>
                    <a:pt x="87" y="94"/>
                    <a:pt x="85" y="92"/>
                  </a:cubicBezTo>
                  <a:cubicBezTo>
                    <a:pt x="84" y="91"/>
                    <a:pt x="84" y="94"/>
                    <a:pt x="82" y="91"/>
                  </a:cubicBezTo>
                  <a:cubicBezTo>
                    <a:pt x="81" y="89"/>
                    <a:pt x="81" y="89"/>
                    <a:pt x="78" y="89"/>
                  </a:cubicBezTo>
                  <a:cubicBezTo>
                    <a:pt x="75" y="91"/>
                    <a:pt x="78" y="89"/>
                    <a:pt x="75" y="89"/>
                  </a:cubicBezTo>
                  <a:cubicBezTo>
                    <a:pt x="72" y="89"/>
                    <a:pt x="75" y="84"/>
                    <a:pt x="69" y="89"/>
                  </a:cubicBezTo>
                  <a:cubicBezTo>
                    <a:pt x="67" y="91"/>
                    <a:pt x="64" y="91"/>
                    <a:pt x="64" y="94"/>
                  </a:cubicBezTo>
                  <a:cubicBezTo>
                    <a:pt x="66" y="97"/>
                    <a:pt x="64" y="95"/>
                    <a:pt x="64" y="100"/>
                  </a:cubicBezTo>
                  <a:cubicBezTo>
                    <a:pt x="61" y="100"/>
                    <a:pt x="63" y="101"/>
                    <a:pt x="60" y="100"/>
                  </a:cubicBezTo>
                  <a:cubicBezTo>
                    <a:pt x="58" y="100"/>
                    <a:pt x="58" y="101"/>
                    <a:pt x="54" y="100"/>
                  </a:cubicBezTo>
                  <a:cubicBezTo>
                    <a:pt x="54" y="98"/>
                    <a:pt x="54" y="97"/>
                    <a:pt x="52" y="98"/>
                  </a:cubicBezTo>
                  <a:cubicBezTo>
                    <a:pt x="43" y="92"/>
                    <a:pt x="47" y="97"/>
                    <a:pt x="44" y="97"/>
                  </a:cubicBezTo>
                  <a:cubicBezTo>
                    <a:pt x="41" y="95"/>
                    <a:pt x="41" y="98"/>
                    <a:pt x="40" y="97"/>
                  </a:cubicBezTo>
                  <a:cubicBezTo>
                    <a:pt x="38" y="95"/>
                    <a:pt x="35" y="97"/>
                    <a:pt x="35" y="95"/>
                  </a:cubicBezTo>
                  <a:cubicBezTo>
                    <a:pt x="34" y="92"/>
                    <a:pt x="29" y="94"/>
                    <a:pt x="29" y="92"/>
                  </a:cubicBezTo>
                  <a:cubicBezTo>
                    <a:pt x="29" y="89"/>
                    <a:pt x="28" y="91"/>
                    <a:pt x="26" y="89"/>
                  </a:cubicBezTo>
                  <a:cubicBezTo>
                    <a:pt x="28" y="89"/>
                    <a:pt x="29" y="87"/>
                    <a:pt x="29" y="81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32" y="75"/>
                    <a:pt x="31" y="73"/>
                    <a:pt x="31" y="73"/>
                  </a:cubicBezTo>
                  <a:cubicBezTo>
                    <a:pt x="29" y="75"/>
                    <a:pt x="29" y="73"/>
                    <a:pt x="31" y="70"/>
                  </a:cubicBezTo>
                  <a:cubicBezTo>
                    <a:pt x="31" y="67"/>
                    <a:pt x="32" y="66"/>
                    <a:pt x="32" y="66"/>
                  </a:cubicBezTo>
                  <a:cubicBezTo>
                    <a:pt x="34" y="66"/>
                    <a:pt x="35" y="72"/>
                    <a:pt x="35" y="69"/>
                  </a:cubicBezTo>
                  <a:cubicBezTo>
                    <a:pt x="34" y="67"/>
                    <a:pt x="35" y="66"/>
                    <a:pt x="31" y="64"/>
                  </a:cubicBezTo>
                  <a:cubicBezTo>
                    <a:pt x="28" y="61"/>
                    <a:pt x="31" y="63"/>
                    <a:pt x="31" y="61"/>
                  </a:cubicBezTo>
                  <a:cubicBezTo>
                    <a:pt x="32" y="58"/>
                    <a:pt x="29" y="58"/>
                    <a:pt x="31" y="56"/>
                  </a:cubicBezTo>
                  <a:cubicBezTo>
                    <a:pt x="31" y="55"/>
                    <a:pt x="31" y="56"/>
                    <a:pt x="28" y="55"/>
                  </a:cubicBezTo>
                  <a:cubicBezTo>
                    <a:pt x="25" y="53"/>
                    <a:pt x="22" y="50"/>
                    <a:pt x="23" y="49"/>
                  </a:cubicBezTo>
                  <a:cubicBezTo>
                    <a:pt x="25" y="49"/>
                    <a:pt x="25" y="47"/>
                    <a:pt x="23" y="47"/>
                  </a:cubicBezTo>
                  <a:cubicBezTo>
                    <a:pt x="22" y="47"/>
                    <a:pt x="25" y="44"/>
                    <a:pt x="22" y="45"/>
                  </a:cubicBezTo>
                  <a:cubicBezTo>
                    <a:pt x="19" y="45"/>
                    <a:pt x="20" y="44"/>
                    <a:pt x="20" y="42"/>
                  </a:cubicBezTo>
                  <a:cubicBezTo>
                    <a:pt x="22" y="42"/>
                    <a:pt x="20" y="42"/>
                    <a:pt x="19" y="42"/>
                  </a:cubicBezTo>
                  <a:cubicBezTo>
                    <a:pt x="16" y="42"/>
                    <a:pt x="19" y="41"/>
                    <a:pt x="17" y="41"/>
                  </a:cubicBezTo>
                  <a:cubicBezTo>
                    <a:pt x="14" y="41"/>
                    <a:pt x="14" y="39"/>
                    <a:pt x="12" y="39"/>
                  </a:cubicBezTo>
                  <a:cubicBezTo>
                    <a:pt x="9" y="38"/>
                    <a:pt x="8" y="38"/>
                    <a:pt x="6" y="38"/>
                  </a:cubicBezTo>
                  <a:cubicBezTo>
                    <a:pt x="5" y="39"/>
                    <a:pt x="6" y="38"/>
                    <a:pt x="3" y="36"/>
                  </a:cubicBezTo>
                  <a:cubicBezTo>
                    <a:pt x="0" y="35"/>
                    <a:pt x="6" y="35"/>
                    <a:pt x="6" y="35"/>
                  </a:cubicBezTo>
                  <a:cubicBezTo>
                    <a:pt x="5" y="33"/>
                    <a:pt x="3" y="35"/>
                    <a:pt x="3" y="33"/>
                  </a:cubicBezTo>
                  <a:cubicBezTo>
                    <a:pt x="3" y="33"/>
                    <a:pt x="6" y="33"/>
                    <a:pt x="5" y="32"/>
                  </a:cubicBezTo>
                  <a:cubicBezTo>
                    <a:pt x="3" y="32"/>
                    <a:pt x="2" y="33"/>
                    <a:pt x="2" y="32"/>
                  </a:cubicBezTo>
                  <a:cubicBezTo>
                    <a:pt x="2" y="30"/>
                    <a:pt x="3" y="28"/>
                    <a:pt x="6" y="28"/>
                  </a:cubicBezTo>
                  <a:cubicBezTo>
                    <a:pt x="9" y="28"/>
                    <a:pt x="6" y="27"/>
                    <a:pt x="9" y="28"/>
                  </a:cubicBezTo>
                  <a:cubicBezTo>
                    <a:pt x="11" y="28"/>
                    <a:pt x="12" y="28"/>
                    <a:pt x="12" y="27"/>
                  </a:cubicBezTo>
                  <a:cubicBezTo>
                    <a:pt x="11" y="25"/>
                    <a:pt x="12" y="27"/>
                    <a:pt x="14" y="25"/>
                  </a:cubicBezTo>
                  <a:cubicBezTo>
                    <a:pt x="16" y="25"/>
                    <a:pt x="17" y="28"/>
                    <a:pt x="19" y="30"/>
                  </a:cubicBezTo>
                  <a:cubicBezTo>
                    <a:pt x="19" y="32"/>
                    <a:pt x="20" y="28"/>
                    <a:pt x="22" y="28"/>
                  </a:cubicBezTo>
                  <a:cubicBezTo>
                    <a:pt x="23" y="27"/>
                    <a:pt x="22" y="30"/>
                    <a:pt x="23" y="28"/>
                  </a:cubicBezTo>
                  <a:cubicBezTo>
                    <a:pt x="25" y="28"/>
                    <a:pt x="23" y="28"/>
                    <a:pt x="25" y="28"/>
                  </a:cubicBezTo>
                  <a:cubicBezTo>
                    <a:pt x="26" y="28"/>
                    <a:pt x="25" y="30"/>
                    <a:pt x="28" y="30"/>
                  </a:cubicBezTo>
                  <a:cubicBezTo>
                    <a:pt x="29" y="28"/>
                    <a:pt x="28" y="28"/>
                    <a:pt x="28" y="25"/>
                  </a:cubicBezTo>
                  <a:cubicBezTo>
                    <a:pt x="28" y="24"/>
                    <a:pt x="28" y="21"/>
                    <a:pt x="26" y="21"/>
                  </a:cubicBezTo>
                  <a:cubicBezTo>
                    <a:pt x="25" y="19"/>
                    <a:pt x="26" y="19"/>
                    <a:pt x="25" y="18"/>
                  </a:cubicBezTo>
                  <a:cubicBezTo>
                    <a:pt x="25" y="14"/>
                    <a:pt x="26" y="18"/>
                    <a:pt x="29" y="16"/>
                  </a:cubicBezTo>
                  <a:cubicBezTo>
                    <a:pt x="31" y="16"/>
                    <a:pt x="29" y="21"/>
                    <a:pt x="31" y="21"/>
                  </a:cubicBezTo>
                  <a:cubicBezTo>
                    <a:pt x="35" y="19"/>
                    <a:pt x="38" y="22"/>
                    <a:pt x="40" y="21"/>
                  </a:cubicBezTo>
                  <a:cubicBezTo>
                    <a:pt x="41" y="19"/>
                    <a:pt x="43" y="19"/>
                    <a:pt x="41" y="19"/>
                  </a:cubicBezTo>
                  <a:cubicBezTo>
                    <a:pt x="41" y="19"/>
                    <a:pt x="38" y="18"/>
                    <a:pt x="44" y="14"/>
                  </a:cubicBezTo>
                  <a:cubicBezTo>
                    <a:pt x="50" y="13"/>
                    <a:pt x="50" y="13"/>
                    <a:pt x="52" y="11"/>
                  </a:cubicBezTo>
                  <a:cubicBezTo>
                    <a:pt x="52" y="10"/>
                    <a:pt x="54" y="11"/>
                    <a:pt x="52" y="10"/>
                  </a:cubicBezTo>
                  <a:cubicBezTo>
                    <a:pt x="52" y="8"/>
                    <a:pt x="54" y="8"/>
                    <a:pt x="52" y="8"/>
                  </a:cubicBezTo>
                  <a:cubicBezTo>
                    <a:pt x="52" y="7"/>
                    <a:pt x="52" y="7"/>
                    <a:pt x="52" y="4"/>
                  </a:cubicBezTo>
                  <a:cubicBezTo>
                    <a:pt x="52" y="2"/>
                    <a:pt x="54" y="0"/>
                    <a:pt x="60" y="0"/>
                  </a:cubicBezTo>
                  <a:cubicBezTo>
                    <a:pt x="63" y="7"/>
                    <a:pt x="64" y="2"/>
                    <a:pt x="66" y="5"/>
                  </a:cubicBezTo>
                  <a:cubicBezTo>
                    <a:pt x="67" y="8"/>
                    <a:pt x="67" y="5"/>
                    <a:pt x="69" y="8"/>
                  </a:cubicBezTo>
                  <a:cubicBezTo>
                    <a:pt x="70" y="10"/>
                    <a:pt x="73" y="8"/>
                    <a:pt x="73" y="11"/>
                  </a:cubicBezTo>
                  <a:cubicBezTo>
                    <a:pt x="75" y="16"/>
                    <a:pt x="76" y="10"/>
                    <a:pt x="78" y="11"/>
                  </a:cubicBezTo>
                  <a:cubicBezTo>
                    <a:pt x="79" y="11"/>
                    <a:pt x="76" y="14"/>
                    <a:pt x="81" y="16"/>
                  </a:cubicBezTo>
                  <a:cubicBezTo>
                    <a:pt x="82" y="16"/>
                    <a:pt x="82" y="19"/>
                    <a:pt x="85" y="19"/>
                  </a:cubicBezTo>
                  <a:cubicBezTo>
                    <a:pt x="88" y="19"/>
                    <a:pt x="88" y="19"/>
                    <a:pt x="90" y="19"/>
                  </a:cubicBezTo>
                  <a:cubicBezTo>
                    <a:pt x="93" y="19"/>
                    <a:pt x="92" y="22"/>
                    <a:pt x="95" y="22"/>
                  </a:cubicBezTo>
                  <a:cubicBezTo>
                    <a:pt x="96" y="22"/>
                    <a:pt x="95" y="24"/>
                    <a:pt x="98" y="24"/>
                  </a:cubicBezTo>
                  <a:cubicBezTo>
                    <a:pt x="101" y="22"/>
                    <a:pt x="102" y="24"/>
                    <a:pt x="104" y="25"/>
                  </a:cubicBezTo>
                  <a:cubicBezTo>
                    <a:pt x="107" y="25"/>
                    <a:pt x="99" y="28"/>
                    <a:pt x="99" y="41"/>
                  </a:cubicBezTo>
                  <a:cubicBezTo>
                    <a:pt x="98" y="44"/>
                    <a:pt x="96" y="41"/>
                    <a:pt x="96" y="42"/>
                  </a:cubicBezTo>
                  <a:cubicBezTo>
                    <a:pt x="95" y="44"/>
                    <a:pt x="96" y="44"/>
                    <a:pt x="95" y="45"/>
                  </a:cubicBezTo>
                  <a:cubicBezTo>
                    <a:pt x="93" y="45"/>
                    <a:pt x="95" y="47"/>
                    <a:pt x="92" y="49"/>
                  </a:cubicBezTo>
                  <a:cubicBezTo>
                    <a:pt x="90" y="49"/>
                    <a:pt x="93" y="50"/>
                    <a:pt x="90" y="52"/>
                  </a:cubicBezTo>
                  <a:cubicBezTo>
                    <a:pt x="87" y="53"/>
                    <a:pt x="90" y="55"/>
                    <a:pt x="88" y="56"/>
                  </a:cubicBezTo>
                  <a:cubicBezTo>
                    <a:pt x="85" y="58"/>
                    <a:pt x="87" y="58"/>
                    <a:pt x="88" y="58"/>
                  </a:cubicBezTo>
                  <a:cubicBezTo>
                    <a:pt x="92" y="56"/>
                    <a:pt x="88" y="55"/>
                    <a:pt x="92" y="55"/>
                  </a:cubicBezTo>
                  <a:cubicBezTo>
                    <a:pt x="95" y="53"/>
                    <a:pt x="93" y="56"/>
                    <a:pt x="93" y="58"/>
                  </a:cubicBezTo>
                  <a:cubicBezTo>
                    <a:pt x="93" y="58"/>
                    <a:pt x="95" y="58"/>
                    <a:pt x="95" y="61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47" name="Freeform 168">
              <a:extLst>
                <a:ext uri="{FF2B5EF4-FFF2-40B4-BE49-F238E27FC236}">
                  <a16:creationId xmlns:a16="http://schemas.microsoft.com/office/drawing/2014/main" id="{CAA3F50C-CB51-D5F4-0CE2-1A24B32FF7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89952" y="3405935"/>
              <a:ext cx="99621" cy="184776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14" y="0"/>
                </a:cxn>
                <a:cxn ang="0">
                  <a:pos x="13" y="3"/>
                </a:cxn>
                <a:cxn ang="0">
                  <a:pos x="17" y="3"/>
                </a:cxn>
                <a:cxn ang="0">
                  <a:pos x="23" y="2"/>
                </a:cxn>
                <a:cxn ang="0">
                  <a:pos x="28" y="6"/>
                </a:cxn>
                <a:cxn ang="0">
                  <a:pos x="23" y="14"/>
                </a:cxn>
                <a:cxn ang="0">
                  <a:pos x="23" y="23"/>
                </a:cxn>
                <a:cxn ang="0">
                  <a:pos x="20" y="28"/>
                </a:cxn>
                <a:cxn ang="0">
                  <a:pos x="20" y="33"/>
                </a:cxn>
                <a:cxn ang="0">
                  <a:pos x="22" y="37"/>
                </a:cxn>
                <a:cxn ang="0">
                  <a:pos x="22" y="43"/>
                </a:cxn>
                <a:cxn ang="0">
                  <a:pos x="22" y="47"/>
                </a:cxn>
                <a:cxn ang="0">
                  <a:pos x="19" y="54"/>
                </a:cxn>
                <a:cxn ang="0">
                  <a:pos x="14" y="57"/>
                </a:cxn>
                <a:cxn ang="0">
                  <a:pos x="8" y="57"/>
                </a:cxn>
                <a:cxn ang="0">
                  <a:pos x="8" y="54"/>
                </a:cxn>
                <a:cxn ang="0">
                  <a:pos x="8" y="45"/>
                </a:cxn>
                <a:cxn ang="0">
                  <a:pos x="5" y="42"/>
                </a:cxn>
                <a:cxn ang="0">
                  <a:pos x="5" y="40"/>
                </a:cxn>
                <a:cxn ang="0">
                  <a:pos x="3" y="39"/>
                </a:cxn>
                <a:cxn ang="0">
                  <a:pos x="3" y="33"/>
                </a:cxn>
                <a:cxn ang="0">
                  <a:pos x="6" y="28"/>
                </a:cxn>
                <a:cxn ang="0">
                  <a:pos x="8" y="22"/>
                </a:cxn>
                <a:cxn ang="0">
                  <a:pos x="9" y="11"/>
                </a:cxn>
                <a:cxn ang="0">
                  <a:pos x="8" y="6"/>
                </a:cxn>
                <a:cxn ang="0">
                  <a:pos x="8" y="3"/>
                </a:cxn>
              </a:cxnLst>
              <a:rect l="0" t="0" r="r" b="b"/>
              <a:pathLst>
                <a:path w="32" h="59">
                  <a:moveTo>
                    <a:pt x="8" y="3"/>
                  </a:moveTo>
                  <a:cubicBezTo>
                    <a:pt x="13" y="0"/>
                    <a:pt x="13" y="0"/>
                    <a:pt x="14" y="0"/>
                  </a:cubicBezTo>
                  <a:cubicBezTo>
                    <a:pt x="16" y="2"/>
                    <a:pt x="11" y="3"/>
                    <a:pt x="13" y="3"/>
                  </a:cubicBezTo>
                  <a:cubicBezTo>
                    <a:pt x="14" y="5"/>
                    <a:pt x="14" y="2"/>
                    <a:pt x="17" y="3"/>
                  </a:cubicBezTo>
                  <a:cubicBezTo>
                    <a:pt x="22" y="5"/>
                    <a:pt x="19" y="2"/>
                    <a:pt x="23" y="2"/>
                  </a:cubicBezTo>
                  <a:cubicBezTo>
                    <a:pt x="28" y="3"/>
                    <a:pt x="25" y="5"/>
                    <a:pt x="28" y="6"/>
                  </a:cubicBezTo>
                  <a:cubicBezTo>
                    <a:pt x="32" y="6"/>
                    <a:pt x="23" y="12"/>
                    <a:pt x="23" y="14"/>
                  </a:cubicBezTo>
                  <a:cubicBezTo>
                    <a:pt x="25" y="22"/>
                    <a:pt x="22" y="22"/>
                    <a:pt x="23" y="23"/>
                  </a:cubicBezTo>
                  <a:cubicBezTo>
                    <a:pt x="23" y="26"/>
                    <a:pt x="23" y="28"/>
                    <a:pt x="20" y="28"/>
                  </a:cubicBezTo>
                  <a:cubicBezTo>
                    <a:pt x="17" y="28"/>
                    <a:pt x="20" y="28"/>
                    <a:pt x="20" y="33"/>
                  </a:cubicBezTo>
                  <a:cubicBezTo>
                    <a:pt x="22" y="36"/>
                    <a:pt x="25" y="33"/>
                    <a:pt x="22" y="37"/>
                  </a:cubicBezTo>
                  <a:cubicBezTo>
                    <a:pt x="19" y="42"/>
                    <a:pt x="20" y="43"/>
                    <a:pt x="22" y="43"/>
                  </a:cubicBezTo>
                  <a:cubicBezTo>
                    <a:pt x="23" y="43"/>
                    <a:pt x="25" y="43"/>
                    <a:pt x="22" y="47"/>
                  </a:cubicBezTo>
                  <a:cubicBezTo>
                    <a:pt x="19" y="48"/>
                    <a:pt x="19" y="53"/>
                    <a:pt x="19" y="54"/>
                  </a:cubicBezTo>
                  <a:cubicBezTo>
                    <a:pt x="16" y="56"/>
                    <a:pt x="17" y="59"/>
                    <a:pt x="14" y="57"/>
                  </a:cubicBezTo>
                  <a:cubicBezTo>
                    <a:pt x="9" y="56"/>
                    <a:pt x="8" y="56"/>
                    <a:pt x="8" y="57"/>
                  </a:cubicBezTo>
                  <a:cubicBezTo>
                    <a:pt x="6" y="57"/>
                    <a:pt x="6" y="57"/>
                    <a:pt x="8" y="54"/>
                  </a:cubicBezTo>
                  <a:cubicBezTo>
                    <a:pt x="9" y="47"/>
                    <a:pt x="6" y="48"/>
                    <a:pt x="8" y="45"/>
                  </a:cubicBezTo>
                  <a:cubicBezTo>
                    <a:pt x="9" y="40"/>
                    <a:pt x="6" y="40"/>
                    <a:pt x="5" y="42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5" y="39"/>
                    <a:pt x="6" y="39"/>
                    <a:pt x="3" y="39"/>
                  </a:cubicBezTo>
                  <a:cubicBezTo>
                    <a:pt x="0" y="39"/>
                    <a:pt x="5" y="34"/>
                    <a:pt x="3" y="33"/>
                  </a:cubicBezTo>
                  <a:cubicBezTo>
                    <a:pt x="3" y="29"/>
                    <a:pt x="5" y="33"/>
                    <a:pt x="6" y="28"/>
                  </a:cubicBezTo>
                  <a:cubicBezTo>
                    <a:pt x="8" y="23"/>
                    <a:pt x="8" y="23"/>
                    <a:pt x="8" y="22"/>
                  </a:cubicBezTo>
                  <a:cubicBezTo>
                    <a:pt x="8" y="20"/>
                    <a:pt x="11" y="14"/>
                    <a:pt x="9" y="11"/>
                  </a:cubicBezTo>
                  <a:cubicBezTo>
                    <a:pt x="8" y="9"/>
                    <a:pt x="8" y="8"/>
                    <a:pt x="8" y="6"/>
                  </a:cubicBezTo>
                  <a:cubicBezTo>
                    <a:pt x="8" y="5"/>
                    <a:pt x="6" y="5"/>
                    <a:pt x="8" y="3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48" name="Freeform 169">
              <a:extLst>
                <a:ext uri="{FF2B5EF4-FFF2-40B4-BE49-F238E27FC236}">
                  <a16:creationId xmlns:a16="http://schemas.microsoft.com/office/drawing/2014/main" id="{03B3527C-8227-F669-9B67-FAF4F7BE95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44671" y="3378621"/>
              <a:ext cx="25709" cy="56236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5" y="3"/>
                </a:cxn>
                <a:cxn ang="0">
                  <a:pos x="2" y="4"/>
                </a:cxn>
                <a:cxn ang="0">
                  <a:pos x="0" y="12"/>
                </a:cxn>
                <a:cxn ang="0">
                  <a:pos x="0" y="13"/>
                </a:cxn>
                <a:cxn ang="0">
                  <a:pos x="2" y="13"/>
                </a:cxn>
                <a:cxn ang="0">
                  <a:pos x="2" y="16"/>
                </a:cxn>
                <a:cxn ang="0">
                  <a:pos x="5" y="18"/>
                </a:cxn>
                <a:cxn ang="0">
                  <a:pos x="5" y="16"/>
                </a:cxn>
                <a:cxn ang="0">
                  <a:pos x="7" y="12"/>
                </a:cxn>
                <a:cxn ang="0">
                  <a:pos x="8" y="7"/>
                </a:cxn>
                <a:cxn ang="0">
                  <a:pos x="7" y="3"/>
                </a:cxn>
                <a:cxn ang="0">
                  <a:pos x="7" y="0"/>
                </a:cxn>
              </a:cxnLst>
              <a:rect l="0" t="0" r="r" b="b"/>
              <a:pathLst>
                <a:path w="8" h="18">
                  <a:moveTo>
                    <a:pt x="7" y="0"/>
                  </a:moveTo>
                  <a:cubicBezTo>
                    <a:pt x="5" y="0"/>
                    <a:pt x="7" y="4"/>
                    <a:pt x="5" y="3"/>
                  </a:cubicBezTo>
                  <a:cubicBezTo>
                    <a:pt x="3" y="3"/>
                    <a:pt x="2" y="4"/>
                    <a:pt x="2" y="4"/>
                  </a:cubicBezTo>
                  <a:cubicBezTo>
                    <a:pt x="0" y="4"/>
                    <a:pt x="0" y="12"/>
                    <a:pt x="0" y="12"/>
                  </a:cubicBezTo>
                  <a:cubicBezTo>
                    <a:pt x="2" y="12"/>
                    <a:pt x="2" y="12"/>
                    <a:pt x="0" y="13"/>
                  </a:cubicBezTo>
                  <a:cubicBezTo>
                    <a:pt x="0" y="13"/>
                    <a:pt x="0" y="13"/>
                    <a:pt x="2" y="13"/>
                  </a:cubicBezTo>
                  <a:cubicBezTo>
                    <a:pt x="3" y="15"/>
                    <a:pt x="0" y="15"/>
                    <a:pt x="2" y="16"/>
                  </a:cubicBezTo>
                  <a:cubicBezTo>
                    <a:pt x="5" y="18"/>
                    <a:pt x="3" y="18"/>
                    <a:pt x="5" y="18"/>
                  </a:cubicBezTo>
                  <a:cubicBezTo>
                    <a:pt x="7" y="18"/>
                    <a:pt x="5" y="16"/>
                    <a:pt x="5" y="16"/>
                  </a:cubicBezTo>
                  <a:cubicBezTo>
                    <a:pt x="7" y="15"/>
                    <a:pt x="7" y="13"/>
                    <a:pt x="7" y="12"/>
                  </a:cubicBezTo>
                  <a:cubicBezTo>
                    <a:pt x="7" y="10"/>
                    <a:pt x="8" y="10"/>
                    <a:pt x="8" y="7"/>
                  </a:cubicBezTo>
                  <a:cubicBezTo>
                    <a:pt x="8" y="3"/>
                    <a:pt x="7" y="4"/>
                    <a:pt x="7" y="3"/>
                  </a:cubicBezTo>
                  <a:cubicBezTo>
                    <a:pt x="8" y="1"/>
                    <a:pt x="8" y="0"/>
                    <a:pt x="7" y="0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49" name="Freeform 170">
              <a:extLst>
                <a:ext uri="{FF2B5EF4-FFF2-40B4-BE49-F238E27FC236}">
                  <a16:creationId xmlns:a16="http://schemas.microsoft.com/office/drawing/2014/main" id="{9AAA72C8-8608-65A6-F5CC-0ED0C626D1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588434" y="3232406"/>
              <a:ext cx="306895" cy="367946"/>
            </a:xfrm>
            <a:custGeom>
              <a:avLst/>
              <a:gdLst/>
              <a:ahLst/>
              <a:cxnLst>
                <a:cxn ang="0">
                  <a:pos x="54" y="15"/>
                </a:cxn>
                <a:cxn ang="0">
                  <a:pos x="47" y="22"/>
                </a:cxn>
                <a:cxn ang="0">
                  <a:pos x="50" y="36"/>
                </a:cxn>
                <a:cxn ang="0">
                  <a:pos x="67" y="57"/>
                </a:cxn>
                <a:cxn ang="0">
                  <a:pos x="87" y="68"/>
                </a:cxn>
                <a:cxn ang="0">
                  <a:pos x="96" y="79"/>
                </a:cxn>
                <a:cxn ang="0">
                  <a:pos x="90" y="76"/>
                </a:cxn>
                <a:cxn ang="0">
                  <a:pos x="81" y="81"/>
                </a:cxn>
                <a:cxn ang="0">
                  <a:pos x="84" y="92"/>
                </a:cxn>
                <a:cxn ang="0">
                  <a:pos x="75" y="102"/>
                </a:cxn>
                <a:cxn ang="0">
                  <a:pos x="76" y="95"/>
                </a:cxn>
                <a:cxn ang="0">
                  <a:pos x="70" y="79"/>
                </a:cxn>
                <a:cxn ang="0">
                  <a:pos x="63" y="71"/>
                </a:cxn>
                <a:cxn ang="0">
                  <a:pos x="47" y="61"/>
                </a:cxn>
                <a:cxn ang="0">
                  <a:pos x="38" y="53"/>
                </a:cxn>
                <a:cxn ang="0">
                  <a:pos x="32" y="42"/>
                </a:cxn>
                <a:cxn ang="0">
                  <a:pos x="19" y="31"/>
                </a:cxn>
                <a:cxn ang="0">
                  <a:pos x="11" y="33"/>
                </a:cxn>
                <a:cxn ang="0">
                  <a:pos x="5" y="25"/>
                </a:cxn>
                <a:cxn ang="0">
                  <a:pos x="5" y="14"/>
                </a:cxn>
                <a:cxn ang="0">
                  <a:pos x="14" y="12"/>
                </a:cxn>
                <a:cxn ang="0">
                  <a:pos x="17" y="8"/>
                </a:cxn>
                <a:cxn ang="0">
                  <a:pos x="22" y="14"/>
                </a:cxn>
                <a:cxn ang="0">
                  <a:pos x="25" y="6"/>
                </a:cxn>
                <a:cxn ang="0">
                  <a:pos x="31" y="9"/>
                </a:cxn>
                <a:cxn ang="0">
                  <a:pos x="34" y="6"/>
                </a:cxn>
                <a:cxn ang="0">
                  <a:pos x="37" y="3"/>
                </a:cxn>
                <a:cxn ang="0">
                  <a:pos x="44" y="0"/>
                </a:cxn>
                <a:cxn ang="0">
                  <a:pos x="47" y="3"/>
                </a:cxn>
                <a:cxn ang="0">
                  <a:pos x="57" y="9"/>
                </a:cxn>
                <a:cxn ang="0">
                  <a:pos x="58" y="14"/>
                </a:cxn>
                <a:cxn ang="0">
                  <a:pos x="57" y="15"/>
                </a:cxn>
                <a:cxn ang="0">
                  <a:pos x="61" y="112"/>
                </a:cxn>
                <a:cxn ang="0">
                  <a:pos x="70" y="115"/>
                </a:cxn>
                <a:cxn ang="0">
                  <a:pos x="73" y="99"/>
                </a:cxn>
                <a:cxn ang="0">
                  <a:pos x="57" y="101"/>
                </a:cxn>
                <a:cxn ang="0">
                  <a:pos x="49" y="104"/>
                </a:cxn>
                <a:cxn ang="0">
                  <a:pos x="17" y="79"/>
                </a:cxn>
                <a:cxn ang="0">
                  <a:pos x="20" y="92"/>
                </a:cxn>
                <a:cxn ang="0">
                  <a:pos x="28" y="84"/>
                </a:cxn>
                <a:cxn ang="0">
                  <a:pos x="26" y="68"/>
                </a:cxn>
                <a:cxn ang="0">
                  <a:pos x="14" y="71"/>
                </a:cxn>
              </a:cxnLst>
              <a:rect l="0" t="0" r="r" b="b"/>
              <a:pathLst>
                <a:path w="98" h="118">
                  <a:moveTo>
                    <a:pt x="57" y="15"/>
                  </a:moveTo>
                  <a:cubicBezTo>
                    <a:pt x="55" y="17"/>
                    <a:pt x="57" y="14"/>
                    <a:pt x="54" y="15"/>
                  </a:cubicBezTo>
                  <a:cubicBezTo>
                    <a:pt x="50" y="17"/>
                    <a:pt x="50" y="20"/>
                    <a:pt x="49" y="19"/>
                  </a:cubicBezTo>
                  <a:cubicBezTo>
                    <a:pt x="47" y="17"/>
                    <a:pt x="46" y="20"/>
                    <a:pt x="47" y="22"/>
                  </a:cubicBezTo>
                  <a:cubicBezTo>
                    <a:pt x="49" y="23"/>
                    <a:pt x="50" y="25"/>
                    <a:pt x="49" y="26"/>
                  </a:cubicBezTo>
                  <a:cubicBezTo>
                    <a:pt x="46" y="26"/>
                    <a:pt x="47" y="33"/>
                    <a:pt x="50" y="36"/>
                  </a:cubicBezTo>
                  <a:cubicBezTo>
                    <a:pt x="54" y="37"/>
                    <a:pt x="55" y="40"/>
                    <a:pt x="57" y="40"/>
                  </a:cubicBezTo>
                  <a:cubicBezTo>
                    <a:pt x="60" y="40"/>
                    <a:pt x="58" y="48"/>
                    <a:pt x="67" y="57"/>
                  </a:cubicBezTo>
                  <a:cubicBezTo>
                    <a:pt x="70" y="61"/>
                    <a:pt x="82" y="57"/>
                    <a:pt x="78" y="62"/>
                  </a:cubicBezTo>
                  <a:cubicBezTo>
                    <a:pt x="73" y="65"/>
                    <a:pt x="85" y="67"/>
                    <a:pt x="87" y="68"/>
                  </a:cubicBezTo>
                  <a:cubicBezTo>
                    <a:pt x="87" y="70"/>
                    <a:pt x="89" y="71"/>
                    <a:pt x="92" y="73"/>
                  </a:cubicBezTo>
                  <a:cubicBezTo>
                    <a:pt x="93" y="75"/>
                    <a:pt x="98" y="76"/>
                    <a:pt x="96" y="79"/>
                  </a:cubicBezTo>
                  <a:cubicBezTo>
                    <a:pt x="96" y="82"/>
                    <a:pt x="98" y="82"/>
                    <a:pt x="95" y="82"/>
                  </a:cubicBezTo>
                  <a:cubicBezTo>
                    <a:pt x="92" y="82"/>
                    <a:pt x="93" y="76"/>
                    <a:pt x="90" y="76"/>
                  </a:cubicBezTo>
                  <a:cubicBezTo>
                    <a:pt x="87" y="76"/>
                    <a:pt x="87" y="75"/>
                    <a:pt x="84" y="76"/>
                  </a:cubicBezTo>
                  <a:cubicBezTo>
                    <a:pt x="81" y="78"/>
                    <a:pt x="82" y="79"/>
                    <a:pt x="81" y="81"/>
                  </a:cubicBezTo>
                  <a:cubicBezTo>
                    <a:pt x="79" y="84"/>
                    <a:pt x="81" y="84"/>
                    <a:pt x="82" y="85"/>
                  </a:cubicBezTo>
                  <a:cubicBezTo>
                    <a:pt x="85" y="85"/>
                    <a:pt x="89" y="90"/>
                    <a:pt x="84" y="92"/>
                  </a:cubicBezTo>
                  <a:cubicBezTo>
                    <a:pt x="81" y="95"/>
                    <a:pt x="82" y="96"/>
                    <a:pt x="81" y="99"/>
                  </a:cubicBezTo>
                  <a:cubicBezTo>
                    <a:pt x="78" y="101"/>
                    <a:pt x="78" y="106"/>
                    <a:pt x="75" y="102"/>
                  </a:cubicBezTo>
                  <a:cubicBezTo>
                    <a:pt x="73" y="102"/>
                    <a:pt x="73" y="101"/>
                    <a:pt x="75" y="98"/>
                  </a:cubicBezTo>
                  <a:cubicBezTo>
                    <a:pt x="76" y="96"/>
                    <a:pt x="75" y="96"/>
                    <a:pt x="76" y="95"/>
                  </a:cubicBezTo>
                  <a:cubicBezTo>
                    <a:pt x="78" y="93"/>
                    <a:pt x="78" y="93"/>
                    <a:pt x="76" y="85"/>
                  </a:cubicBezTo>
                  <a:cubicBezTo>
                    <a:pt x="75" y="79"/>
                    <a:pt x="73" y="81"/>
                    <a:pt x="70" y="79"/>
                  </a:cubicBezTo>
                  <a:cubicBezTo>
                    <a:pt x="66" y="76"/>
                    <a:pt x="70" y="73"/>
                    <a:pt x="66" y="73"/>
                  </a:cubicBezTo>
                  <a:cubicBezTo>
                    <a:pt x="63" y="75"/>
                    <a:pt x="66" y="71"/>
                    <a:pt x="63" y="71"/>
                  </a:cubicBezTo>
                  <a:cubicBezTo>
                    <a:pt x="60" y="71"/>
                    <a:pt x="61" y="67"/>
                    <a:pt x="58" y="67"/>
                  </a:cubicBezTo>
                  <a:cubicBezTo>
                    <a:pt x="55" y="67"/>
                    <a:pt x="50" y="65"/>
                    <a:pt x="47" y="61"/>
                  </a:cubicBezTo>
                  <a:cubicBezTo>
                    <a:pt x="44" y="57"/>
                    <a:pt x="44" y="61"/>
                    <a:pt x="43" y="57"/>
                  </a:cubicBezTo>
                  <a:cubicBezTo>
                    <a:pt x="43" y="53"/>
                    <a:pt x="38" y="54"/>
                    <a:pt x="38" y="53"/>
                  </a:cubicBezTo>
                  <a:cubicBezTo>
                    <a:pt x="38" y="51"/>
                    <a:pt x="38" y="51"/>
                    <a:pt x="35" y="48"/>
                  </a:cubicBezTo>
                  <a:cubicBezTo>
                    <a:pt x="32" y="47"/>
                    <a:pt x="35" y="45"/>
                    <a:pt x="32" y="42"/>
                  </a:cubicBezTo>
                  <a:cubicBezTo>
                    <a:pt x="31" y="40"/>
                    <a:pt x="32" y="34"/>
                    <a:pt x="28" y="34"/>
                  </a:cubicBezTo>
                  <a:cubicBezTo>
                    <a:pt x="25" y="36"/>
                    <a:pt x="23" y="29"/>
                    <a:pt x="19" y="31"/>
                  </a:cubicBezTo>
                  <a:cubicBezTo>
                    <a:pt x="15" y="33"/>
                    <a:pt x="19" y="36"/>
                    <a:pt x="9" y="39"/>
                  </a:cubicBezTo>
                  <a:cubicBezTo>
                    <a:pt x="9" y="37"/>
                    <a:pt x="12" y="34"/>
                    <a:pt x="11" y="33"/>
                  </a:cubicBezTo>
                  <a:cubicBezTo>
                    <a:pt x="11" y="33"/>
                    <a:pt x="6" y="36"/>
                    <a:pt x="5" y="31"/>
                  </a:cubicBezTo>
                  <a:cubicBezTo>
                    <a:pt x="3" y="28"/>
                    <a:pt x="9" y="28"/>
                    <a:pt x="5" y="25"/>
                  </a:cubicBezTo>
                  <a:cubicBezTo>
                    <a:pt x="0" y="22"/>
                    <a:pt x="5" y="23"/>
                    <a:pt x="6" y="20"/>
                  </a:cubicBezTo>
                  <a:cubicBezTo>
                    <a:pt x="8" y="19"/>
                    <a:pt x="3" y="17"/>
                    <a:pt x="5" y="14"/>
                  </a:cubicBezTo>
                  <a:cubicBezTo>
                    <a:pt x="6" y="14"/>
                    <a:pt x="6" y="14"/>
                    <a:pt x="9" y="14"/>
                  </a:cubicBezTo>
                  <a:cubicBezTo>
                    <a:pt x="11" y="12"/>
                    <a:pt x="11" y="14"/>
                    <a:pt x="14" y="12"/>
                  </a:cubicBezTo>
                  <a:cubicBezTo>
                    <a:pt x="17" y="9"/>
                    <a:pt x="14" y="9"/>
                    <a:pt x="15" y="9"/>
                  </a:cubicBezTo>
                  <a:cubicBezTo>
                    <a:pt x="15" y="8"/>
                    <a:pt x="17" y="6"/>
                    <a:pt x="17" y="8"/>
                  </a:cubicBezTo>
                  <a:cubicBezTo>
                    <a:pt x="17" y="8"/>
                    <a:pt x="17" y="9"/>
                    <a:pt x="19" y="11"/>
                  </a:cubicBezTo>
                  <a:cubicBezTo>
                    <a:pt x="20" y="12"/>
                    <a:pt x="20" y="15"/>
                    <a:pt x="22" y="14"/>
                  </a:cubicBezTo>
                  <a:cubicBezTo>
                    <a:pt x="23" y="14"/>
                    <a:pt x="20" y="12"/>
                    <a:pt x="23" y="11"/>
                  </a:cubicBezTo>
                  <a:cubicBezTo>
                    <a:pt x="25" y="9"/>
                    <a:pt x="23" y="6"/>
                    <a:pt x="25" y="6"/>
                  </a:cubicBezTo>
                  <a:cubicBezTo>
                    <a:pt x="26" y="6"/>
                    <a:pt x="26" y="9"/>
                    <a:pt x="28" y="9"/>
                  </a:cubicBezTo>
                  <a:cubicBezTo>
                    <a:pt x="29" y="8"/>
                    <a:pt x="29" y="11"/>
                    <a:pt x="31" y="9"/>
                  </a:cubicBezTo>
                  <a:cubicBezTo>
                    <a:pt x="32" y="9"/>
                    <a:pt x="29" y="6"/>
                    <a:pt x="31" y="6"/>
                  </a:cubicBezTo>
                  <a:cubicBezTo>
                    <a:pt x="31" y="5"/>
                    <a:pt x="32" y="8"/>
                    <a:pt x="34" y="6"/>
                  </a:cubicBezTo>
                  <a:cubicBezTo>
                    <a:pt x="34" y="6"/>
                    <a:pt x="32" y="5"/>
                    <a:pt x="34" y="1"/>
                  </a:cubicBezTo>
                  <a:cubicBezTo>
                    <a:pt x="35" y="1"/>
                    <a:pt x="35" y="5"/>
                    <a:pt x="37" y="3"/>
                  </a:cubicBezTo>
                  <a:cubicBezTo>
                    <a:pt x="38" y="3"/>
                    <a:pt x="38" y="1"/>
                    <a:pt x="40" y="1"/>
                  </a:cubicBezTo>
                  <a:cubicBezTo>
                    <a:pt x="41" y="0"/>
                    <a:pt x="41" y="1"/>
                    <a:pt x="44" y="0"/>
                  </a:cubicBezTo>
                  <a:cubicBezTo>
                    <a:pt x="49" y="0"/>
                    <a:pt x="46" y="0"/>
                    <a:pt x="46" y="1"/>
                  </a:cubicBezTo>
                  <a:cubicBezTo>
                    <a:pt x="47" y="1"/>
                    <a:pt x="47" y="1"/>
                    <a:pt x="47" y="3"/>
                  </a:cubicBezTo>
                  <a:cubicBezTo>
                    <a:pt x="47" y="5"/>
                    <a:pt x="50" y="6"/>
                    <a:pt x="58" y="6"/>
                  </a:cubicBezTo>
                  <a:cubicBezTo>
                    <a:pt x="58" y="8"/>
                    <a:pt x="57" y="8"/>
                    <a:pt x="57" y="9"/>
                  </a:cubicBezTo>
                  <a:cubicBezTo>
                    <a:pt x="57" y="11"/>
                    <a:pt x="60" y="9"/>
                    <a:pt x="58" y="11"/>
                  </a:cubicBezTo>
                  <a:cubicBezTo>
                    <a:pt x="57" y="12"/>
                    <a:pt x="57" y="14"/>
                    <a:pt x="58" y="14"/>
                  </a:cubicBezTo>
                  <a:cubicBezTo>
                    <a:pt x="60" y="15"/>
                    <a:pt x="61" y="17"/>
                    <a:pt x="58" y="17"/>
                  </a:cubicBezTo>
                  <a:cubicBezTo>
                    <a:pt x="58" y="17"/>
                    <a:pt x="60" y="15"/>
                    <a:pt x="57" y="15"/>
                  </a:cubicBezTo>
                  <a:close/>
                  <a:moveTo>
                    <a:pt x="54" y="107"/>
                  </a:moveTo>
                  <a:cubicBezTo>
                    <a:pt x="55" y="109"/>
                    <a:pt x="58" y="112"/>
                    <a:pt x="61" y="112"/>
                  </a:cubicBezTo>
                  <a:cubicBezTo>
                    <a:pt x="64" y="112"/>
                    <a:pt x="64" y="115"/>
                    <a:pt x="67" y="115"/>
                  </a:cubicBezTo>
                  <a:cubicBezTo>
                    <a:pt x="70" y="116"/>
                    <a:pt x="70" y="118"/>
                    <a:pt x="70" y="115"/>
                  </a:cubicBezTo>
                  <a:cubicBezTo>
                    <a:pt x="70" y="113"/>
                    <a:pt x="72" y="110"/>
                    <a:pt x="70" y="109"/>
                  </a:cubicBezTo>
                  <a:cubicBezTo>
                    <a:pt x="69" y="109"/>
                    <a:pt x="73" y="101"/>
                    <a:pt x="73" y="99"/>
                  </a:cubicBezTo>
                  <a:cubicBezTo>
                    <a:pt x="75" y="98"/>
                    <a:pt x="70" y="101"/>
                    <a:pt x="69" y="101"/>
                  </a:cubicBezTo>
                  <a:cubicBezTo>
                    <a:pt x="66" y="99"/>
                    <a:pt x="61" y="104"/>
                    <a:pt x="57" y="101"/>
                  </a:cubicBezTo>
                  <a:cubicBezTo>
                    <a:pt x="54" y="96"/>
                    <a:pt x="54" y="104"/>
                    <a:pt x="52" y="101"/>
                  </a:cubicBezTo>
                  <a:cubicBezTo>
                    <a:pt x="50" y="99"/>
                    <a:pt x="49" y="101"/>
                    <a:pt x="49" y="104"/>
                  </a:cubicBezTo>
                  <a:cubicBezTo>
                    <a:pt x="49" y="107"/>
                    <a:pt x="50" y="107"/>
                    <a:pt x="54" y="107"/>
                  </a:cubicBezTo>
                  <a:close/>
                  <a:moveTo>
                    <a:pt x="17" y="79"/>
                  </a:moveTo>
                  <a:cubicBezTo>
                    <a:pt x="17" y="82"/>
                    <a:pt x="19" y="81"/>
                    <a:pt x="17" y="84"/>
                  </a:cubicBezTo>
                  <a:cubicBezTo>
                    <a:pt x="15" y="88"/>
                    <a:pt x="17" y="93"/>
                    <a:pt x="20" y="92"/>
                  </a:cubicBezTo>
                  <a:cubicBezTo>
                    <a:pt x="23" y="92"/>
                    <a:pt x="22" y="88"/>
                    <a:pt x="23" y="90"/>
                  </a:cubicBezTo>
                  <a:cubicBezTo>
                    <a:pt x="26" y="90"/>
                    <a:pt x="26" y="90"/>
                    <a:pt x="28" y="84"/>
                  </a:cubicBezTo>
                  <a:cubicBezTo>
                    <a:pt x="28" y="78"/>
                    <a:pt x="25" y="78"/>
                    <a:pt x="28" y="76"/>
                  </a:cubicBezTo>
                  <a:cubicBezTo>
                    <a:pt x="29" y="75"/>
                    <a:pt x="28" y="70"/>
                    <a:pt x="26" y="68"/>
                  </a:cubicBezTo>
                  <a:cubicBezTo>
                    <a:pt x="25" y="67"/>
                    <a:pt x="25" y="65"/>
                    <a:pt x="20" y="70"/>
                  </a:cubicBezTo>
                  <a:cubicBezTo>
                    <a:pt x="15" y="73"/>
                    <a:pt x="14" y="67"/>
                    <a:pt x="14" y="71"/>
                  </a:cubicBezTo>
                  <a:cubicBezTo>
                    <a:pt x="14" y="75"/>
                    <a:pt x="17" y="75"/>
                    <a:pt x="17" y="79"/>
                  </a:cubicBezTo>
                  <a:close/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50" name="Freeform 171">
              <a:extLst>
                <a:ext uri="{FF2B5EF4-FFF2-40B4-BE49-F238E27FC236}">
                  <a16:creationId xmlns:a16="http://schemas.microsoft.com/office/drawing/2014/main" id="{7CA8F86C-EB74-80BE-3DF2-B5C6D905D7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77185" y="3200271"/>
              <a:ext cx="117295" cy="78731"/>
            </a:xfrm>
            <a:custGeom>
              <a:avLst/>
              <a:gdLst/>
              <a:ahLst/>
              <a:cxnLst>
                <a:cxn ang="0">
                  <a:pos x="30" y="5"/>
                </a:cxn>
                <a:cxn ang="0">
                  <a:pos x="30" y="10"/>
                </a:cxn>
                <a:cxn ang="0">
                  <a:pos x="35" y="13"/>
                </a:cxn>
                <a:cxn ang="0">
                  <a:pos x="38" y="11"/>
                </a:cxn>
                <a:cxn ang="0">
                  <a:pos x="38" y="16"/>
                </a:cxn>
                <a:cxn ang="0">
                  <a:pos x="35" y="16"/>
                </a:cxn>
                <a:cxn ang="0">
                  <a:pos x="35" y="19"/>
                </a:cxn>
                <a:cxn ang="0">
                  <a:pos x="32" y="19"/>
                </a:cxn>
                <a:cxn ang="0">
                  <a:pos x="29" y="16"/>
                </a:cxn>
                <a:cxn ang="0">
                  <a:pos x="27" y="21"/>
                </a:cxn>
                <a:cxn ang="0">
                  <a:pos x="26" y="24"/>
                </a:cxn>
                <a:cxn ang="0">
                  <a:pos x="23" y="21"/>
                </a:cxn>
                <a:cxn ang="0">
                  <a:pos x="21" y="18"/>
                </a:cxn>
                <a:cxn ang="0">
                  <a:pos x="19" y="19"/>
                </a:cxn>
                <a:cxn ang="0">
                  <a:pos x="18" y="22"/>
                </a:cxn>
                <a:cxn ang="0">
                  <a:pos x="13" y="24"/>
                </a:cxn>
                <a:cxn ang="0">
                  <a:pos x="9" y="24"/>
                </a:cxn>
                <a:cxn ang="0">
                  <a:pos x="7" y="21"/>
                </a:cxn>
                <a:cxn ang="0">
                  <a:pos x="6" y="18"/>
                </a:cxn>
                <a:cxn ang="0">
                  <a:pos x="3" y="21"/>
                </a:cxn>
                <a:cxn ang="0">
                  <a:pos x="3" y="19"/>
                </a:cxn>
                <a:cxn ang="0">
                  <a:pos x="4" y="14"/>
                </a:cxn>
                <a:cxn ang="0">
                  <a:pos x="6" y="11"/>
                </a:cxn>
                <a:cxn ang="0">
                  <a:pos x="9" y="8"/>
                </a:cxn>
                <a:cxn ang="0">
                  <a:pos x="10" y="5"/>
                </a:cxn>
                <a:cxn ang="0">
                  <a:pos x="13" y="4"/>
                </a:cxn>
                <a:cxn ang="0">
                  <a:pos x="19" y="4"/>
                </a:cxn>
                <a:cxn ang="0">
                  <a:pos x="23" y="2"/>
                </a:cxn>
                <a:cxn ang="0">
                  <a:pos x="26" y="4"/>
                </a:cxn>
                <a:cxn ang="0">
                  <a:pos x="30" y="5"/>
                </a:cxn>
              </a:cxnLst>
              <a:rect l="0" t="0" r="r" b="b"/>
              <a:pathLst>
                <a:path w="38" h="25">
                  <a:moveTo>
                    <a:pt x="30" y="5"/>
                  </a:moveTo>
                  <a:cubicBezTo>
                    <a:pt x="32" y="7"/>
                    <a:pt x="27" y="11"/>
                    <a:pt x="30" y="10"/>
                  </a:cubicBezTo>
                  <a:cubicBezTo>
                    <a:pt x="35" y="10"/>
                    <a:pt x="32" y="13"/>
                    <a:pt x="35" y="13"/>
                  </a:cubicBezTo>
                  <a:cubicBezTo>
                    <a:pt x="36" y="13"/>
                    <a:pt x="36" y="8"/>
                    <a:pt x="38" y="11"/>
                  </a:cubicBezTo>
                  <a:cubicBezTo>
                    <a:pt x="36" y="14"/>
                    <a:pt x="38" y="16"/>
                    <a:pt x="38" y="16"/>
                  </a:cubicBezTo>
                  <a:cubicBezTo>
                    <a:pt x="36" y="18"/>
                    <a:pt x="35" y="14"/>
                    <a:pt x="35" y="16"/>
                  </a:cubicBezTo>
                  <a:cubicBezTo>
                    <a:pt x="33" y="16"/>
                    <a:pt x="36" y="19"/>
                    <a:pt x="35" y="19"/>
                  </a:cubicBezTo>
                  <a:cubicBezTo>
                    <a:pt x="33" y="21"/>
                    <a:pt x="33" y="18"/>
                    <a:pt x="32" y="19"/>
                  </a:cubicBezTo>
                  <a:cubicBezTo>
                    <a:pt x="30" y="19"/>
                    <a:pt x="30" y="16"/>
                    <a:pt x="29" y="16"/>
                  </a:cubicBezTo>
                  <a:cubicBezTo>
                    <a:pt x="27" y="16"/>
                    <a:pt x="29" y="19"/>
                    <a:pt x="27" y="21"/>
                  </a:cubicBezTo>
                  <a:cubicBezTo>
                    <a:pt x="24" y="22"/>
                    <a:pt x="27" y="24"/>
                    <a:pt x="26" y="24"/>
                  </a:cubicBezTo>
                  <a:cubicBezTo>
                    <a:pt x="24" y="25"/>
                    <a:pt x="24" y="22"/>
                    <a:pt x="23" y="21"/>
                  </a:cubicBezTo>
                  <a:cubicBezTo>
                    <a:pt x="21" y="19"/>
                    <a:pt x="21" y="18"/>
                    <a:pt x="21" y="18"/>
                  </a:cubicBezTo>
                  <a:cubicBezTo>
                    <a:pt x="21" y="16"/>
                    <a:pt x="19" y="18"/>
                    <a:pt x="19" y="19"/>
                  </a:cubicBezTo>
                  <a:cubicBezTo>
                    <a:pt x="18" y="19"/>
                    <a:pt x="21" y="19"/>
                    <a:pt x="18" y="22"/>
                  </a:cubicBezTo>
                  <a:cubicBezTo>
                    <a:pt x="15" y="24"/>
                    <a:pt x="15" y="22"/>
                    <a:pt x="13" y="24"/>
                  </a:cubicBezTo>
                  <a:cubicBezTo>
                    <a:pt x="10" y="24"/>
                    <a:pt x="10" y="24"/>
                    <a:pt x="9" y="24"/>
                  </a:cubicBezTo>
                  <a:cubicBezTo>
                    <a:pt x="9" y="21"/>
                    <a:pt x="7" y="21"/>
                    <a:pt x="7" y="21"/>
                  </a:cubicBezTo>
                  <a:cubicBezTo>
                    <a:pt x="7" y="19"/>
                    <a:pt x="9" y="16"/>
                    <a:pt x="6" y="18"/>
                  </a:cubicBezTo>
                  <a:cubicBezTo>
                    <a:pt x="3" y="18"/>
                    <a:pt x="6" y="19"/>
                    <a:pt x="3" y="21"/>
                  </a:cubicBezTo>
                  <a:cubicBezTo>
                    <a:pt x="1" y="21"/>
                    <a:pt x="0" y="21"/>
                    <a:pt x="3" y="19"/>
                  </a:cubicBezTo>
                  <a:cubicBezTo>
                    <a:pt x="4" y="18"/>
                    <a:pt x="1" y="16"/>
                    <a:pt x="4" y="14"/>
                  </a:cubicBezTo>
                  <a:cubicBezTo>
                    <a:pt x="7" y="13"/>
                    <a:pt x="4" y="11"/>
                    <a:pt x="6" y="11"/>
                  </a:cubicBezTo>
                  <a:cubicBezTo>
                    <a:pt x="9" y="10"/>
                    <a:pt x="7" y="8"/>
                    <a:pt x="9" y="8"/>
                  </a:cubicBezTo>
                  <a:cubicBezTo>
                    <a:pt x="10" y="7"/>
                    <a:pt x="9" y="7"/>
                    <a:pt x="10" y="5"/>
                  </a:cubicBezTo>
                  <a:cubicBezTo>
                    <a:pt x="10" y="4"/>
                    <a:pt x="12" y="7"/>
                    <a:pt x="13" y="4"/>
                  </a:cubicBezTo>
                  <a:cubicBezTo>
                    <a:pt x="16" y="5"/>
                    <a:pt x="16" y="4"/>
                    <a:pt x="19" y="4"/>
                  </a:cubicBezTo>
                  <a:cubicBezTo>
                    <a:pt x="23" y="4"/>
                    <a:pt x="19" y="2"/>
                    <a:pt x="23" y="2"/>
                  </a:cubicBezTo>
                  <a:cubicBezTo>
                    <a:pt x="24" y="0"/>
                    <a:pt x="24" y="4"/>
                    <a:pt x="26" y="4"/>
                  </a:cubicBezTo>
                  <a:cubicBezTo>
                    <a:pt x="27" y="2"/>
                    <a:pt x="29" y="4"/>
                    <a:pt x="30" y="5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51" name="Freeform 172">
              <a:extLst>
                <a:ext uri="{FF2B5EF4-FFF2-40B4-BE49-F238E27FC236}">
                  <a16:creationId xmlns:a16="http://schemas.microsoft.com/office/drawing/2014/main" id="{92056E6F-B599-8304-23B1-A67449FBE0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60738" y="3153676"/>
              <a:ext cx="199241" cy="106045"/>
            </a:xfrm>
            <a:custGeom>
              <a:avLst/>
              <a:gdLst/>
              <a:ahLst/>
              <a:cxnLst>
                <a:cxn ang="0">
                  <a:pos x="3" y="20"/>
                </a:cxn>
                <a:cxn ang="0">
                  <a:pos x="9" y="22"/>
                </a:cxn>
                <a:cxn ang="0">
                  <a:pos x="10" y="19"/>
                </a:cxn>
                <a:cxn ang="0">
                  <a:pos x="13" y="20"/>
                </a:cxn>
                <a:cxn ang="0">
                  <a:pos x="20" y="19"/>
                </a:cxn>
                <a:cxn ang="0">
                  <a:pos x="24" y="17"/>
                </a:cxn>
                <a:cxn ang="0">
                  <a:pos x="27" y="19"/>
                </a:cxn>
                <a:cxn ang="0">
                  <a:pos x="30" y="20"/>
                </a:cxn>
                <a:cxn ang="0">
                  <a:pos x="30" y="16"/>
                </a:cxn>
                <a:cxn ang="0">
                  <a:pos x="29" y="11"/>
                </a:cxn>
                <a:cxn ang="0">
                  <a:pos x="33" y="10"/>
                </a:cxn>
                <a:cxn ang="0">
                  <a:pos x="37" y="5"/>
                </a:cxn>
                <a:cxn ang="0">
                  <a:pos x="40" y="8"/>
                </a:cxn>
                <a:cxn ang="0">
                  <a:pos x="46" y="4"/>
                </a:cxn>
                <a:cxn ang="0">
                  <a:pos x="49" y="4"/>
                </a:cxn>
                <a:cxn ang="0">
                  <a:pos x="56" y="5"/>
                </a:cxn>
                <a:cxn ang="0">
                  <a:pos x="63" y="7"/>
                </a:cxn>
                <a:cxn ang="0">
                  <a:pos x="63" y="14"/>
                </a:cxn>
                <a:cxn ang="0">
                  <a:pos x="63" y="17"/>
                </a:cxn>
                <a:cxn ang="0">
                  <a:pos x="58" y="17"/>
                </a:cxn>
                <a:cxn ang="0">
                  <a:pos x="60" y="20"/>
                </a:cxn>
                <a:cxn ang="0">
                  <a:pos x="58" y="22"/>
                </a:cxn>
                <a:cxn ang="0">
                  <a:pos x="58" y="25"/>
                </a:cxn>
                <a:cxn ang="0">
                  <a:pos x="55" y="27"/>
                </a:cxn>
                <a:cxn ang="0">
                  <a:pos x="55" y="28"/>
                </a:cxn>
                <a:cxn ang="0">
                  <a:pos x="52" y="30"/>
                </a:cxn>
                <a:cxn ang="0">
                  <a:pos x="49" y="30"/>
                </a:cxn>
                <a:cxn ang="0">
                  <a:pos x="44" y="33"/>
                </a:cxn>
                <a:cxn ang="0">
                  <a:pos x="41" y="33"/>
                </a:cxn>
                <a:cxn ang="0">
                  <a:pos x="35" y="31"/>
                </a:cxn>
                <a:cxn ang="0">
                  <a:pos x="24" y="28"/>
                </a:cxn>
                <a:cxn ang="0">
                  <a:pos x="23" y="27"/>
                </a:cxn>
                <a:cxn ang="0">
                  <a:pos x="21" y="25"/>
                </a:cxn>
                <a:cxn ang="0">
                  <a:pos x="17" y="27"/>
                </a:cxn>
                <a:cxn ang="0">
                  <a:pos x="13" y="28"/>
                </a:cxn>
                <a:cxn ang="0">
                  <a:pos x="10" y="27"/>
                </a:cxn>
                <a:cxn ang="0">
                  <a:pos x="7" y="28"/>
                </a:cxn>
                <a:cxn ang="0">
                  <a:pos x="3" y="25"/>
                </a:cxn>
                <a:cxn ang="0">
                  <a:pos x="3" y="20"/>
                </a:cxn>
              </a:cxnLst>
              <a:rect l="0" t="0" r="r" b="b"/>
              <a:pathLst>
                <a:path w="64" h="34">
                  <a:moveTo>
                    <a:pt x="3" y="20"/>
                  </a:moveTo>
                  <a:cubicBezTo>
                    <a:pt x="6" y="17"/>
                    <a:pt x="7" y="22"/>
                    <a:pt x="9" y="22"/>
                  </a:cubicBezTo>
                  <a:cubicBezTo>
                    <a:pt x="10" y="22"/>
                    <a:pt x="9" y="19"/>
                    <a:pt x="10" y="19"/>
                  </a:cubicBezTo>
                  <a:cubicBezTo>
                    <a:pt x="12" y="20"/>
                    <a:pt x="13" y="19"/>
                    <a:pt x="13" y="20"/>
                  </a:cubicBezTo>
                  <a:cubicBezTo>
                    <a:pt x="15" y="22"/>
                    <a:pt x="17" y="20"/>
                    <a:pt x="20" y="19"/>
                  </a:cubicBezTo>
                  <a:cubicBezTo>
                    <a:pt x="21" y="17"/>
                    <a:pt x="23" y="20"/>
                    <a:pt x="24" y="17"/>
                  </a:cubicBezTo>
                  <a:cubicBezTo>
                    <a:pt x="24" y="16"/>
                    <a:pt x="26" y="19"/>
                    <a:pt x="27" y="19"/>
                  </a:cubicBezTo>
                  <a:cubicBezTo>
                    <a:pt x="29" y="17"/>
                    <a:pt x="29" y="22"/>
                    <a:pt x="30" y="20"/>
                  </a:cubicBezTo>
                  <a:cubicBezTo>
                    <a:pt x="32" y="19"/>
                    <a:pt x="27" y="17"/>
                    <a:pt x="30" y="16"/>
                  </a:cubicBezTo>
                  <a:cubicBezTo>
                    <a:pt x="32" y="16"/>
                    <a:pt x="27" y="14"/>
                    <a:pt x="29" y="11"/>
                  </a:cubicBezTo>
                  <a:cubicBezTo>
                    <a:pt x="32" y="10"/>
                    <a:pt x="33" y="11"/>
                    <a:pt x="33" y="10"/>
                  </a:cubicBezTo>
                  <a:cubicBezTo>
                    <a:pt x="33" y="7"/>
                    <a:pt x="37" y="10"/>
                    <a:pt x="37" y="5"/>
                  </a:cubicBezTo>
                  <a:cubicBezTo>
                    <a:pt x="40" y="7"/>
                    <a:pt x="37" y="8"/>
                    <a:pt x="40" y="8"/>
                  </a:cubicBezTo>
                  <a:cubicBezTo>
                    <a:pt x="43" y="7"/>
                    <a:pt x="46" y="7"/>
                    <a:pt x="46" y="4"/>
                  </a:cubicBezTo>
                  <a:cubicBezTo>
                    <a:pt x="46" y="0"/>
                    <a:pt x="47" y="4"/>
                    <a:pt x="49" y="4"/>
                  </a:cubicBezTo>
                  <a:cubicBezTo>
                    <a:pt x="50" y="4"/>
                    <a:pt x="55" y="7"/>
                    <a:pt x="56" y="5"/>
                  </a:cubicBezTo>
                  <a:cubicBezTo>
                    <a:pt x="60" y="4"/>
                    <a:pt x="61" y="7"/>
                    <a:pt x="63" y="7"/>
                  </a:cubicBezTo>
                  <a:cubicBezTo>
                    <a:pt x="61" y="10"/>
                    <a:pt x="60" y="10"/>
                    <a:pt x="63" y="14"/>
                  </a:cubicBezTo>
                  <a:cubicBezTo>
                    <a:pt x="63" y="16"/>
                    <a:pt x="64" y="17"/>
                    <a:pt x="63" y="17"/>
                  </a:cubicBezTo>
                  <a:cubicBezTo>
                    <a:pt x="61" y="17"/>
                    <a:pt x="58" y="17"/>
                    <a:pt x="58" y="17"/>
                  </a:cubicBezTo>
                  <a:cubicBezTo>
                    <a:pt x="58" y="19"/>
                    <a:pt x="60" y="19"/>
                    <a:pt x="60" y="20"/>
                  </a:cubicBezTo>
                  <a:cubicBezTo>
                    <a:pt x="60" y="22"/>
                    <a:pt x="58" y="20"/>
                    <a:pt x="58" y="22"/>
                  </a:cubicBezTo>
                  <a:cubicBezTo>
                    <a:pt x="58" y="25"/>
                    <a:pt x="58" y="25"/>
                    <a:pt x="58" y="25"/>
                  </a:cubicBezTo>
                  <a:cubicBezTo>
                    <a:pt x="58" y="25"/>
                    <a:pt x="56" y="27"/>
                    <a:pt x="55" y="27"/>
                  </a:cubicBezTo>
                  <a:cubicBezTo>
                    <a:pt x="55" y="28"/>
                    <a:pt x="53" y="27"/>
                    <a:pt x="55" y="28"/>
                  </a:cubicBezTo>
                  <a:cubicBezTo>
                    <a:pt x="55" y="30"/>
                    <a:pt x="55" y="30"/>
                    <a:pt x="52" y="30"/>
                  </a:cubicBezTo>
                  <a:cubicBezTo>
                    <a:pt x="50" y="30"/>
                    <a:pt x="52" y="31"/>
                    <a:pt x="49" y="30"/>
                  </a:cubicBezTo>
                  <a:cubicBezTo>
                    <a:pt x="46" y="30"/>
                    <a:pt x="46" y="30"/>
                    <a:pt x="44" y="33"/>
                  </a:cubicBezTo>
                  <a:cubicBezTo>
                    <a:pt x="41" y="34"/>
                    <a:pt x="43" y="31"/>
                    <a:pt x="41" y="33"/>
                  </a:cubicBezTo>
                  <a:cubicBezTo>
                    <a:pt x="38" y="33"/>
                    <a:pt x="40" y="31"/>
                    <a:pt x="35" y="31"/>
                  </a:cubicBezTo>
                  <a:cubicBezTo>
                    <a:pt x="27" y="31"/>
                    <a:pt x="24" y="30"/>
                    <a:pt x="24" y="28"/>
                  </a:cubicBezTo>
                  <a:cubicBezTo>
                    <a:pt x="24" y="27"/>
                    <a:pt x="24" y="27"/>
                    <a:pt x="23" y="27"/>
                  </a:cubicBezTo>
                  <a:cubicBezTo>
                    <a:pt x="23" y="25"/>
                    <a:pt x="26" y="25"/>
                    <a:pt x="21" y="25"/>
                  </a:cubicBezTo>
                  <a:cubicBezTo>
                    <a:pt x="18" y="27"/>
                    <a:pt x="18" y="25"/>
                    <a:pt x="17" y="27"/>
                  </a:cubicBezTo>
                  <a:cubicBezTo>
                    <a:pt x="15" y="27"/>
                    <a:pt x="15" y="28"/>
                    <a:pt x="13" y="28"/>
                  </a:cubicBezTo>
                  <a:cubicBezTo>
                    <a:pt x="12" y="30"/>
                    <a:pt x="12" y="27"/>
                    <a:pt x="10" y="27"/>
                  </a:cubicBezTo>
                  <a:cubicBezTo>
                    <a:pt x="9" y="24"/>
                    <a:pt x="9" y="28"/>
                    <a:pt x="7" y="28"/>
                  </a:cubicBezTo>
                  <a:cubicBezTo>
                    <a:pt x="4" y="28"/>
                    <a:pt x="7" y="25"/>
                    <a:pt x="3" y="25"/>
                  </a:cubicBezTo>
                  <a:cubicBezTo>
                    <a:pt x="0" y="27"/>
                    <a:pt x="4" y="22"/>
                    <a:pt x="3" y="20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52" name="Freeform 173">
              <a:extLst>
                <a:ext uri="{FF2B5EF4-FFF2-40B4-BE49-F238E27FC236}">
                  <a16:creationId xmlns:a16="http://schemas.microsoft.com/office/drawing/2014/main" id="{6C25CD49-20FC-A1B5-2A1C-04CB980C5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33043" y="3082978"/>
              <a:ext cx="163892" cy="96405"/>
            </a:xfrm>
            <a:custGeom>
              <a:avLst/>
              <a:gdLst/>
              <a:ahLst/>
              <a:cxnLst>
                <a:cxn ang="0">
                  <a:pos x="13" y="28"/>
                </a:cxn>
                <a:cxn ang="0">
                  <a:pos x="17" y="31"/>
                </a:cxn>
                <a:cxn ang="0">
                  <a:pos x="23" y="26"/>
                </a:cxn>
                <a:cxn ang="0">
                  <a:pos x="26" y="26"/>
                </a:cxn>
                <a:cxn ang="0">
                  <a:pos x="33" y="28"/>
                </a:cxn>
                <a:cxn ang="0">
                  <a:pos x="39" y="29"/>
                </a:cxn>
                <a:cxn ang="0">
                  <a:pos x="46" y="26"/>
                </a:cxn>
                <a:cxn ang="0">
                  <a:pos x="53" y="20"/>
                </a:cxn>
                <a:cxn ang="0">
                  <a:pos x="49" y="14"/>
                </a:cxn>
                <a:cxn ang="0">
                  <a:pos x="44" y="12"/>
                </a:cxn>
                <a:cxn ang="0">
                  <a:pos x="42" y="11"/>
                </a:cxn>
                <a:cxn ang="0">
                  <a:pos x="38" y="9"/>
                </a:cxn>
                <a:cxn ang="0">
                  <a:pos x="35" y="11"/>
                </a:cxn>
                <a:cxn ang="0">
                  <a:pos x="35" y="6"/>
                </a:cxn>
                <a:cxn ang="0">
                  <a:pos x="29" y="5"/>
                </a:cxn>
                <a:cxn ang="0">
                  <a:pos x="23" y="3"/>
                </a:cxn>
                <a:cxn ang="0">
                  <a:pos x="18" y="1"/>
                </a:cxn>
                <a:cxn ang="0">
                  <a:pos x="15" y="5"/>
                </a:cxn>
                <a:cxn ang="0">
                  <a:pos x="4" y="9"/>
                </a:cxn>
                <a:cxn ang="0">
                  <a:pos x="1" y="14"/>
                </a:cxn>
                <a:cxn ang="0">
                  <a:pos x="6" y="20"/>
                </a:cxn>
                <a:cxn ang="0">
                  <a:pos x="13" y="28"/>
                </a:cxn>
              </a:cxnLst>
              <a:rect l="0" t="0" r="r" b="b"/>
              <a:pathLst>
                <a:path w="53" h="31">
                  <a:moveTo>
                    <a:pt x="13" y="28"/>
                  </a:moveTo>
                  <a:cubicBezTo>
                    <a:pt x="17" y="29"/>
                    <a:pt x="13" y="31"/>
                    <a:pt x="17" y="31"/>
                  </a:cubicBezTo>
                  <a:cubicBezTo>
                    <a:pt x="20" y="29"/>
                    <a:pt x="23" y="29"/>
                    <a:pt x="23" y="26"/>
                  </a:cubicBezTo>
                  <a:cubicBezTo>
                    <a:pt x="23" y="23"/>
                    <a:pt x="24" y="26"/>
                    <a:pt x="26" y="26"/>
                  </a:cubicBezTo>
                  <a:cubicBezTo>
                    <a:pt x="27" y="26"/>
                    <a:pt x="32" y="29"/>
                    <a:pt x="33" y="28"/>
                  </a:cubicBezTo>
                  <a:cubicBezTo>
                    <a:pt x="36" y="26"/>
                    <a:pt x="38" y="29"/>
                    <a:pt x="39" y="29"/>
                  </a:cubicBezTo>
                  <a:cubicBezTo>
                    <a:pt x="41" y="25"/>
                    <a:pt x="42" y="28"/>
                    <a:pt x="46" y="26"/>
                  </a:cubicBezTo>
                  <a:cubicBezTo>
                    <a:pt x="50" y="25"/>
                    <a:pt x="46" y="23"/>
                    <a:pt x="53" y="20"/>
                  </a:cubicBezTo>
                  <a:cubicBezTo>
                    <a:pt x="53" y="17"/>
                    <a:pt x="52" y="15"/>
                    <a:pt x="49" y="14"/>
                  </a:cubicBezTo>
                  <a:cubicBezTo>
                    <a:pt x="46" y="12"/>
                    <a:pt x="47" y="14"/>
                    <a:pt x="44" y="12"/>
                  </a:cubicBezTo>
                  <a:cubicBezTo>
                    <a:pt x="42" y="11"/>
                    <a:pt x="46" y="11"/>
                    <a:pt x="42" y="11"/>
                  </a:cubicBezTo>
                  <a:cubicBezTo>
                    <a:pt x="39" y="9"/>
                    <a:pt x="36" y="8"/>
                    <a:pt x="38" y="9"/>
                  </a:cubicBezTo>
                  <a:cubicBezTo>
                    <a:pt x="39" y="11"/>
                    <a:pt x="38" y="14"/>
                    <a:pt x="35" y="11"/>
                  </a:cubicBezTo>
                  <a:cubicBezTo>
                    <a:pt x="30" y="6"/>
                    <a:pt x="35" y="8"/>
                    <a:pt x="35" y="6"/>
                  </a:cubicBezTo>
                  <a:cubicBezTo>
                    <a:pt x="33" y="5"/>
                    <a:pt x="33" y="6"/>
                    <a:pt x="29" y="5"/>
                  </a:cubicBezTo>
                  <a:cubicBezTo>
                    <a:pt x="23" y="1"/>
                    <a:pt x="26" y="0"/>
                    <a:pt x="23" y="3"/>
                  </a:cubicBezTo>
                  <a:cubicBezTo>
                    <a:pt x="20" y="5"/>
                    <a:pt x="18" y="1"/>
                    <a:pt x="18" y="1"/>
                  </a:cubicBezTo>
                  <a:cubicBezTo>
                    <a:pt x="17" y="1"/>
                    <a:pt x="20" y="3"/>
                    <a:pt x="15" y="5"/>
                  </a:cubicBezTo>
                  <a:cubicBezTo>
                    <a:pt x="10" y="5"/>
                    <a:pt x="9" y="8"/>
                    <a:pt x="4" y="9"/>
                  </a:cubicBezTo>
                  <a:cubicBezTo>
                    <a:pt x="1" y="11"/>
                    <a:pt x="0" y="11"/>
                    <a:pt x="1" y="14"/>
                  </a:cubicBezTo>
                  <a:cubicBezTo>
                    <a:pt x="4" y="17"/>
                    <a:pt x="0" y="19"/>
                    <a:pt x="6" y="20"/>
                  </a:cubicBezTo>
                  <a:cubicBezTo>
                    <a:pt x="9" y="22"/>
                    <a:pt x="9" y="25"/>
                    <a:pt x="13" y="28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53" name="Freeform 174">
              <a:extLst>
                <a:ext uri="{FF2B5EF4-FFF2-40B4-BE49-F238E27FC236}">
                  <a16:creationId xmlns:a16="http://schemas.microsoft.com/office/drawing/2014/main" id="{DD4164E9-3871-D95F-C510-40024DD098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85308" y="3332025"/>
              <a:ext cx="155858" cy="112473"/>
            </a:xfrm>
            <a:custGeom>
              <a:avLst/>
              <a:gdLst/>
              <a:ahLst/>
              <a:cxnLst>
                <a:cxn ang="0">
                  <a:pos x="1" y="22"/>
                </a:cxn>
                <a:cxn ang="0">
                  <a:pos x="4" y="27"/>
                </a:cxn>
                <a:cxn ang="0">
                  <a:pos x="6" y="33"/>
                </a:cxn>
                <a:cxn ang="0">
                  <a:pos x="10" y="33"/>
                </a:cxn>
                <a:cxn ang="0">
                  <a:pos x="16" y="31"/>
                </a:cxn>
                <a:cxn ang="0">
                  <a:pos x="19" y="31"/>
                </a:cxn>
                <a:cxn ang="0">
                  <a:pos x="23" y="33"/>
                </a:cxn>
                <a:cxn ang="0">
                  <a:pos x="29" y="33"/>
                </a:cxn>
                <a:cxn ang="0">
                  <a:pos x="32" y="28"/>
                </a:cxn>
                <a:cxn ang="0">
                  <a:pos x="35" y="27"/>
                </a:cxn>
                <a:cxn ang="0">
                  <a:pos x="38" y="25"/>
                </a:cxn>
                <a:cxn ang="0">
                  <a:pos x="42" y="27"/>
                </a:cxn>
                <a:cxn ang="0">
                  <a:pos x="45" y="25"/>
                </a:cxn>
                <a:cxn ang="0">
                  <a:pos x="44" y="22"/>
                </a:cxn>
                <a:cxn ang="0">
                  <a:pos x="42" y="19"/>
                </a:cxn>
                <a:cxn ang="0">
                  <a:pos x="45" y="11"/>
                </a:cxn>
                <a:cxn ang="0">
                  <a:pos x="50" y="7"/>
                </a:cxn>
                <a:cxn ang="0">
                  <a:pos x="45" y="4"/>
                </a:cxn>
                <a:cxn ang="0">
                  <a:pos x="39" y="2"/>
                </a:cxn>
                <a:cxn ang="0">
                  <a:pos x="29" y="5"/>
                </a:cxn>
                <a:cxn ang="0">
                  <a:pos x="19" y="5"/>
                </a:cxn>
                <a:cxn ang="0">
                  <a:pos x="12" y="5"/>
                </a:cxn>
                <a:cxn ang="0">
                  <a:pos x="4" y="5"/>
                </a:cxn>
                <a:cxn ang="0">
                  <a:pos x="3" y="0"/>
                </a:cxn>
                <a:cxn ang="0">
                  <a:pos x="1" y="7"/>
                </a:cxn>
                <a:cxn ang="0">
                  <a:pos x="4" y="14"/>
                </a:cxn>
                <a:cxn ang="0">
                  <a:pos x="1" y="17"/>
                </a:cxn>
                <a:cxn ang="0">
                  <a:pos x="1" y="22"/>
                </a:cxn>
              </a:cxnLst>
              <a:rect l="0" t="0" r="r" b="b"/>
              <a:pathLst>
                <a:path w="50" h="36">
                  <a:moveTo>
                    <a:pt x="1" y="22"/>
                  </a:moveTo>
                  <a:cubicBezTo>
                    <a:pt x="1" y="25"/>
                    <a:pt x="4" y="24"/>
                    <a:pt x="4" y="27"/>
                  </a:cubicBezTo>
                  <a:cubicBezTo>
                    <a:pt x="6" y="30"/>
                    <a:pt x="4" y="31"/>
                    <a:pt x="6" y="33"/>
                  </a:cubicBezTo>
                  <a:cubicBezTo>
                    <a:pt x="7" y="34"/>
                    <a:pt x="6" y="31"/>
                    <a:pt x="10" y="33"/>
                  </a:cubicBezTo>
                  <a:cubicBezTo>
                    <a:pt x="13" y="33"/>
                    <a:pt x="15" y="30"/>
                    <a:pt x="16" y="31"/>
                  </a:cubicBezTo>
                  <a:cubicBezTo>
                    <a:pt x="18" y="31"/>
                    <a:pt x="16" y="28"/>
                    <a:pt x="19" y="31"/>
                  </a:cubicBezTo>
                  <a:cubicBezTo>
                    <a:pt x="21" y="34"/>
                    <a:pt x="21" y="30"/>
                    <a:pt x="23" y="33"/>
                  </a:cubicBezTo>
                  <a:cubicBezTo>
                    <a:pt x="24" y="36"/>
                    <a:pt x="26" y="33"/>
                    <a:pt x="29" y="33"/>
                  </a:cubicBezTo>
                  <a:cubicBezTo>
                    <a:pt x="33" y="33"/>
                    <a:pt x="27" y="27"/>
                    <a:pt x="32" y="28"/>
                  </a:cubicBezTo>
                  <a:cubicBezTo>
                    <a:pt x="32" y="27"/>
                    <a:pt x="33" y="28"/>
                    <a:pt x="35" y="27"/>
                  </a:cubicBezTo>
                  <a:cubicBezTo>
                    <a:pt x="35" y="24"/>
                    <a:pt x="36" y="27"/>
                    <a:pt x="38" y="25"/>
                  </a:cubicBezTo>
                  <a:cubicBezTo>
                    <a:pt x="39" y="24"/>
                    <a:pt x="41" y="27"/>
                    <a:pt x="42" y="27"/>
                  </a:cubicBezTo>
                  <a:cubicBezTo>
                    <a:pt x="44" y="27"/>
                    <a:pt x="44" y="25"/>
                    <a:pt x="45" y="25"/>
                  </a:cubicBezTo>
                  <a:cubicBezTo>
                    <a:pt x="45" y="24"/>
                    <a:pt x="42" y="25"/>
                    <a:pt x="44" y="22"/>
                  </a:cubicBezTo>
                  <a:cubicBezTo>
                    <a:pt x="44" y="19"/>
                    <a:pt x="38" y="22"/>
                    <a:pt x="42" y="19"/>
                  </a:cubicBezTo>
                  <a:cubicBezTo>
                    <a:pt x="47" y="16"/>
                    <a:pt x="42" y="16"/>
                    <a:pt x="45" y="11"/>
                  </a:cubicBezTo>
                  <a:cubicBezTo>
                    <a:pt x="47" y="7"/>
                    <a:pt x="50" y="14"/>
                    <a:pt x="50" y="7"/>
                  </a:cubicBezTo>
                  <a:cubicBezTo>
                    <a:pt x="49" y="5"/>
                    <a:pt x="47" y="7"/>
                    <a:pt x="45" y="4"/>
                  </a:cubicBezTo>
                  <a:cubicBezTo>
                    <a:pt x="42" y="0"/>
                    <a:pt x="41" y="5"/>
                    <a:pt x="39" y="2"/>
                  </a:cubicBezTo>
                  <a:cubicBezTo>
                    <a:pt x="38" y="0"/>
                    <a:pt x="32" y="4"/>
                    <a:pt x="29" y="5"/>
                  </a:cubicBezTo>
                  <a:cubicBezTo>
                    <a:pt x="24" y="8"/>
                    <a:pt x="21" y="7"/>
                    <a:pt x="19" y="5"/>
                  </a:cubicBezTo>
                  <a:cubicBezTo>
                    <a:pt x="16" y="5"/>
                    <a:pt x="15" y="8"/>
                    <a:pt x="12" y="5"/>
                  </a:cubicBezTo>
                  <a:cubicBezTo>
                    <a:pt x="7" y="4"/>
                    <a:pt x="7" y="7"/>
                    <a:pt x="4" y="5"/>
                  </a:cubicBezTo>
                  <a:cubicBezTo>
                    <a:pt x="3" y="4"/>
                    <a:pt x="9" y="4"/>
                    <a:pt x="3" y="0"/>
                  </a:cubicBezTo>
                  <a:cubicBezTo>
                    <a:pt x="3" y="4"/>
                    <a:pt x="0" y="2"/>
                    <a:pt x="1" y="7"/>
                  </a:cubicBezTo>
                  <a:cubicBezTo>
                    <a:pt x="3" y="13"/>
                    <a:pt x="7" y="11"/>
                    <a:pt x="4" y="14"/>
                  </a:cubicBezTo>
                  <a:cubicBezTo>
                    <a:pt x="3" y="17"/>
                    <a:pt x="1" y="14"/>
                    <a:pt x="1" y="17"/>
                  </a:cubicBezTo>
                  <a:cubicBezTo>
                    <a:pt x="1" y="19"/>
                    <a:pt x="4" y="21"/>
                    <a:pt x="1" y="22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54" name="Freeform 175">
              <a:extLst>
                <a:ext uri="{FF2B5EF4-FFF2-40B4-BE49-F238E27FC236}">
                  <a16:creationId xmlns:a16="http://schemas.microsoft.com/office/drawing/2014/main" id="{6F5750CD-0C7C-7B02-FB93-0E74BB0AD5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96936" y="3266148"/>
              <a:ext cx="109261" cy="149428"/>
            </a:xfrm>
            <a:custGeom>
              <a:avLst/>
              <a:gdLst/>
              <a:ahLst/>
              <a:cxnLst>
                <a:cxn ang="0">
                  <a:pos x="11" y="40"/>
                </a:cxn>
                <a:cxn ang="0">
                  <a:pos x="12" y="43"/>
                </a:cxn>
                <a:cxn ang="0">
                  <a:pos x="14" y="48"/>
                </a:cxn>
                <a:cxn ang="0">
                  <a:pos x="17" y="45"/>
                </a:cxn>
                <a:cxn ang="0">
                  <a:pos x="23" y="43"/>
                </a:cxn>
                <a:cxn ang="0">
                  <a:pos x="29" y="43"/>
                </a:cxn>
                <a:cxn ang="0">
                  <a:pos x="29" y="39"/>
                </a:cxn>
                <a:cxn ang="0">
                  <a:pos x="32" y="36"/>
                </a:cxn>
                <a:cxn ang="0">
                  <a:pos x="29" y="28"/>
                </a:cxn>
                <a:cxn ang="0">
                  <a:pos x="31" y="22"/>
                </a:cxn>
                <a:cxn ang="0">
                  <a:pos x="29" y="17"/>
                </a:cxn>
                <a:cxn ang="0">
                  <a:pos x="26" y="19"/>
                </a:cxn>
                <a:cxn ang="0">
                  <a:pos x="21" y="12"/>
                </a:cxn>
                <a:cxn ang="0">
                  <a:pos x="15" y="6"/>
                </a:cxn>
                <a:cxn ang="0">
                  <a:pos x="12" y="0"/>
                </a:cxn>
                <a:cxn ang="0">
                  <a:pos x="6" y="0"/>
                </a:cxn>
                <a:cxn ang="0">
                  <a:pos x="0" y="3"/>
                </a:cxn>
                <a:cxn ang="0">
                  <a:pos x="2" y="9"/>
                </a:cxn>
                <a:cxn ang="0">
                  <a:pos x="5" y="11"/>
                </a:cxn>
                <a:cxn ang="0">
                  <a:pos x="2" y="14"/>
                </a:cxn>
                <a:cxn ang="0">
                  <a:pos x="3" y="19"/>
                </a:cxn>
                <a:cxn ang="0">
                  <a:pos x="6" y="25"/>
                </a:cxn>
                <a:cxn ang="0">
                  <a:pos x="3" y="25"/>
                </a:cxn>
                <a:cxn ang="0">
                  <a:pos x="6" y="29"/>
                </a:cxn>
                <a:cxn ang="0">
                  <a:pos x="3" y="29"/>
                </a:cxn>
                <a:cxn ang="0">
                  <a:pos x="12" y="37"/>
                </a:cxn>
                <a:cxn ang="0">
                  <a:pos x="9" y="39"/>
                </a:cxn>
                <a:cxn ang="0">
                  <a:pos x="11" y="40"/>
                </a:cxn>
              </a:cxnLst>
              <a:rect l="0" t="0" r="r" b="b"/>
              <a:pathLst>
                <a:path w="35" h="48">
                  <a:moveTo>
                    <a:pt x="11" y="40"/>
                  </a:moveTo>
                  <a:cubicBezTo>
                    <a:pt x="12" y="42"/>
                    <a:pt x="11" y="43"/>
                    <a:pt x="12" y="43"/>
                  </a:cubicBezTo>
                  <a:cubicBezTo>
                    <a:pt x="15" y="45"/>
                    <a:pt x="14" y="46"/>
                    <a:pt x="14" y="48"/>
                  </a:cubicBezTo>
                  <a:cubicBezTo>
                    <a:pt x="17" y="48"/>
                    <a:pt x="14" y="46"/>
                    <a:pt x="17" y="45"/>
                  </a:cubicBezTo>
                  <a:cubicBezTo>
                    <a:pt x="21" y="45"/>
                    <a:pt x="20" y="43"/>
                    <a:pt x="23" y="43"/>
                  </a:cubicBezTo>
                  <a:cubicBezTo>
                    <a:pt x="26" y="45"/>
                    <a:pt x="26" y="42"/>
                    <a:pt x="29" y="43"/>
                  </a:cubicBezTo>
                  <a:cubicBezTo>
                    <a:pt x="32" y="42"/>
                    <a:pt x="29" y="40"/>
                    <a:pt x="29" y="39"/>
                  </a:cubicBezTo>
                  <a:cubicBezTo>
                    <a:pt x="29" y="36"/>
                    <a:pt x="31" y="39"/>
                    <a:pt x="32" y="36"/>
                  </a:cubicBezTo>
                  <a:cubicBezTo>
                    <a:pt x="35" y="32"/>
                    <a:pt x="31" y="34"/>
                    <a:pt x="29" y="28"/>
                  </a:cubicBezTo>
                  <a:cubicBezTo>
                    <a:pt x="28" y="23"/>
                    <a:pt x="31" y="25"/>
                    <a:pt x="31" y="22"/>
                  </a:cubicBezTo>
                  <a:cubicBezTo>
                    <a:pt x="26" y="17"/>
                    <a:pt x="35" y="20"/>
                    <a:pt x="29" y="17"/>
                  </a:cubicBezTo>
                  <a:cubicBezTo>
                    <a:pt x="28" y="15"/>
                    <a:pt x="29" y="19"/>
                    <a:pt x="26" y="19"/>
                  </a:cubicBezTo>
                  <a:cubicBezTo>
                    <a:pt x="21" y="17"/>
                    <a:pt x="20" y="14"/>
                    <a:pt x="21" y="12"/>
                  </a:cubicBezTo>
                  <a:cubicBezTo>
                    <a:pt x="23" y="9"/>
                    <a:pt x="15" y="11"/>
                    <a:pt x="15" y="6"/>
                  </a:cubicBezTo>
                  <a:cubicBezTo>
                    <a:pt x="17" y="3"/>
                    <a:pt x="14" y="3"/>
                    <a:pt x="12" y="0"/>
                  </a:cubicBezTo>
                  <a:cubicBezTo>
                    <a:pt x="9" y="0"/>
                    <a:pt x="8" y="0"/>
                    <a:pt x="6" y="0"/>
                  </a:cubicBezTo>
                  <a:cubicBezTo>
                    <a:pt x="5" y="0"/>
                    <a:pt x="5" y="1"/>
                    <a:pt x="0" y="3"/>
                  </a:cubicBezTo>
                  <a:cubicBezTo>
                    <a:pt x="2" y="5"/>
                    <a:pt x="2" y="8"/>
                    <a:pt x="2" y="9"/>
                  </a:cubicBezTo>
                  <a:cubicBezTo>
                    <a:pt x="5" y="11"/>
                    <a:pt x="6" y="9"/>
                    <a:pt x="5" y="11"/>
                  </a:cubicBezTo>
                  <a:cubicBezTo>
                    <a:pt x="5" y="12"/>
                    <a:pt x="3" y="11"/>
                    <a:pt x="2" y="14"/>
                  </a:cubicBezTo>
                  <a:cubicBezTo>
                    <a:pt x="6" y="14"/>
                    <a:pt x="5" y="14"/>
                    <a:pt x="3" y="19"/>
                  </a:cubicBezTo>
                  <a:cubicBezTo>
                    <a:pt x="2" y="22"/>
                    <a:pt x="8" y="23"/>
                    <a:pt x="6" y="25"/>
                  </a:cubicBezTo>
                  <a:cubicBezTo>
                    <a:pt x="5" y="26"/>
                    <a:pt x="5" y="23"/>
                    <a:pt x="3" y="25"/>
                  </a:cubicBezTo>
                  <a:cubicBezTo>
                    <a:pt x="3" y="25"/>
                    <a:pt x="6" y="28"/>
                    <a:pt x="6" y="29"/>
                  </a:cubicBezTo>
                  <a:cubicBezTo>
                    <a:pt x="5" y="29"/>
                    <a:pt x="5" y="28"/>
                    <a:pt x="3" y="29"/>
                  </a:cubicBezTo>
                  <a:cubicBezTo>
                    <a:pt x="6" y="34"/>
                    <a:pt x="12" y="36"/>
                    <a:pt x="12" y="37"/>
                  </a:cubicBezTo>
                  <a:cubicBezTo>
                    <a:pt x="12" y="39"/>
                    <a:pt x="8" y="39"/>
                    <a:pt x="9" y="39"/>
                  </a:cubicBezTo>
                  <a:cubicBezTo>
                    <a:pt x="11" y="40"/>
                    <a:pt x="9" y="40"/>
                    <a:pt x="11" y="40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55" name="Freeform 176">
              <a:extLst>
                <a:ext uri="{FF2B5EF4-FFF2-40B4-BE49-F238E27FC236}">
                  <a16:creationId xmlns:a16="http://schemas.microsoft.com/office/drawing/2014/main" id="{24E62AB6-0A38-7651-24DB-05C886E359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38711" y="3397902"/>
              <a:ext cx="64271" cy="56236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1" y="9"/>
                </a:cxn>
                <a:cxn ang="0">
                  <a:pos x="1" y="12"/>
                </a:cxn>
                <a:cxn ang="0">
                  <a:pos x="4" y="17"/>
                </a:cxn>
                <a:cxn ang="0">
                  <a:pos x="4" y="18"/>
                </a:cxn>
                <a:cxn ang="0">
                  <a:pos x="15" y="14"/>
                </a:cxn>
                <a:cxn ang="0">
                  <a:pos x="21" y="12"/>
                </a:cxn>
                <a:cxn ang="0">
                  <a:pos x="19" y="6"/>
                </a:cxn>
                <a:cxn ang="0">
                  <a:pos x="16" y="2"/>
                </a:cxn>
                <a:cxn ang="0">
                  <a:pos x="10" y="2"/>
                </a:cxn>
                <a:cxn ang="0">
                  <a:pos x="4" y="3"/>
                </a:cxn>
                <a:cxn ang="0">
                  <a:pos x="1" y="6"/>
                </a:cxn>
              </a:cxnLst>
              <a:rect l="0" t="0" r="r" b="b"/>
              <a:pathLst>
                <a:path w="21" h="18">
                  <a:moveTo>
                    <a:pt x="1" y="6"/>
                  </a:moveTo>
                  <a:cubicBezTo>
                    <a:pt x="1" y="9"/>
                    <a:pt x="1" y="9"/>
                    <a:pt x="1" y="9"/>
                  </a:cubicBezTo>
                  <a:cubicBezTo>
                    <a:pt x="0" y="11"/>
                    <a:pt x="1" y="11"/>
                    <a:pt x="1" y="12"/>
                  </a:cubicBezTo>
                  <a:cubicBezTo>
                    <a:pt x="1" y="14"/>
                    <a:pt x="3" y="17"/>
                    <a:pt x="4" y="17"/>
                  </a:cubicBezTo>
                  <a:cubicBezTo>
                    <a:pt x="4" y="15"/>
                    <a:pt x="4" y="17"/>
                    <a:pt x="4" y="18"/>
                  </a:cubicBezTo>
                  <a:cubicBezTo>
                    <a:pt x="16" y="17"/>
                    <a:pt x="10" y="12"/>
                    <a:pt x="15" y="14"/>
                  </a:cubicBezTo>
                  <a:cubicBezTo>
                    <a:pt x="19" y="17"/>
                    <a:pt x="18" y="12"/>
                    <a:pt x="21" y="12"/>
                  </a:cubicBezTo>
                  <a:cubicBezTo>
                    <a:pt x="19" y="11"/>
                    <a:pt x="21" y="9"/>
                    <a:pt x="19" y="6"/>
                  </a:cubicBezTo>
                  <a:cubicBezTo>
                    <a:pt x="19" y="3"/>
                    <a:pt x="16" y="5"/>
                    <a:pt x="16" y="2"/>
                  </a:cubicBezTo>
                  <a:cubicBezTo>
                    <a:pt x="13" y="0"/>
                    <a:pt x="13" y="3"/>
                    <a:pt x="10" y="2"/>
                  </a:cubicBezTo>
                  <a:cubicBezTo>
                    <a:pt x="7" y="2"/>
                    <a:pt x="9" y="3"/>
                    <a:pt x="4" y="3"/>
                  </a:cubicBezTo>
                  <a:cubicBezTo>
                    <a:pt x="1" y="5"/>
                    <a:pt x="4" y="6"/>
                    <a:pt x="1" y="6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56" name="Freeform 177">
              <a:extLst>
                <a:ext uri="{FF2B5EF4-FFF2-40B4-BE49-F238E27FC236}">
                  <a16:creationId xmlns:a16="http://schemas.microsoft.com/office/drawing/2014/main" id="{5BFF70AF-F963-4D89-7AC2-0B6853B5FA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09789" y="3381834"/>
              <a:ext cx="43383" cy="112473"/>
            </a:xfrm>
            <a:custGeom>
              <a:avLst/>
              <a:gdLst/>
              <a:ahLst/>
              <a:cxnLst>
                <a:cxn ang="0">
                  <a:pos x="1" y="11"/>
                </a:cxn>
                <a:cxn ang="0">
                  <a:pos x="1" y="21"/>
                </a:cxn>
                <a:cxn ang="0">
                  <a:pos x="1" y="27"/>
                </a:cxn>
                <a:cxn ang="0">
                  <a:pos x="3" y="30"/>
                </a:cxn>
                <a:cxn ang="0">
                  <a:pos x="7" y="36"/>
                </a:cxn>
                <a:cxn ang="0">
                  <a:pos x="8" y="34"/>
                </a:cxn>
                <a:cxn ang="0">
                  <a:pos x="8" y="33"/>
                </a:cxn>
                <a:cxn ang="0">
                  <a:pos x="11" y="30"/>
                </a:cxn>
                <a:cxn ang="0">
                  <a:pos x="14" y="27"/>
                </a:cxn>
                <a:cxn ang="0">
                  <a:pos x="13" y="24"/>
                </a:cxn>
                <a:cxn ang="0">
                  <a:pos x="13" y="22"/>
                </a:cxn>
                <a:cxn ang="0">
                  <a:pos x="10" y="17"/>
                </a:cxn>
                <a:cxn ang="0">
                  <a:pos x="10" y="14"/>
                </a:cxn>
                <a:cxn ang="0">
                  <a:pos x="10" y="11"/>
                </a:cxn>
                <a:cxn ang="0">
                  <a:pos x="8" y="7"/>
                </a:cxn>
                <a:cxn ang="0">
                  <a:pos x="7" y="4"/>
                </a:cxn>
                <a:cxn ang="0">
                  <a:pos x="4" y="4"/>
                </a:cxn>
                <a:cxn ang="0">
                  <a:pos x="1" y="7"/>
                </a:cxn>
                <a:cxn ang="0">
                  <a:pos x="1" y="11"/>
                </a:cxn>
              </a:cxnLst>
              <a:rect l="0" t="0" r="r" b="b"/>
              <a:pathLst>
                <a:path w="14" h="36">
                  <a:moveTo>
                    <a:pt x="1" y="11"/>
                  </a:moveTo>
                  <a:cubicBezTo>
                    <a:pt x="4" y="11"/>
                    <a:pt x="1" y="21"/>
                    <a:pt x="1" y="21"/>
                  </a:cubicBezTo>
                  <a:cubicBezTo>
                    <a:pt x="3" y="22"/>
                    <a:pt x="0" y="22"/>
                    <a:pt x="1" y="27"/>
                  </a:cubicBezTo>
                  <a:cubicBezTo>
                    <a:pt x="3" y="30"/>
                    <a:pt x="0" y="27"/>
                    <a:pt x="3" y="30"/>
                  </a:cubicBezTo>
                  <a:cubicBezTo>
                    <a:pt x="7" y="33"/>
                    <a:pt x="4" y="34"/>
                    <a:pt x="7" y="36"/>
                  </a:cubicBezTo>
                  <a:cubicBezTo>
                    <a:pt x="7" y="36"/>
                    <a:pt x="8" y="36"/>
                    <a:pt x="8" y="3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1"/>
                    <a:pt x="11" y="33"/>
                    <a:pt x="11" y="30"/>
                  </a:cubicBezTo>
                  <a:cubicBezTo>
                    <a:pt x="11" y="25"/>
                    <a:pt x="13" y="28"/>
                    <a:pt x="14" y="27"/>
                  </a:cubicBezTo>
                  <a:cubicBezTo>
                    <a:pt x="14" y="24"/>
                    <a:pt x="13" y="24"/>
                    <a:pt x="13" y="24"/>
                  </a:cubicBezTo>
                  <a:cubicBezTo>
                    <a:pt x="13" y="22"/>
                    <a:pt x="13" y="21"/>
                    <a:pt x="13" y="22"/>
                  </a:cubicBezTo>
                  <a:cubicBezTo>
                    <a:pt x="11" y="22"/>
                    <a:pt x="10" y="19"/>
                    <a:pt x="10" y="17"/>
                  </a:cubicBezTo>
                  <a:cubicBezTo>
                    <a:pt x="10" y="16"/>
                    <a:pt x="8" y="16"/>
                    <a:pt x="10" y="14"/>
                  </a:cubicBezTo>
                  <a:cubicBezTo>
                    <a:pt x="10" y="14"/>
                    <a:pt x="10" y="14"/>
                    <a:pt x="10" y="11"/>
                  </a:cubicBezTo>
                  <a:cubicBezTo>
                    <a:pt x="10" y="10"/>
                    <a:pt x="11" y="8"/>
                    <a:pt x="8" y="7"/>
                  </a:cubicBezTo>
                  <a:cubicBezTo>
                    <a:pt x="7" y="7"/>
                    <a:pt x="8" y="5"/>
                    <a:pt x="7" y="4"/>
                  </a:cubicBezTo>
                  <a:cubicBezTo>
                    <a:pt x="4" y="5"/>
                    <a:pt x="4" y="5"/>
                    <a:pt x="4" y="4"/>
                  </a:cubicBezTo>
                  <a:cubicBezTo>
                    <a:pt x="4" y="0"/>
                    <a:pt x="3" y="5"/>
                    <a:pt x="1" y="7"/>
                  </a:cubicBezTo>
                  <a:cubicBezTo>
                    <a:pt x="0" y="10"/>
                    <a:pt x="3" y="8"/>
                    <a:pt x="1" y="11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57" name="Freeform 178">
              <a:extLst>
                <a:ext uri="{FF2B5EF4-FFF2-40B4-BE49-F238E27FC236}">
                  <a16:creationId xmlns:a16="http://schemas.microsoft.com/office/drawing/2014/main" id="{CEFE4058-0BD1-924B-3CC0-B6E13B030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32664" y="3172957"/>
              <a:ext cx="165499" cy="106045"/>
            </a:xfrm>
            <a:custGeom>
              <a:avLst/>
              <a:gdLst/>
              <a:ahLst/>
              <a:cxnLst>
                <a:cxn ang="0">
                  <a:pos x="21" y="33"/>
                </a:cxn>
                <a:cxn ang="0">
                  <a:pos x="27" y="30"/>
                </a:cxn>
                <a:cxn ang="0">
                  <a:pos x="33" y="30"/>
                </a:cxn>
                <a:cxn ang="0">
                  <a:pos x="36" y="30"/>
                </a:cxn>
                <a:cxn ang="0">
                  <a:pos x="36" y="28"/>
                </a:cxn>
                <a:cxn ang="0">
                  <a:pos x="39" y="28"/>
                </a:cxn>
                <a:cxn ang="0">
                  <a:pos x="44" y="22"/>
                </a:cxn>
                <a:cxn ang="0">
                  <a:pos x="46" y="17"/>
                </a:cxn>
                <a:cxn ang="0">
                  <a:pos x="49" y="11"/>
                </a:cxn>
                <a:cxn ang="0">
                  <a:pos x="53" y="8"/>
                </a:cxn>
                <a:cxn ang="0">
                  <a:pos x="53" y="8"/>
                </a:cxn>
                <a:cxn ang="0">
                  <a:pos x="52" y="7"/>
                </a:cxn>
                <a:cxn ang="0">
                  <a:pos x="47" y="4"/>
                </a:cxn>
                <a:cxn ang="0">
                  <a:pos x="44" y="4"/>
                </a:cxn>
                <a:cxn ang="0">
                  <a:pos x="41" y="2"/>
                </a:cxn>
                <a:cxn ang="0">
                  <a:pos x="36" y="2"/>
                </a:cxn>
                <a:cxn ang="0">
                  <a:pos x="33" y="5"/>
                </a:cxn>
                <a:cxn ang="0">
                  <a:pos x="30" y="7"/>
                </a:cxn>
                <a:cxn ang="0">
                  <a:pos x="27" y="7"/>
                </a:cxn>
                <a:cxn ang="0">
                  <a:pos x="21" y="8"/>
                </a:cxn>
                <a:cxn ang="0">
                  <a:pos x="21" y="10"/>
                </a:cxn>
                <a:cxn ang="0">
                  <a:pos x="15" y="11"/>
                </a:cxn>
                <a:cxn ang="0">
                  <a:pos x="8" y="8"/>
                </a:cxn>
                <a:cxn ang="0">
                  <a:pos x="8" y="11"/>
                </a:cxn>
                <a:cxn ang="0">
                  <a:pos x="3" y="11"/>
                </a:cxn>
                <a:cxn ang="0">
                  <a:pos x="5" y="14"/>
                </a:cxn>
                <a:cxn ang="0">
                  <a:pos x="3" y="16"/>
                </a:cxn>
                <a:cxn ang="0">
                  <a:pos x="3" y="19"/>
                </a:cxn>
                <a:cxn ang="0">
                  <a:pos x="0" y="20"/>
                </a:cxn>
                <a:cxn ang="0">
                  <a:pos x="3" y="25"/>
                </a:cxn>
                <a:cxn ang="0">
                  <a:pos x="11" y="31"/>
                </a:cxn>
                <a:cxn ang="0">
                  <a:pos x="18" y="34"/>
                </a:cxn>
                <a:cxn ang="0">
                  <a:pos x="21" y="33"/>
                </a:cxn>
              </a:cxnLst>
              <a:rect l="0" t="0" r="r" b="b"/>
              <a:pathLst>
                <a:path w="53" h="34">
                  <a:moveTo>
                    <a:pt x="21" y="33"/>
                  </a:moveTo>
                  <a:cubicBezTo>
                    <a:pt x="26" y="31"/>
                    <a:pt x="26" y="30"/>
                    <a:pt x="27" y="30"/>
                  </a:cubicBezTo>
                  <a:cubicBezTo>
                    <a:pt x="29" y="30"/>
                    <a:pt x="30" y="30"/>
                    <a:pt x="33" y="30"/>
                  </a:cubicBezTo>
                  <a:cubicBezTo>
                    <a:pt x="33" y="30"/>
                    <a:pt x="35" y="30"/>
                    <a:pt x="36" y="30"/>
                  </a:cubicBezTo>
                  <a:cubicBezTo>
                    <a:pt x="38" y="28"/>
                    <a:pt x="36" y="28"/>
                    <a:pt x="36" y="28"/>
                  </a:cubicBezTo>
                  <a:cubicBezTo>
                    <a:pt x="38" y="28"/>
                    <a:pt x="38" y="28"/>
                    <a:pt x="39" y="28"/>
                  </a:cubicBezTo>
                  <a:cubicBezTo>
                    <a:pt x="39" y="28"/>
                    <a:pt x="43" y="24"/>
                    <a:pt x="44" y="22"/>
                  </a:cubicBezTo>
                  <a:cubicBezTo>
                    <a:pt x="44" y="19"/>
                    <a:pt x="43" y="19"/>
                    <a:pt x="46" y="17"/>
                  </a:cubicBezTo>
                  <a:cubicBezTo>
                    <a:pt x="49" y="14"/>
                    <a:pt x="47" y="14"/>
                    <a:pt x="49" y="11"/>
                  </a:cubicBezTo>
                  <a:cubicBezTo>
                    <a:pt x="50" y="10"/>
                    <a:pt x="50" y="13"/>
                    <a:pt x="53" y="8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3" y="8"/>
                    <a:pt x="53" y="7"/>
                    <a:pt x="52" y="7"/>
                  </a:cubicBezTo>
                  <a:cubicBezTo>
                    <a:pt x="50" y="8"/>
                    <a:pt x="52" y="5"/>
                    <a:pt x="47" y="4"/>
                  </a:cubicBezTo>
                  <a:cubicBezTo>
                    <a:pt x="47" y="4"/>
                    <a:pt x="44" y="5"/>
                    <a:pt x="44" y="4"/>
                  </a:cubicBezTo>
                  <a:cubicBezTo>
                    <a:pt x="44" y="4"/>
                    <a:pt x="43" y="0"/>
                    <a:pt x="41" y="2"/>
                  </a:cubicBezTo>
                  <a:cubicBezTo>
                    <a:pt x="39" y="4"/>
                    <a:pt x="38" y="2"/>
                    <a:pt x="36" y="2"/>
                  </a:cubicBezTo>
                  <a:cubicBezTo>
                    <a:pt x="33" y="2"/>
                    <a:pt x="35" y="5"/>
                    <a:pt x="33" y="5"/>
                  </a:cubicBezTo>
                  <a:cubicBezTo>
                    <a:pt x="33" y="5"/>
                    <a:pt x="32" y="7"/>
                    <a:pt x="30" y="7"/>
                  </a:cubicBezTo>
                  <a:cubicBezTo>
                    <a:pt x="29" y="7"/>
                    <a:pt x="27" y="4"/>
                    <a:pt x="27" y="7"/>
                  </a:cubicBezTo>
                  <a:cubicBezTo>
                    <a:pt x="26" y="8"/>
                    <a:pt x="24" y="7"/>
                    <a:pt x="21" y="8"/>
                  </a:cubicBezTo>
                  <a:cubicBezTo>
                    <a:pt x="20" y="8"/>
                    <a:pt x="21" y="10"/>
                    <a:pt x="21" y="10"/>
                  </a:cubicBezTo>
                  <a:cubicBezTo>
                    <a:pt x="21" y="11"/>
                    <a:pt x="20" y="11"/>
                    <a:pt x="15" y="11"/>
                  </a:cubicBezTo>
                  <a:cubicBezTo>
                    <a:pt x="12" y="13"/>
                    <a:pt x="11" y="8"/>
                    <a:pt x="8" y="8"/>
                  </a:cubicBezTo>
                  <a:cubicBezTo>
                    <a:pt x="8" y="10"/>
                    <a:pt x="9" y="11"/>
                    <a:pt x="8" y="11"/>
                  </a:cubicBezTo>
                  <a:cubicBezTo>
                    <a:pt x="6" y="11"/>
                    <a:pt x="3" y="11"/>
                    <a:pt x="3" y="11"/>
                  </a:cubicBezTo>
                  <a:cubicBezTo>
                    <a:pt x="3" y="13"/>
                    <a:pt x="5" y="13"/>
                    <a:pt x="5" y="14"/>
                  </a:cubicBezTo>
                  <a:cubicBezTo>
                    <a:pt x="5" y="16"/>
                    <a:pt x="3" y="14"/>
                    <a:pt x="3" y="16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2" y="20"/>
                    <a:pt x="0" y="20"/>
                  </a:cubicBezTo>
                  <a:cubicBezTo>
                    <a:pt x="3" y="22"/>
                    <a:pt x="2" y="25"/>
                    <a:pt x="3" y="25"/>
                  </a:cubicBezTo>
                  <a:cubicBezTo>
                    <a:pt x="11" y="30"/>
                    <a:pt x="9" y="31"/>
                    <a:pt x="11" y="31"/>
                  </a:cubicBezTo>
                  <a:cubicBezTo>
                    <a:pt x="12" y="31"/>
                    <a:pt x="15" y="34"/>
                    <a:pt x="18" y="34"/>
                  </a:cubicBezTo>
                  <a:cubicBezTo>
                    <a:pt x="20" y="34"/>
                    <a:pt x="20" y="31"/>
                    <a:pt x="21" y="33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58" name="Freeform 179">
              <a:extLst>
                <a:ext uri="{FF2B5EF4-FFF2-40B4-BE49-F238E27FC236}">
                  <a16:creationId xmlns:a16="http://schemas.microsoft.com/office/drawing/2014/main" id="{51A83395-4C22-F648-B308-A4A00DC2A7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47125" y="3132788"/>
              <a:ext cx="147824" cy="77124"/>
            </a:xfrm>
            <a:custGeom>
              <a:avLst/>
              <a:gdLst/>
              <a:ahLst/>
              <a:cxnLst>
                <a:cxn ang="0">
                  <a:pos x="45" y="8"/>
                </a:cxn>
                <a:cxn ang="0">
                  <a:pos x="41" y="5"/>
                </a:cxn>
                <a:cxn ang="0">
                  <a:pos x="30" y="4"/>
                </a:cxn>
                <a:cxn ang="0">
                  <a:pos x="25" y="7"/>
                </a:cxn>
                <a:cxn ang="0">
                  <a:pos x="24" y="5"/>
                </a:cxn>
                <a:cxn ang="0">
                  <a:pos x="19" y="4"/>
                </a:cxn>
                <a:cxn ang="0">
                  <a:pos x="18" y="4"/>
                </a:cxn>
                <a:cxn ang="0">
                  <a:pos x="16" y="4"/>
                </a:cxn>
                <a:cxn ang="0">
                  <a:pos x="9" y="10"/>
                </a:cxn>
                <a:cxn ang="0">
                  <a:pos x="3" y="13"/>
                </a:cxn>
                <a:cxn ang="0">
                  <a:pos x="3" y="21"/>
                </a:cxn>
                <a:cxn ang="0">
                  <a:pos x="10" y="24"/>
                </a:cxn>
                <a:cxn ang="0">
                  <a:pos x="16" y="22"/>
                </a:cxn>
                <a:cxn ang="0">
                  <a:pos x="16" y="21"/>
                </a:cxn>
                <a:cxn ang="0">
                  <a:pos x="22" y="19"/>
                </a:cxn>
                <a:cxn ang="0">
                  <a:pos x="25" y="19"/>
                </a:cxn>
                <a:cxn ang="0">
                  <a:pos x="28" y="18"/>
                </a:cxn>
                <a:cxn ang="0">
                  <a:pos x="31" y="14"/>
                </a:cxn>
                <a:cxn ang="0">
                  <a:pos x="36" y="14"/>
                </a:cxn>
                <a:cxn ang="0">
                  <a:pos x="39" y="16"/>
                </a:cxn>
                <a:cxn ang="0">
                  <a:pos x="42" y="16"/>
                </a:cxn>
                <a:cxn ang="0">
                  <a:pos x="45" y="11"/>
                </a:cxn>
                <a:cxn ang="0">
                  <a:pos x="45" y="8"/>
                </a:cxn>
              </a:cxnLst>
              <a:rect l="0" t="0" r="r" b="b"/>
              <a:pathLst>
                <a:path w="47" h="25">
                  <a:moveTo>
                    <a:pt x="45" y="8"/>
                  </a:moveTo>
                  <a:cubicBezTo>
                    <a:pt x="41" y="7"/>
                    <a:pt x="42" y="5"/>
                    <a:pt x="41" y="5"/>
                  </a:cubicBezTo>
                  <a:cubicBezTo>
                    <a:pt x="36" y="4"/>
                    <a:pt x="31" y="4"/>
                    <a:pt x="30" y="4"/>
                  </a:cubicBezTo>
                  <a:cubicBezTo>
                    <a:pt x="27" y="4"/>
                    <a:pt x="27" y="8"/>
                    <a:pt x="25" y="7"/>
                  </a:cubicBezTo>
                  <a:cubicBezTo>
                    <a:pt x="25" y="7"/>
                    <a:pt x="24" y="7"/>
                    <a:pt x="24" y="5"/>
                  </a:cubicBezTo>
                  <a:cubicBezTo>
                    <a:pt x="25" y="2"/>
                    <a:pt x="21" y="0"/>
                    <a:pt x="19" y="4"/>
                  </a:cubicBezTo>
                  <a:cubicBezTo>
                    <a:pt x="19" y="5"/>
                    <a:pt x="18" y="5"/>
                    <a:pt x="18" y="4"/>
                  </a:cubicBezTo>
                  <a:cubicBezTo>
                    <a:pt x="18" y="4"/>
                    <a:pt x="18" y="4"/>
                    <a:pt x="16" y="4"/>
                  </a:cubicBezTo>
                  <a:cubicBezTo>
                    <a:pt x="9" y="7"/>
                    <a:pt x="13" y="8"/>
                    <a:pt x="9" y="10"/>
                  </a:cubicBezTo>
                  <a:cubicBezTo>
                    <a:pt x="6" y="11"/>
                    <a:pt x="4" y="8"/>
                    <a:pt x="3" y="13"/>
                  </a:cubicBezTo>
                  <a:cubicBezTo>
                    <a:pt x="1" y="16"/>
                    <a:pt x="0" y="16"/>
                    <a:pt x="3" y="21"/>
                  </a:cubicBezTo>
                  <a:cubicBezTo>
                    <a:pt x="6" y="21"/>
                    <a:pt x="7" y="25"/>
                    <a:pt x="10" y="24"/>
                  </a:cubicBezTo>
                  <a:cubicBezTo>
                    <a:pt x="15" y="24"/>
                    <a:pt x="16" y="24"/>
                    <a:pt x="16" y="22"/>
                  </a:cubicBezTo>
                  <a:cubicBezTo>
                    <a:pt x="16" y="22"/>
                    <a:pt x="15" y="21"/>
                    <a:pt x="16" y="21"/>
                  </a:cubicBezTo>
                  <a:cubicBezTo>
                    <a:pt x="19" y="19"/>
                    <a:pt x="21" y="21"/>
                    <a:pt x="22" y="19"/>
                  </a:cubicBezTo>
                  <a:cubicBezTo>
                    <a:pt x="22" y="16"/>
                    <a:pt x="24" y="19"/>
                    <a:pt x="25" y="19"/>
                  </a:cubicBezTo>
                  <a:cubicBezTo>
                    <a:pt x="27" y="19"/>
                    <a:pt x="28" y="18"/>
                    <a:pt x="28" y="18"/>
                  </a:cubicBezTo>
                  <a:cubicBezTo>
                    <a:pt x="30" y="18"/>
                    <a:pt x="28" y="14"/>
                    <a:pt x="31" y="14"/>
                  </a:cubicBezTo>
                  <a:cubicBezTo>
                    <a:pt x="33" y="14"/>
                    <a:pt x="34" y="16"/>
                    <a:pt x="36" y="14"/>
                  </a:cubicBezTo>
                  <a:cubicBezTo>
                    <a:pt x="38" y="13"/>
                    <a:pt x="39" y="16"/>
                    <a:pt x="39" y="16"/>
                  </a:cubicBezTo>
                  <a:cubicBezTo>
                    <a:pt x="39" y="18"/>
                    <a:pt x="42" y="16"/>
                    <a:pt x="42" y="16"/>
                  </a:cubicBezTo>
                  <a:cubicBezTo>
                    <a:pt x="44" y="11"/>
                    <a:pt x="45" y="13"/>
                    <a:pt x="45" y="11"/>
                  </a:cubicBezTo>
                  <a:cubicBezTo>
                    <a:pt x="45" y="10"/>
                    <a:pt x="47" y="10"/>
                    <a:pt x="45" y="8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59" name="Freeform 180">
              <a:extLst>
                <a:ext uri="{FF2B5EF4-FFF2-40B4-BE49-F238E27FC236}">
                  <a16:creationId xmlns:a16="http://schemas.microsoft.com/office/drawing/2014/main" id="{23356E01-2BAD-B6A3-5AD3-7E77B81BAC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66786" y="3235620"/>
              <a:ext cx="75519" cy="59450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24" y="5"/>
                </a:cxn>
                <a:cxn ang="0">
                  <a:pos x="23" y="5"/>
                </a:cxn>
                <a:cxn ang="0">
                  <a:pos x="23" y="7"/>
                </a:cxn>
                <a:cxn ang="0">
                  <a:pos x="17" y="10"/>
                </a:cxn>
                <a:cxn ang="0">
                  <a:pos x="18" y="13"/>
                </a:cxn>
                <a:cxn ang="0">
                  <a:pos x="15" y="17"/>
                </a:cxn>
                <a:cxn ang="0">
                  <a:pos x="12" y="17"/>
                </a:cxn>
                <a:cxn ang="0">
                  <a:pos x="9" y="16"/>
                </a:cxn>
                <a:cxn ang="0">
                  <a:pos x="1" y="17"/>
                </a:cxn>
                <a:cxn ang="0">
                  <a:pos x="1" y="16"/>
                </a:cxn>
                <a:cxn ang="0">
                  <a:pos x="1" y="13"/>
                </a:cxn>
                <a:cxn ang="0">
                  <a:pos x="1" y="10"/>
                </a:cxn>
                <a:cxn ang="0">
                  <a:pos x="0" y="8"/>
                </a:cxn>
                <a:cxn ang="0">
                  <a:pos x="1" y="5"/>
                </a:cxn>
                <a:cxn ang="0">
                  <a:pos x="7" y="7"/>
                </a:cxn>
                <a:cxn ang="0">
                  <a:pos x="10" y="7"/>
                </a:cxn>
                <a:cxn ang="0">
                  <a:pos x="15" y="3"/>
                </a:cxn>
                <a:cxn ang="0">
                  <a:pos x="18" y="3"/>
                </a:cxn>
                <a:cxn ang="0">
                  <a:pos x="21" y="2"/>
                </a:cxn>
                <a:cxn ang="0">
                  <a:pos x="21" y="0"/>
                </a:cxn>
              </a:cxnLst>
              <a:rect l="0" t="0" r="r" b="b"/>
              <a:pathLst>
                <a:path w="24" h="19">
                  <a:moveTo>
                    <a:pt x="21" y="0"/>
                  </a:moveTo>
                  <a:cubicBezTo>
                    <a:pt x="24" y="2"/>
                    <a:pt x="23" y="5"/>
                    <a:pt x="24" y="5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1" y="5"/>
                    <a:pt x="23" y="7"/>
                    <a:pt x="23" y="7"/>
                  </a:cubicBezTo>
                  <a:cubicBezTo>
                    <a:pt x="21" y="8"/>
                    <a:pt x="18" y="8"/>
                    <a:pt x="17" y="10"/>
                  </a:cubicBezTo>
                  <a:cubicBezTo>
                    <a:pt x="17" y="10"/>
                    <a:pt x="18" y="11"/>
                    <a:pt x="18" y="13"/>
                  </a:cubicBezTo>
                  <a:cubicBezTo>
                    <a:pt x="18" y="14"/>
                    <a:pt x="15" y="14"/>
                    <a:pt x="15" y="17"/>
                  </a:cubicBezTo>
                  <a:cubicBezTo>
                    <a:pt x="15" y="19"/>
                    <a:pt x="13" y="17"/>
                    <a:pt x="12" y="17"/>
                  </a:cubicBezTo>
                  <a:cubicBezTo>
                    <a:pt x="10" y="16"/>
                    <a:pt x="12" y="19"/>
                    <a:pt x="9" y="16"/>
                  </a:cubicBezTo>
                  <a:cubicBezTo>
                    <a:pt x="7" y="14"/>
                    <a:pt x="10" y="17"/>
                    <a:pt x="1" y="17"/>
                  </a:cubicBezTo>
                  <a:cubicBezTo>
                    <a:pt x="1" y="16"/>
                    <a:pt x="1" y="17"/>
                    <a:pt x="1" y="16"/>
                  </a:cubicBezTo>
                  <a:cubicBezTo>
                    <a:pt x="4" y="16"/>
                    <a:pt x="3" y="14"/>
                    <a:pt x="1" y="13"/>
                  </a:cubicBezTo>
                  <a:cubicBezTo>
                    <a:pt x="0" y="13"/>
                    <a:pt x="0" y="11"/>
                    <a:pt x="1" y="10"/>
                  </a:cubicBezTo>
                  <a:cubicBezTo>
                    <a:pt x="3" y="8"/>
                    <a:pt x="0" y="10"/>
                    <a:pt x="0" y="8"/>
                  </a:cubicBezTo>
                  <a:cubicBezTo>
                    <a:pt x="0" y="7"/>
                    <a:pt x="1" y="7"/>
                    <a:pt x="1" y="5"/>
                  </a:cubicBezTo>
                  <a:cubicBezTo>
                    <a:pt x="6" y="5"/>
                    <a:pt x="4" y="7"/>
                    <a:pt x="7" y="7"/>
                  </a:cubicBezTo>
                  <a:cubicBezTo>
                    <a:pt x="9" y="5"/>
                    <a:pt x="7" y="8"/>
                    <a:pt x="10" y="7"/>
                  </a:cubicBezTo>
                  <a:cubicBezTo>
                    <a:pt x="12" y="3"/>
                    <a:pt x="12" y="3"/>
                    <a:pt x="15" y="3"/>
                  </a:cubicBezTo>
                  <a:cubicBezTo>
                    <a:pt x="18" y="5"/>
                    <a:pt x="17" y="3"/>
                    <a:pt x="18" y="3"/>
                  </a:cubicBezTo>
                  <a:cubicBezTo>
                    <a:pt x="21" y="3"/>
                    <a:pt x="21" y="3"/>
                    <a:pt x="21" y="2"/>
                  </a:cubicBezTo>
                  <a:cubicBezTo>
                    <a:pt x="20" y="0"/>
                    <a:pt x="21" y="2"/>
                    <a:pt x="21" y="0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60" name="Freeform 181">
              <a:extLst>
                <a:ext uri="{FF2B5EF4-FFF2-40B4-BE49-F238E27FC236}">
                  <a16:creationId xmlns:a16="http://schemas.microsoft.com/office/drawing/2014/main" id="{C4549AE2-C952-5253-4EB0-858DD6133C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66786" y="3250080"/>
              <a:ext cx="152644" cy="151035"/>
            </a:xfrm>
            <a:custGeom>
              <a:avLst/>
              <a:gdLst/>
              <a:ahLst/>
              <a:cxnLst>
                <a:cxn ang="0">
                  <a:pos x="44" y="19"/>
                </a:cxn>
                <a:cxn ang="0">
                  <a:pos x="41" y="17"/>
                </a:cxn>
                <a:cxn ang="0">
                  <a:pos x="36" y="17"/>
                </a:cxn>
                <a:cxn ang="0">
                  <a:pos x="30" y="16"/>
                </a:cxn>
                <a:cxn ang="0">
                  <a:pos x="24" y="16"/>
                </a:cxn>
                <a:cxn ang="0">
                  <a:pos x="21" y="17"/>
                </a:cxn>
                <a:cxn ang="0">
                  <a:pos x="20" y="21"/>
                </a:cxn>
                <a:cxn ang="0">
                  <a:pos x="21" y="25"/>
                </a:cxn>
                <a:cxn ang="0">
                  <a:pos x="21" y="27"/>
                </a:cxn>
                <a:cxn ang="0">
                  <a:pos x="29" y="35"/>
                </a:cxn>
                <a:cxn ang="0">
                  <a:pos x="32" y="38"/>
                </a:cxn>
                <a:cxn ang="0">
                  <a:pos x="33" y="41"/>
                </a:cxn>
                <a:cxn ang="0">
                  <a:pos x="35" y="42"/>
                </a:cxn>
                <a:cxn ang="0">
                  <a:pos x="39" y="45"/>
                </a:cxn>
                <a:cxn ang="0">
                  <a:pos x="42" y="48"/>
                </a:cxn>
                <a:cxn ang="0">
                  <a:pos x="39" y="47"/>
                </a:cxn>
                <a:cxn ang="0">
                  <a:pos x="33" y="44"/>
                </a:cxn>
                <a:cxn ang="0">
                  <a:pos x="32" y="41"/>
                </a:cxn>
                <a:cxn ang="0">
                  <a:pos x="23" y="35"/>
                </a:cxn>
                <a:cxn ang="0">
                  <a:pos x="17" y="30"/>
                </a:cxn>
                <a:cxn ang="0">
                  <a:pos x="13" y="24"/>
                </a:cxn>
                <a:cxn ang="0">
                  <a:pos x="9" y="14"/>
                </a:cxn>
                <a:cxn ang="0">
                  <a:pos x="4" y="21"/>
                </a:cxn>
                <a:cxn ang="0">
                  <a:pos x="1" y="13"/>
                </a:cxn>
                <a:cxn ang="0">
                  <a:pos x="1" y="13"/>
                </a:cxn>
                <a:cxn ang="0">
                  <a:pos x="9" y="11"/>
                </a:cxn>
                <a:cxn ang="0">
                  <a:pos x="12" y="13"/>
                </a:cxn>
                <a:cxn ang="0">
                  <a:pos x="15" y="13"/>
                </a:cxn>
                <a:cxn ang="0">
                  <a:pos x="18" y="8"/>
                </a:cxn>
                <a:cxn ang="0">
                  <a:pos x="17" y="5"/>
                </a:cxn>
                <a:cxn ang="0">
                  <a:pos x="23" y="2"/>
                </a:cxn>
                <a:cxn ang="0">
                  <a:pos x="23" y="0"/>
                </a:cxn>
                <a:cxn ang="0">
                  <a:pos x="24" y="0"/>
                </a:cxn>
                <a:cxn ang="0">
                  <a:pos x="32" y="7"/>
                </a:cxn>
                <a:cxn ang="0">
                  <a:pos x="39" y="10"/>
                </a:cxn>
                <a:cxn ang="0">
                  <a:pos x="42" y="8"/>
                </a:cxn>
                <a:cxn ang="0">
                  <a:pos x="44" y="14"/>
                </a:cxn>
                <a:cxn ang="0">
                  <a:pos x="47" y="16"/>
                </a:cxn>
                <a:cxn ang="0">
                  <a:pos x="44" y="19"/>
                </a:cxn>
              </a:cxnLst>
              <a:rect l="0" t="0" r="r" b="b"/>
              <a:pathLst>
                <a:path w="49" h="48">
                  <a:moveTo>
                    <a:pt x="44" y="19"/>
                  </a:moveTo>
                  <a:cubicBezTo>
                    <a:pt x="41" y="21"/>
                    <a:pt x="42" y="16"/>
                    <a:pt x="41" y="17"/>
                  </a:cubicBezTo>
                  <a:cubicBezTo>
                    <a:pt x="39" y="17"/>
                    <a:pt x="38" y="16"/>
                    <a:pt x="36" y="17"/>
                  </a:cubicBezTo>
                  <a:cubicBezTo>
                    <a:pt x="33" y="19"/>
                    <a:pt x="32" y="16"/>
                    <a:pt x="30" y="16"/>
                  </a:cubicBezTo>
                  <a:cubicBezTo>
                    <a:pt x="29" y="17"/>
                    <a:pt x="26" y="14"/>
                    <a:pt x="24" y="16"/>
                  </a:cubicBezTo>
                  <a:cubicBezTo>
                    <a:pt x="23" y="17"/>
                    <a:pt x="23" y="19"/>
                    <a:pt x="21" y="17"/>
                  </a:cubicBezTo>
                  <a:cubicBezTo>
                    <a:pt x="18" y="13"/>
                    <a:pt x="17" y="21"/>
                    <a:pt x="20" y="21"/>
                  </a:cubicBezTo>
                  <a:cubicBezTo>
                    <a:pt x="21" y="22"/>
                    <a:pt x="21" y="24"/>
                    <a:pt x="21" y="25"/>
                  </a:cubicBezTo>
                  <a:cubicBezTo>
                    <a:pt x="23" y="25"/>
                    <a:pt x="20" y="27"/>
                    <a:pt x="21" y="27"/>
                  </a:cubicBezTo>
                  <a:cubicBezTo>
                    <a:pt x="23" y="27"/>
                    <a:pt x="27" y="35"/>
                    <a:pt x="29" y="35"/>
                  </a:cubicBezTo>
                  <a:cubicBezTo>
                    <a:pt x="30" y="36"/>
                    <a:pt x="29" y="38"/>
                    <a:pt x="32" y="38"/>
                  </a:cubicBezTo>
                  <a:cubicBezTo>
                    <a:pt x="33" y="39"/>
                    <a:pt x="33" y="41"/>
                    <a:pt x="33" y="41"/>
                  </a:cubicBezTo>
                  <a:cubicBezTo>
                    <a:pt x="33" y="42"/>
                    <a:pt x="35" y="41"/>
                    <a:pt x="35" y="42"/>
                  </a:cubicBezTo>
                  <a:cubicBezTo>
                    <a:pt x="36" y="44"/>
                    <a:pt x="38" y="45"/>
                    <a:pt x="39" y="45"/>
                  </a:cubicBezTo>
                  <a:cubicBezTo>
                    <a:pt x="39" y="47"/>
                    <a:pt x="44" y="47"/>
                    <a:pt x="42" y="48"/>
                  </a:cubicBezTo>
                  <a:cubicBezTo>
                    <a:pt x="41" y="47"/>
                    <a:pt x="41" y="47"/>
                    <a:pt x="39" y="47"/>
                  </a:cubicBezTo>
                  <a:cubicBezTo>
                    <a:pt x="38" y="48"/>
                    <a:pt x="39" y="45"/>
                    <a:pt x="33" y="44"/>
                  </a:cubicBezTo>
                  <a:cubicBezTo>
                    <a:pt x="27" y="41"/>
                    <a:pt x="27" y="39"/>
                    <a:pt x="32" y="41"/>
                  </a:cubicBezTo>
                  <a:cubicBezTo>
                    <a:pt x="29" y="38"/>
                    <a:pt x="26" y="35"/>
                    <a:pt x="23" y="35"/>
                  </a:cubicBezTo>
                  <a:cubicBezTo>
                    <a:pt x="18" y="36"/>
                    <a:pt x="23" y="35"/>
                    <a:pt x="17" y="30"/>
                  </a:cubicBezTo>
                  <a:cubicBezTo>
                    <a:pt x="10" y="25"/>
                    <a:pt x="17" y="28"/>
                    <a:pt x="13" y="24"/>
                  </a:cubicBezTo>
                  <a:cubicBezTo>
                    <a:pt x="9" y="21"/>
                    <a:pt x="13" y="19"/>
                    <a:pt x="9" y="14"/>
                  </a:cubicBezTo>
                  <a:cubicBezTo>
                    <a:pt x="6" y="13"/>
                    <a:pt x="6" y="17"/>
                    <a:pt x="4" y="21"/>
                  </a:cubicBezTo>
                  <a:cubicBezTo>
                    <a:pt x="4" y="24"/>
                    <a:pt x="0" y="14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0" y="13"/>
                    <a:pt x="7" y="10"/>
                    <a:pt x="9" y="11"/>
                  </a:cubicBezTo>
                  <a:cubicBezTo>
                    <a:pt x="12" y="14"/>
                    <a:pt x="10" y="11"/>
                    <a:pt x="12" y="13"/>
                  </a:cubicBezTo>
                  <a:cubicBezTo>
                    <a:pt x="13" y="13"/>
                    <a:pt x="15" y="14"/>
                    <a:pt x="15" y="13"/>
                  </a:cubicBezTo>
                  <a:cubicBezTo>
                    <a:pt x="15" y="10"/>
                    <a:pt x="18" y="10"/>
                    <a:pt x="18" y="8"/>
                  </a:cubicBezTo>
                  <a:cubicBezTo>
                    <a:pt x="18" y="7"/>
                    <a:pt x="17" y="5"/>
                    <a:pt x="17" y="5"/>
                  </a:cubicBezTo>
                  <a:cubicBezTo>
                    <a:pt x="18" y="4"/>
                    <a:pt x="21" y="4"/>
                    <a:pt x="23" y="2"/>
                  </a:cubicBezTo>
                  <a:cubicBezTo>
                    <a:pt x="23" y="2"/>
                    <a:pt x="21" y="0"/>
                    <a:pt x="23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2" y="5"/>
                    <a:pt x="30" y="7"/>
                    <a:pt x="32" y="7"/>
                  </a:cubicBezTo>
                  <a:cubicBezTo>
                    <a:pt x="33" y="7"/>
                    <a:pt x="36" y="10"/>
                    <a:pt x="39" y="10"/>
                  </a:cubicBezTo>
                  <a:cubicBezTo>
                    <a:pt x="41" y="10"/>
                    <a:pt x="41" y="7"/>
                    <a:pt x="42" y="8"/>
                  </a:cubicBezTo>
                  <a:cubicBezTo>
                    <a:pt x="44" y="10"/>
                    <a:pt x="44" y="13"/>
                    <a:pt x="44" y="14"/>
                  </a:cubicBezTo>
                  <a:cubicBezTo>
                    <a:pt x="47" y="16"/>
                    <a:pt x="49" y="14"/>
                    <a:pt x="47" y="16"/>
                  </a:cubicBezTo>
                  <a:cubicBezTo>
                    <a:pt x="47" y="17"/>
                    <a:pt x="46" y="16"/>
                    <a:pt x="44" y="19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61" name="Freeform 182">
              <a:extLst>
                <a:ext uri="{FF2B5EF4-FFF2-40B4-BE49-F238E27FC236}">
                  <a16:creationId xmlns:a16="http://schemas.microsoft.com/office/drawing/2014/main" id="{01056B59-7291-6F06-240A-F34A036E73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16596" y="3288642"/>
              <a:ext cx="106047" cy="102832"/>
            </a:xfrm>
            <a:custGeom>
              <a:avLst/>
              <a:gdLst/>
              <a:ahLst/>
              <a:cxnLst>
                <a:cxn ang="0">
                  <a:pos x="29" y="22"/>
                </a:cxn>
                <a:cxn ang="0">
                  <a:pos x="33" y="22"/>
                </a:cxn>
                <a:cxn ang="0">
                  <a:pos x="29" y="18"/>
                </a:cxn>
                <a:cxn ang="0">
                  <a:pos x="33" y="18"/>
                </a:cxn>
                <a:cxn ang="0">
                  <a:pos x="29" y="11"/>
                </a:cxn>
                <a:cxn ang="0">
                  <a:pos x="28" y="7"/>
                </a:cxn>
                <a:cxn ang="0">
                  <a:pos x="25" y="5"/>
                </a:cxn>
                <a:cxn ang="0">
                  <a:pos x="20" y="5"/>
                </a:cxn>
                <a:cxn ang="0">
                  <a:pos x="14" y="4"/>
                </a:cxn>
                <a:cxn ang="0">
                  <a:pos x="8" y="4"/>
                </a:cxn>
                <a:cxn ang="0">
                  <a:pos x="5" y="5"/>
                </a:cxn>
                <a:cxn ang="0">
                  <a:pos x="3" y="8"/>
                </a:cxn>
                <a:cxn ang="0">
                  <a:pos x="5" y="13"/>
                </a:cxn>
                <a:cxn ang="0">
                  <a:pos x="5" y="15"/>
                </a:cxn>
                <a:cxn ang="0">
                  <a:pos x="13" y="22"/>
                </a:cxn>
                <a:cxn ang="0">
                  <a:pos x="16" y="26"/>
                </a:cxn>
                <a:cxn ang="0">
                  <a:pos x="17" y="29"/>
                </a:cxn>
                <a:cxn ang="0">
                  <a:pos x="19" y="30"/>
                </a:cxn>
                <a:cxn ang="0">
                  <a:pos x="23" y="33"/>
                </a:cxn>
                <a:cxn ang="0">
                  <a:pos x="25" y="29"/>
                </a:cxn>
                <a:cxn ang="0">
                  <a:pos x="26" y="26"/>
                </a:cxn>
                <a:cxn ang="0">
                  <a:pos x="28" y="26"/>
                </a:cxn>
                <a:cxn ang="0">
                  <a:pos x="29" y="22"/>
                </a:cxn>
              </a:cxnLst>
              <a:rect l="0" t="0" r="r" b="b"/>
              <a:pathLst>
                <a:path w="34" h="33">
                  <a:moveTo>
                    <a:pt x="29" y="22"/>
                  </a:moveTo>
                  <a:cubicBezTo>
                    <a:pt x="31" y="21"/>
                    <a:pt x="31" y="22"/>
                    <a:pt x="33" y="22"/>
                  </a:cubicBezTo>
                  <a:cubicBezTo>
                    <a:pt x="33" y="21"/>
                    <a:pt x="29" y="18"/>
                    <a:pt x="29" y="18"/>
                  </a:cubicBezTo>
                  <a:cubicBezTo>
                    <a:pt x="31" y="16"/>
                    <a:pt x="31" y="19"/>
                    <a:pt x="33" y="18"/>
                  </a:cubicBezTo>
                  <a:cubicBezTo>
                    <a:pt x="34" y="16"/>
                    <a:pt x="28" y="15"/>
                    <a:pt x="29" y="11"/>
                  </a:cubicBezTo>
                  <a:cubicBezTo>
                    <a:pt x="31" y="7"/>
                    <a:pt x="33" y="7"/>
                    <a:pt x="28" y="7"/>
                  </a:cubicBezTo>
                  <a:cubicBezTo>
                    <a:pt x="25" y="8"/>
                    <a:pt x="26" y="4"/>
                    <a:pt x="25" y="5"/>
                  </a:cubicBezTo>
                  <a:cubicBezTo>
                    <a:pt x="23" y="5"/>
                    <a:pt x="22" y="4"/>
                    <a:pt x="20" y="5"/>
                  </a:cubicBezTo>
                  <a:cubicBezTo>
                    <a:pt x="17" y="7"/>
                    <a:pt x="16" y="4"/>
                    <a:pt x="14" y="4"/>
                  </a:cubicBezTo>
                  <a:cubicBezTo>
                    <a:pt x="13" y="5"/>
                    <a:pt x="9" y="2"/>
                    <a:pt x="8" y="4"/>
                  </a:cubicBezTo>
                  <a:cubicBezTo>
                    <a:pt x="6" y="5"/>
                    <a:pt x="6" y="7"/>
                    <a:pt x="5" y="5"/>
                  </a:cubicBezTo>
                  <a:cubicBezTo>
                    <a:pt x="2" y="0"/>
                    <a:pt x="0" y="8"/>
                    <a:pt x="3" y="8"/>
                  </a:cubicBezTo>
                  <a:cubicBezTo>
                    <a:pt x="5" y="10"/>
                    <a:pt x="5" y="11"/>
                    <a:pt x="5" y="13"/>
                  </a:cubicBezTo>
                  <a:cubicBezTo>
                    <a:pt x="6" y="13"/>
                    <a:pt x="3" y="15"/>
                    <a:pt x="5" y="15"/>
                  </a:cubicBezTo>
                  <a:cubicBezTo>
                    <a:pt x="6" y="15"/>
                    <a:pt x="11" y="22"/>
                    <a:pt x="13" y="22"/>
                  </a:cubicBezTo>
                  <a:cubicBezTo>
                    <a:pt x="14" y="24"/>
                    <a:pt x="13" y="26"/>
                    <a:pt x="16" y="26"/>
                  </a:cubicBezTo>
                  <a:cubicBezTo>
                    <a:pt x="17" y="27"/>
                    <a:pt x="17" y="29"/>
                    <a:pt x="17" y="29"/>
                  </a:cubicBezTo>
                  <a:cubicBezTo>
                    <a:pt x="17" y="30"/>
                    <a:pt x="19" y="29"/>
                    <a:pt x="19" y="30"/>
                  </a:cubicBezTo>
                  <a:cubicBezTo>
                    <a:pt x="20" y="32"/>
                    <a:pt x="22" y="33"/>
                    <a:pt x="23" y="33"/>
                  </a:cubicBezTo>
                  <a:cubicBezTo>
                    <a:pt x="26" y="32"/>
                    <a:pt x="22" y="30"/>
                    <a:pt x="25" y="29"/>
                  </a:cubicBezTo>
                  <a:cubicBezTo>
                    <a:pt x="26" y="27"/>
                    <a:pt x="25" y="26"/>
                    <a:pt x="26" y="26"/>
                  </a:cubicBezTo>
                  <a:cubicBezTo>
                    <a:pt x="28" y="24"/>
                    <a:pt x="28" y="27"/>
                    <a:pt x="28" y="26"/>
                  </a:cubicBezTo>
                  <a:cubicBezTo>
                    <a:pt x="29" y="26"/>
                    <a:pt x="25" y="21"/>
                    <a:pt x="29" y="22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62" name="Freeform 183">
              <a:extLst>
                <a:ext uri="{FF2B5EF4-FFF2-40B4-BE49-F238E27FC236}">
                  <a16:creationId xmlns:a16="http://schemas.microsoft.com/office/drawing/2014/main" id="{69B51CD3-CC1E-3D4B-993B-4B8C8BDE06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85688" y="3352913"/>
              <a:ext cx="53024" cy="62664"/>
            </a:xfrm>
            <a:custGeom>
              <a:avLst/>
              <a:gdLst/>
              <a:ahLst/>
              <a:cxnLst>
                <a:cxn ang="0">
                  <a:pos x="7" y="1"/>
                </a:cxn>
                <a:cxn ang="0">
                  <a:pos x="17" y="9"/>
                </a:cxn>
                <a:cxn ang="0">
                  <a:pos x="14" y="11"/>
                </a:cxn>
                <a:cxn ang="0">
                  <a:pos x="15" y="12"/>
                </a:cxn>
                <a:cxn ang="0">
                  <a:pos x="12" y="12"/>
                </a:cxn>
                <a:cxn ang="0">
                  <a:pos x="9" y="15"/>
                </a:cxn>
                <a:cxn ang="0">
                  <a:pos x="9" y="20"/>
                </a:cxn>
                <a:cxn ang="0">
                  <a:pos x="6" y="17"/>
                </a:cxn>
                <a:cxn ang="0">
                  <a:pos x="4" y="15"/>
                </a:cxn>
                <a:cxn ang="0">
                  <a:pos x="1" y="12"/>
                </a:cxn>
                <a:cxn ang="0">
                  <a:pos x="3" y="8"/>
                </a:cxn>
                <a:cxn ang="0">
                  <a:pos x="4" y="5"/>
                </a:cxn>
                <a:cxn ang="0">
                  <a:pos x="6" y="5"/>
                </a:cxn>
                <a:cxn ang="0">
                  <a:pos x="7" y="1"/>
                </a:cxn>
              </a:cxnLst>
              <a:rect l="0" t="0" r="r" b="b"/>
              <a:pathLst>
                <a:path w="17" h="20">
                  <a:moveTo>
                    <a:pt x="7" y="1"/>
                  </a:moveTo>
                  <a:cubicBezTo>
                    <a:pt x="10" y="6"/>
                    <a:pt x="17" y="8"/>
                    <a:pt x="17" y="9"/>
                  </a:cubicBezTo>
                  <a:cubicBezTo>
                    <a:pt x="17" y="11"/>
                    <a:pt x="12" y="11"/>
                    <a:pt x="14" y="11"/>
                  </a:cubicBezTo>
                  <a:cubicBezTo>
                    <a:pt x="15" y="12"/>
                    <a:pt x="14" y="12"/>
                    <a:pt x="15" y="12"/>
                  </a:cubicBezTo>
                  <a:cubicBezTo>
                    <a:pt x="12" y="14"/>
                    <a:pt x="12" y="14"/>
                    <a:pt x="12" y="12"/>
                  </a:cubicBezTo>
                  <a:cubicBezTo>
                    <a:pt x="12" y="9"/>
                    <a:pt x="10" y="14"/>
                    <a:pt x="9" y="15"/>
                  </a:cubicBezTo>
                  <a:cubicBezTo>
                    <a:pt x="7" y="18"/>
                    <a:pt x="10" y="17"/>
                    <a:pt x="9" y="20"/>
                  </a:cubicBezTo>
                  <a:cubicBezTo>
                    <a:pt x="6" y="20"/>
                    <a:pt x="7" y="20"/>
                    <a:pt x="6" y="17"/>
                  </a:cubicBezTo>
                  <a:cubicBezTo>
                    <a:pt x="6" y="15"/>
                    <a:pt x="4" y="15"/>
                    <a:pt x="4" y="15"/>
                  </a:cubicBezTo>
                  <a:cubicBezTo>
                    <a:pt x="6" y="14"/>
                    <a:pt x="1" y="14"/>
                    <a:pt x="1" y="12"/>
                  </a:cubicBezTo>
                  <a:cubicBezTo>
                    <a:pt x="4" y="11"/>
                    <a:pt x="0" y="9"/>
                    <a:pt x="3" y="8"/>
                  </a:cubicBezTo>
                  <a:cubicBezTo>
                    <a:pt x="4" y="6"/>
                    <a:pt x="3" y="5"/>
                    <a:pt x="4" y="5"/>
                  </a:cubicBezTo>
                  <a:cubicBezTo>
                    <a:pt x="6" y="3"/>
                    <a:pt x="6" y="6"/>
                    <a:pt x="6" y="5"/>
                  </a:cubicBezTo>
                  <a:cubicBezTo>
                    <a:pt x="7" y="5"/>
                    <a:pt x="3" y="0"/>
                    <a:pt x="7" y="1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63" name="Freeform 184">
              <a:extLst>
                <a:ext uri="{FF2B5EF4-FFF2-40B4-BE49-F238E27FC236}">
                  <a16:creationId xmlns:a16="http://schemas.microsoft.com/office/drawing/2014/main" id="{3EA1AA30-C77F-8046-23F5-BFFF89BAF0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633424" y="2824291"/>
              <a:ext cx="179959" cy="130147"/>
            </a:xfrm>
            <a:custGeom>
              <a:avLst/>
              <a:gdLst/>
              <a:ahLst/>
              <a:cxnLst>
                <a:cxn ang="0">
                  <a:pos x="4" y="33"/>
                </a:cxn>
                <a:cxn ang="0">
                  <a:pos x="1" y="30"/>
                </a:cxn>
                <a:cxn ang="0">
                  <a:pos x="0" y="19"/>
                </a:cxn>
                <a:cxn ang="0">
                  <a:pos x="16" y="3"/>
                </a:cxn>
                <a:cxn ang="0">
                  <a:pos x="20" y="5"/>
                </a:cxn>
                <a:cxn ang="0">
                  <a:pos x="18" y="11"/>
                </a:cxn>
                <a:cxn ang="0">
                  <a:pos x="20" y="17"/>
                </a:cxn>
                <a:cxn ang="0">
                  <a:pos x="21" y="21"/>
                </a:cxn>
                <a:cxn ang="0">
                  <a:pos x="18" y="19"/>
                </a:cxn>
                <a:cxn ang="0">
                  <a:pos x="15" y="25"/>
                </a:cxn>
                <a:cxn ang="0">
                  <a:pos x="12" y="30"/>
                </a:cxn>
                <a:cxn ang="0">
                  <a:pos x="12" y="35"/>
                </a:cxn>
                <a:cxn ang="0">
                  <a:pos x="15" y="38"/>
                </a:cxn>
                <a:cxn ang="0">
                  <a:pos x="10" y="38"/>
                </a:cxn>
                <a:cxn ang="0">
                  <a:pos x="4" y="38"/>
                </a:cxn>
                <a:cxn ang="0">
                  <a:pos x="53" y="31"/>
                </a:cxn>
                <a:cxn ang="0">
                  <a:pos x="53" y="31"/>
                </a:cxn>
                <a:cxn ang="0">
                  <a:pos x="24" y="7"/>
                </a:cxn>
                <a:cxn ang="0">
                  <a:pos x="21" y="30"/>
                </a:cxn>
                <a:cxn ang="0">
                  <a:pos x="18" y="28"/>
                </a:cxn>
                <a:cxn ang="0">
                  <a:pos x="13" y="30"/>
                </a:cxn>
                <a:cxn ang="0">
                  <a:pos x="16" y="33"/>
                </a:cxn>
                <a:cxn ang="0">
                  <a:pos x="21" y="35"/>
                </a:cxn>
                <a:cxn ang="0">
                  <a:pos x="20" y="27"/>
                </a:cxn>
                <a:cxn ang="0">
                  <a:pos x="20" y="27"/>
                </a:cxn>
                <a:cxn ang="0">
                  <a:pos x="21" y="36"/>
                </a:cxn>
                <a:cxn ang="0">
                  <a:pos x="23" y="35"/>
                </a:cxn>
                <a:cxn ang="0">
                  <a:pos x="30" y="39"/>
                </a:cxn>
                <a:cxn ang="0">
                  <a:pos x="26" y="36"/>
                </a:cxn>
                <a:cxn ang="0">
                  <a:pos x="29" y="41"/>
                </a:cxn>
                <a:cxn ang="0">
                  <a:pos x="32" y="38"/>
                </a:cxn>
                <a:cxn ang="0">
                  <a:pos x="32" y="35"/>
                </a:cxn>
                <a:cxn ang="0">
                  <a:pos x="33" y="31"/>
                </a:cxn>
                <a:cxn ang="0">
                  <a:pos x="36" y="24"/>
                </a:cxn>
                <a:cxn ang="0">
                  <a:pos x="30" y="24"/>
                </a:cxn>
                <a:cxn ang="0">
                  <a:pos x="29" y="25"/>
                </a:cxn>
                <a:cxn ang="0">
                  <a:pos x="26" y="24"/>
                </a:cxn>
                <a:cxn ang="0">
                  <a:pos x="23" y="27"/>
                </a:cxn>
                <a:cxn ang="0">
                  <a:pos x="24" y="31"/>
                </a:cxn>
                <a:cxn ang="0">
                  <a:pos x="27" y="33"/>
                </a:cxn>
                <a:cxn ang="0">
                  <a:pos x="29" y="35"/>
                </a:cxn>
                <a:cxn ang="0">
                  <a:pos x="30" y="38"/>
                </a:cxn>
                <a:cxn ang="0">
                  <a:pos x="32" y="39"/>
                </a:cxn>
                <a:cxn ang="0">
                  <a:pos x="35" y="36"/>
                </a:cxn>
              </a:cxnLst>
              <a:rect l="0" t="0" r="r" b="b"/>
              <a:pathLst>
                <a:path w="58" h="42">
                  <a:moveTo>
                    <a:pt x="3" y="35"/>
                  </a:moveTo>
                  <a:cubicBezTo>
                    <a:pt x="3" y="31"/>
                    <a:pt x="4" y="36"/>
                    <a:pt x="4" y="33"/>
                  </a:cubicBezTo>
                  <a:cubicBezTo>
                    <a:pt x="4" y="30"/>
                    <a:pt x="3" y="31"/>
                    <a:pt x="3" y="30"/>
                  </a:cubicBezTo>
                  <a:cubicBezTo>
                    <a:pt x="1" y="28"/>
                    <a:pt x="3" y="31"/>
                    <a:pt x="1" y="30"/>
                  </a:cubicBezTo>
                  <a:cubicBezTo>
                    <a:pt x="0" y="28"/>
                    <a:pt x="0" y="30"/>
                    <a:pt x="0" y="28"/>
                  </a:cubicBezTo>
                  <a:cubicBezTo>
                    <a:pt x="1" y="25"/>
                    <a:pt x="0" y="24"/>
                    <a:pt x="0" y="19"/>
                  </a:cubicBezTo>
                  <a:cubicBezTo>
                    <a:pt x="1" y="14"/>
                    <a:pt x="1" y="8"/>
                    <a:pt x="7" y="8"/>
                  </a:cubicBezTo>
                  <a:cubicBezTo>
                    <a:pt x="13" y="10"/>
                    <a:pt x="13" y="3"/>
                    <a:pt x="16" y="3"/>
                  </a:cubicBezTo>
                  <a:cubicBezTo>
                    <a:pt x="20" y="3"/>
                    <a:pt x="20" y="0"/>
                    <a:pt x="20" y="0"/>
                  </a:cubicBezTo>
                  <a:cubicBezTo>
                    <a:pt x="21" y="2"/>
                    <a:pt x="18" y="2"/>
                    <a:pt x="20" y="5"/>
                  </a:cubicBezTo>
                  <a:cubicBezTo>
                    <a:pt x="20" y="7"/>
                    <a:pt x="20" y="8"/>
                    <a:pt x="20" y="8"/>
                  </a:cubicBezTo>
                  <a:cubicBezTo>
                    <a:pt x="18" y="10"/>
                    <a:pt x="18" y="10"/>
                    <a:pt x="18" y="11"/>
                  </a:cubicBezTo>
                  <a:cubicBezTo>
                    <a:pt x="16" y="13"/>
                    <a:pt x="20" y="14"/>
                    <a:pt x="18" y="16"/>
                  </a:cubicBezTo>
                  <a:cubicBezTo>
                    <a:pt x="16" y="17"/>
                    <a:pt x="18" y="16"/>
                    <a:pt x="20" y="17"/>
                  </a:cubicBezTo>
                  <a:cubicBezTo>
                    <a:pt x="20" y="17"/>
                    <a:pt x="24" y="16"/>
                    <a:pt x="23" y="19"/>
                  </a:cubicBezTo>
                  <a:cubicBezTo>
                    <a:pt x="23" y="21"/>
                    <a:pt x="21" y="22"/>
                    <a:pt x="21" y="21"/>
                  </a:cubicBezTo>
                  <a:cubicBezTo>
                    <a:pt x="20" y="21"/>
                    <a:pt x="20" y="22"/>
                    <a:pt x="20" y="22"/>
                  </a:cubicBezTo>
                  <a:cubicBezTo>
                    <a:pt x="18" y="21"/>
                    <a:pt x="20" y="19"/>
                    <a:pt x="18" y="19"/>
                  </a:cubicBezTo>
                  <a:cubicBezTo>
                    <a:pt x="16" y="19"/>
                    <a:pt x="18" y="24"/>
                    <a:pt x="16" y="25"/>
                  </a:cubicBezTo>
                  <a:cubicBezTo>
                    <a:pt x="16" y="27"/>
                    <a:pt x="13" y="24"/>
                    <a:pt x="15" y="25"/>
                  </a:cubicBezTo>
                  <a:cubicBezTo>
                    <a:pt x="16" y="27"/>
                    <a:pt x="13" y="27"/>
                    <a:pt x="13" y="28"/>
                  </a:cubicBezTo>
                  <a:cubicBezTo>
                    <a:pt x="15" y="28"/>
                    <a:pt x="10" y="28"/>
                    <a:pt x="12" y="30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3"/>
                    <a:pt x="10" y="33"/>
                    <a:pt x="12" y="35"/>
                  </a:cubicBezTo>
                  <a:cubicBezTo>
                    <a:pt x="12" y="36"/>
                    <a:pt x="12" y="35"/>
                    <a:pt x="15" y="36"/>
                  </a:cubicBezTo>
                  <a:cubicBezTo>
                    <a:pt x="16" y="38"/>
                    <a:pt x="15" y="38"/>
                    <a:pt x="15" y="38"/>
                  </a:cubicBezTo>
                  <a:cubicBezTo>
                    <a:pt x="13" y="36"/>
                    <a:pt x="13" y="38"/>
                    <a:pt x="13" y="38"/>
                  </a:cubicBezTo>
                  <a:cubicBezTo>
                    <a:pt x="12" y="38"/>
                    <a:pt x="12" y="36"/>
                    <a:pt x="10" y="38"/>
                  </a:cubicBezTo>
                  <a:cubicBezTo>
                    <a:pt x="10" y="38"/>
                    <a:pt x="9" y="38"/>
                    <a:pt x="7" y="38"/>
                  </a:cubicBezTo>
                  <a:cubicBezTo>
                    <a:pt x="6" y="36"/>
                    <a:pt x="6" y="38"/>
                    <a:pt x="4" y="38"/>
                  </a:cubicBezTo>
                  <a:cubicBezTo>
                    <a:pt x="4" y="31"/>
                    <a:pt x="3" y="36"/>
                    <a:pt x="3" y="35"/>
                  </a:cubicBezTo>
                  <a:close/>
                  <a:moveTo>
                    <a:pt x="53" y="31"/>
                  </a:moveTo>
                  <a:cubicBezTo>
                    <a:pt x="55" y="31"/>
                    <a:pt x="58" y="35"/>
                    <a:pt x="56" y="36"/>
                  </a:cubicBezTo>
                  <a:cubicBezTo>
                    <a:pt x="53" y="36"/>
                    <a:pt x="52" y="33"/>
                    <a:pt x="53" y="31"/>
                  </a:cubicBezTo>
                  <a:close/>
                  <a:moveTo>
                    <a:pt x="23" y="7"/>
                  </a:moveTo>
                  <a:cubicBezTo>
                    <a:pt x="23" y="7"/>
                    <a:pt x="26" y="7"/>
                    <a:pt x="24" y="7"/>
                  </a:cubicBezTo>
                  <a:cubicBezTo>
                    <a:pt x="24" y="8"/>
                    <a:pt x="23" y="8"/>
                    <a:pt x="23" y="7"/>
                  </a:cubicBezTo>
                  <a:close/>
                  <a:moveTo>
                    <a:pt x="21" y="30"/>
                  </a:moveTo>
                  <a:cubicBezTo>
                    <a:pt x="20" y="28"/>
                    <a:pt x="20" y="28"/>
                    <a:pt x="20" y="28"/>
                  </a:cubicBezTo>
                  <a:cubicBezTo>
                    <a:pt x="20" y="30"/>
                    <a:pt x="20" y="30"/>
                    <a:pt x="18" y="28"/>
                  </a:cubicBezTo>
                  <a:cubicBezTo>
                    <a:pt x="18" y="28"/>
                    <a:pt x="15" y="30"/>
                    <a:pt x="13" y="30"/>
                  </a:cubicBezTo>
                  <a:cubicBezTo>
                    <a:pt x="13" y="28"/>
                    <a:pt x="12" y="30"/>
                    <a:pt x="13" y="30"/>
                  </a:cubicBezTo>
                  <a:cubicBezTo>
                    <a:pt x="15" y="31"/>
                    <a:pt x="15" y="31"/>
                    <a:pt x="15" y="33"/>
                  </a:cubicBezTo>
                  <a:cubicBezTo>
                    <a:pt x="15" y="35"/>
                    <a:pt x="15" y="33"/>
                    <a:pt x="16" y="33"/>
                  </a:cubicBezTo>
                  <a:cubicBezTo>
                    <a:pt x="16" y="35"/>
                    <a:pt x="15" y="35"/>
                    <a:pt x="16" y="35"/>
                  </a:cubicBezTo>
                  <a:cubicBezTo>
                    <a:pt x="20" y="35"/>
                    <a:pt x="20" y="36"/>
                    <a:pt x="21" y="35"/>
                  </a:cubicBezTo>
                  <a:cubicBezTo>
                    <a:pt x="23" y="33"/>
                    <a:pt x="21" y="31"/>
                    <a:pt x="21" y="30"/>
                  </a:cubicBezTo>
                  <a:close/>
                  <a:moveTo>
                    <a:pt x="20" y="27"/>
                  </a:moveTo>
                  <a:cubicBezTo>
                    <a:pt x="20" y="25"/>
                    <a:pt x="20" y="24"/>
                    <a:pt x="20" y="24"/>
                  </a:cubicBezTo>
                  <a:cubicBezTo>
                    <a:pt x="21" y="25"/>
                    <a:pt x="20" y="27"/>
                    <a:pt x="20" y="27"/>
                  </a:cubicBezTo>
                  <a:close/>
                  <a:moveTo>
                    <a:pt x="23" y="35"/>
                  </a:moveTo>
                  <a:cubicBezTo>
                    <a:pt x="23" y="35"/>
                    <a:pt x="21" y="35"/>
                    <a:pt x="21" y="36"/>
                  </a:cubicBezTo>
                  <a:cubicBezTo>
                    <a:pt x="21" y="36"/>
                    <a:pt x="20" y="38"/>
                    <a:pt x="20" y="39"/>
                  </a:cubicBezTo>
                  <a:cubicBezTo>
                    <a:pt x="21" y="41"/>
                    <a:pt x="21" y="36"/>
                    <a:pt x="23" y="35"/>
                  </a:cubicBezTo>
                  <a:close/>
                  <a:moveTo>
                    <a:pt x="29" y="41"/>
                  </a:moveTo>
                  <a:cubicBezTo>
                    <a:pt x="30" y="41"/>
                    <a:pt x="30" y="39"/>
                    <a:pt x="30" y="39"/>
                  </a:cubicBezTo>
                  <a:cubicBezTo>
                    <a:pt x="29" y="38"/>
                    <a:pt x="29" y="36"/>
                    <a:pt x="29" y="38"/>
                  </a:cubicBezTo>
                  <a:cubicBezTo>
                    <a:pt x="29" y="38"/>
                    <a:pt x="27" y="38"/>
                    <a:pt x="26" y="36"/>
                  </a:cubicBezTo>
                  <a:cubicBezTo>
                    <a:pt x="24" y="36"/>
                    <a:pt x="24" y="38"/>
                    <a:pt x="24" y="38"/>
                  </a:cubicBezTo>
                  <a:cubicBezTo>
                    <a:pt x="23" y="39"/>
                    <a:pt x="27" y="41"/>
                    <a:pt x="29" y="41"/>
                  </a:cubicBezTo>
                  <a:close/>
                  <a:moveTo>
                    <a:pt x="32" y="39"/>
                  </a:moveTo>
                  <a:cubicBezTo>
                    <a:pt x="33" y="38"/>
                    <a:pt x="32" y="38"/>
                    <a:pt x="32" y="38"/>
                  </a:cubicBezTo>
                  <a:cubicBezTo>
                    <a:pt x="30" y="36"/>
                    <a:pt x="30" y="36"/>
                    <a:pt x="32" y="36"/>
                  </a:cubicBezTo>
                  <a:cubicBezTo>
                    <a:pt x="32" y="36"/>
                    <a:pt x="33" y="36"/>
                    <a:pt x="32" y="35"/>
                  </a:cubicBezTo>
                  <a:cubicBezTo>
                    <a:pt x="32" y="33"/>
                    <a:pt x="32" y="33"/>
                    <a:pt x="33" y="33"/>
                  </a:cubicBezTo>
                  <a:cubicBezTo>
                    <a:pt x="35" y="33"/>
                    <a:pt x="35" y="31"/>
                    <a:pt x="33" y="31"/>
                  </a:cubicBezTo>
                  <a:cubicBezTo>
                    <a:pt x="32" y="30"/>
                    <a:pt x="33" y="28"/>
                    <a:pt x="35" y="28"/>
                  </a:cubicBezTo>
                  <a:cubicBezTo>
                    <a:pt x="36" y="28"/>
                    <a:pt x="35" y="25"/>
                    <a:pt x="36" y="24"/>
                  </a:cubicBezTo>
                  <a:cubicBezTo>
                    <a:pt x="36" y="22"/>
                    <a:pt x="35" y="22"/>
                    <a:pt x="33" y="22"/>
                  </a:cubicBezTo>
                  <a:cubicBezTo>
                    <a:pt x="32" y="21"/>
                    <a:pt x="30" y="24"/>
                    <a:pt x="30" y="24"/>
                  </a:cubicBezTo>
                  <a:cubicBezTo>
                    <a:pt x="30" y="25"/>
                    <a:pt x="30" y="25"/>
                    <a:pt x="30" y="27"/>
                  </a:cubicBezTo>
                  <a:cubicBezTo>
                    <a:pt x="30" y="28"/>
                    <a:pt x="29" y="27"/>
                    <a:pt x="29" y="25"/>
                  </a:cubicBezTo>
                  <a:cubicBezTo>
                    <a:pt x="29" y="25"/>
                    <a:pt x="30" y="24"/>
                    <a:pt x="29" y="24"/>
                  </a:cubicBezTo>
                  <a:cubicBezTo>
                    <a:pt x="27" y="25"/>
                    <a:pt x="26" y="24"/>
                    <a:pt x="26" y="24"/>
                  </a:cubicBezTo>
                  <a:cubicBezTo>
                    <a:pt x="24" y="24"/>
                    <a:pt x="29" y="24"/>
                    <a:pt x="26" y="27"/>
                  </a:cubicBezTo>
                  <a:cubicBezTo>
                    <a:pt x="24" y="27"/>
                    <a:pt x="23" y="27"/>
                    <a:pt x="23" y="27"/>
                  </a:cubicBezTo>
                  <a:cubicBezTo>
                    <a:pt x="21" y="27"/>
                    <a:pt x="24" y="28"/>
                    <a:pt x="24" y="28"/>
                  </a:cubicBezTo>
                  <a:cubicBezTo>
                    <a:pt x="24" y="30"/>
                    <a:pt x="26" y="30"/>
                    <a:pt x="24" y="31"/>
                  </a:cubicBezTo>
                  <a:cubicBezTo>
                    <a:pt x="23" y="31"/>
                    <a:pt x="26" y="31"/>
                    <a:pt x="26" y="33"/>
                  </a:cubicBezTo>
                  <a:cubicBezTo>
                    <a:pt x="26" y="35"/>
                    <a:pt x="26" y="33"/>
                    <a:pt x="27" y="33"/>
                  </a:cubicBezTo>
                  <a:cubicBezTo>
                    <a:pt x="29" y="35"/>
                    <a:pt x="29" y="33"/>
                    <a:pt x="29" y="35"/>
                  </a:cubicBezTo>
                  <a:cubicBezTo>
                    <a:pt x="29" y="36"/>
                    <a:pt x="29" y="35"/>
                    <a:pt x="29" y="35"/>
                  </a:cubicBezTo>
                  <a:cubicBezTo>
                    <a:pt x="27" y="36"/>
                    <a:pt x="30" y="36"/>
                    <a:pt x="29" y="36"/>
                  </a:cubicBezTo>
                  <a:cubicBezTo>
                    <a:pt x="29" y="36"/>
                    <a:pt x="29" y="38"/>
                    <a:pt x="30" y="38"/>
                  </a:cubicBezTo>
                  <a:cubicBezTo>
                    <a:pt x="30" y="39"/>
                    <a:pt x="30" y="41"/>
                    <a:pt x="32" y="41"/>
                  </a:cubicBezTo>
                  <a:cubicBezTo>
                    <a:pt x="32" y="42"/>
                    <a:pt x="32" y="39"/>
                    <a:pt x="32" y="39"/>
                  </a:cubicBezTo>
                  <a:close/>
                  <a:moveTo>
                    <a:pt x="33" y="36"/>
                  </a:moveTo>
                  <a:cubicBezTo>
                    <a:pt x="33" y="36"/>
                    <a:pt x="33" y="35"/>
                    <a:pt x="35" y="36"/>
                  </a:cubicBezTo>
                  <a:cubicBezTo>
                    <a:pt x="36" y="36"/>
                    <a:pt x="32" y="38"/>
                    <a:pt x="33" y="36"/>
                  </a:cubicBezTo>
                  <a:close/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64" name="Freeform 185">
              <a:extLst>
                <a:ext uri="{FF2B5EF4-FFF2-40B4-BE49-F238E27FC236}">
                  <a16:creationId xmlns:a16="http://schemas.microsoft.com/office/drawing/2014/main" id="{C02B3DC6-79CA-609A-D495-A2FF9685EA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577185" y="2936764"/>
              <a:ext cx="229770" cy="286002"/>
            </a:xfrm>
            <a:custGeom>
              <a:avLst/>
              <a:gdLst/>
              <a:ahLst/>
              <a:cxnLst>
                <a:cxn ang="0">
                  <a:pos x="56" y="81"/>
                </a:cxn>
                <a:cxn ang="0">
                  <a:pos x="57" y="90"/>
                </a:cxn>
                <a:cxn ang="0">
                  <a:pos x="51" y="87"/>
                </a:cxn>
                <a:cxn ang="0">
                  <a:pos x="41" y="90"/>
                </a:cxn>
                <a:cxn ang="0">
                  <a:pos x="36" y="92"/>
                </a:cxn>
                <a:cxn ang="0">
                  <a:pos x="26" y="89"/>
                </a:cxn>
                <a:cxn ang="0">
                  <a:pos x="20" y="89"/>
                </a:cxn>
                <a:cxn ang="0">
                  <a:pos x="18" y="73"/>
                </a:cxn>
                <a:cxn ang="0">
                  <a:pos x="9" y="70"/>
                </a:cxn>
                <a:cxn ang="0">
                  <a:pos x="6" y="62"/>
                </a:cxn>
                <a:cxn ang="0">
                  <a:pos x="4" y="55"/>
                </a:cxn>
                <a:cxn ang="0">
                  <a:pos x="1" y="48"/>
                </a:cxn>
                <a:cxn ang="0">
                  <a:pos x="3" y="42"/>
                </a:cxn>
                <a:cxn ang="0">
                  <a:pos x="7" y="36"/>
                </a:cxn>
                <a:cxn ang="0">
                  <a:pos x="7" y="30"/>
                </a:cxn>
                <a:cxn ang="0">
                  <a:pos x="12" y="22"/>
                </a:cxn>
                <a:cxn ang="0">
                  <a:pos x="15" y="16"/>
                </a:cxn>
                <a:cxn ang="0">
                  <a:pos x="21" y="17"/>
                </a:cxn>
                <a:cxn ang="0">
                  <a:pos x="23" y="14"/>
                </a:cxn>
                <a:cxn ang="0">
                  <a:pos x="26" y="13"/>
                </a:cxn>
                <a:cxn ang="0">
                  <a:pos x="24" y="10"/>
                </a:cxn>
                <a:cxn ang="0">
                  <a:pos x="26" y="5"/>
                </a:cxn>
                <a:cxn ang="0">
                  <a:pos x="26" y="2"/>
                </a:cxn>
                <a:cxn ang="0">
                  <a:pos x="32" y="2"/>
                </a:cxn>
                <a:cxn ang="0">
                  <a:pos x="33" y="7"/>
                </a:cxn>
                <a:cxn ang="0">
                  <a:pos x="41" y="8"/>
                </a:cxn>
                <a:cxn ang="0">
                  <a:pos x="39" y="13"/>
                </a:cxn>
                <a:cxn ang="0">
                  <a:pos x="48" y="10"/>
                </a:cxn>
                <a:cxn ang="0">
                  <a:pos x="56" y="7"/>
                </a:cxn>
                <a:cxn ang="0">
                  <a:pos x="64" y="11"/>
                </a:cxn>
                <a:cxn ang="0">
                  <a:pos x="67" y="16"/>
                </a:cxn>
                <a:cxn ang="0">
                  <a:pos x="68" y="28"/>
                </a:cxn>
                <a:cxn ang="0">
                  <a:pos x="70" y="41"/>
                </a:cxn>
                <a:cxn ang="0">
                  <a:pos x="68" y="48"/>
                </a:cxn>
                <a:cxn ang="0">
                  <a:pos x="54" y="56"/>
                </a:cxn>
                <a:cxn ang="0">
                  <a:pos x="56" y="67"/>
                </a:cxn>
                <a:cxn ang="0">
                  <a:pos x="61" y="80"/>
                </a:cxn>
                <a:cxn ang="0">
                  <a:pos x="64" y="11"/>
                </a:cxn>
                <a:cxn ang="0">
                  <a:pos x="64" y="14"/>
                </a:cxn>
                <a:cxn ang="0">
                  <a:pos x="67" y="13"/>
                </a:cxn>
                <a:cxn ang="0">
                  <a:pos x="44" y="7"/>
                </a:cxn>
                <a:cxn ang="0">
                  <a:pos x="61" y="10"/>
                </a:cxn>
                <a:cxn ang="0">
                  <a:pos x="62" y="8"/>
                </a:cxn>
                <a:cxn ang="0">
                  <a:pos x="59" y="3"/>
                </a:cxn>
                <a:cxn ang="0">
                  <a:pos x="59" y="5"/>
                </a:cxn>
                <a:cxn ang="0">
                  <a:pos x="59" y="10"/>
                </a:cxn>
              </a:cxnLst>
              <a:rect l="0" t="0" r="r" b="b"/>
              <a:pathLst>
                <a:path w="74" h="92">
                  <a:moveTo>
                    <a:pt x="61" y="80"/>
                  </a:moveTo>
                  <a:cubicBezTo>
                    <a:pt x="61" y="81"/>
                    <a:pt x="59" y="80"/>
                    <a:pt x="56" y="81"/>
                  </a:cubicBezTo>
                  <a:cubicBezTo>
                    <a:pt x="54" y="84"/>
                    <a:pt x="59" y="86"/>
                    <a:pt x="57" y="86"/>
                  </a:cubicBezTo>
                  <a:cubicBezTo>
                    <a:pt x="54" y="87"/>
                    <a:pt x="59" y="89"/>
                    <a:pt x="57" y="90"/>
                  </a:cubicBezTo>
                  <a:cubicBezTo>
                    <a:pt x="56" y="92"/>
                    <a:pt x="56" y="87"/>
                    <a:pt x="54" y="89"/>
                  </a:cubicBezTo>
                  <a:cubicBezTo>
                    <a:pt x="53" y="89"/>
                    <a:pt x="51" y="86"/>
                    <a:pt x="51" y="87"/>
                  </a:cubicBezTo>
                  <a:cubicBezTo>
                    <a:pt x="50" y="90"/>
                    <a:pt x="48" y="87"/>
                    <a:pt x="47" y="89"/>
                  </a:cubicBezTo>
                  <a:cubicBezTo>
                    <a:pt x="44" y="90"/>
                    <a:pt x="42" y="92"/>
                    <a:pt x="41" y="90"/>
                  </a:cubicBezTo>
                  <a:cubicBezTo>
                    <a:pt x="41" y="89"/>
                    <a:pt x="39" y="90"/>
                    <a:pt x="38" y="89"/>
                  </a:cubicBezTo>
                  <a:cubicBezTo>
                    <a:pt x="36" y="89"/>
                    <a:pt x="38" y="92"/>
                    <a:pt x="36" y="92"/>
                  </a:cubicBezTo>
                  <a:cubicBezTo>
                    <a:pt x="35" y="92"/>
                    <a:pt x="33" y="87"/>
                    <a:pt x="30" y="90"/>
                  </a:cubicBezTo>
                  <a:cubicBezTo>
                    <a:pt x="29" y="89"/>
                    <a:pt x="27" y="87"/>
                    <a:pt x="26" y="89"/>
                  </a:cubicBezTo>
                  <a:cubicBezTo>
                    <a:pt x="24" y="89"/>
                    <a:pt x="24" y="86"/>
                    <a:pt x="23" y="87"/>
                  </a:cubicBezTo>
                  <a:cubicBezTo>
                    <a:pt x="20" y="87"/>
                    <a:pt x="23" y="89"/>
                    <a:pt x="20" y="89"/>
                  </a:cubicBezTo>
                  <a:cubicBezTo>
                    <a:pt x="16" y="89"/>
                    <a:pt x="16" y="90"/>
                    <a:pt x="13" y="89"/>
                  </a:cubicBezTo>
                  <a:cubicBezTo>
                    <a:pt x="13" y="76"/>
                    <a:pt x="21" y="73"/>
                    <a:pt x="18" y="73"/>
                  </a:cubicBezTo>
                  <a:cubicBezTo>
                    <a:pt x="16" y="72"/>
                    <a:pt x="15" y="70"/>
                    <a:pt x="12" y="72"/>
                  </a:cubicBezTo>
                  <a:cubicBezTo>
                    <a:pt x="9" y="72"/>
                    <a:pt x="10" y="70"/>
                    <a:pt x="9" y="70"/>
                  </a:cubicBezTo>
                  <a:cubicBezTo>
                    <a:pt x="6" y="70"/>
                    <a:pt x="7" y="67"/>
                    <a:pt x="4" y="67"/>
                  </a:cubicBezTo>
                  <a:cubicBezTo>
                    <a:pt x="4" y="64"/>
                    <a:pt x="7" y="64"/>
                    <a:pt x="6" y="62"/>
                  </a:cubicBezTo>
                  <a:cubicBezTo>
                    <a:pt x="6" y="62"/>
                    <a:pt x="3" y="62"/>
                    <a:pt x="3" y="58"/>
                  </a:cubicBezTo>
                  <a:cubicBezTo>
                    <a:pt x="7" y="55"/>
                    <a:pt x="3" y="56"/>
                    <a:pt x="4" y="55"/>
                  </a:cubicBezTo>
                  <a:cubicBezTo>
                    <a:pt x="4" y="53"/>
                    <a:pt x="3" y="53"/>
                    <a:pt x="1" y="52"/>
                  </a:cubicBezTo>
                  <a:cubicBezTo>
                    <a:pt x="1" y="52"/>
                    <a:pt x="4" y="50"/>
                    <a:pt x="1" y="48"/>
                  </a:cubicBezTo>
                  <a:cubicBezTo>
                    <a:pt x="0" y="48"/>
                    <a:pt x="3" y="48"/>
                    <a:pt x="3" y="47"/>
                  </a:cubicBezTo>
                  <a:cubicBezTo>
                    <a:pt x="3" y="45"/>
                    <a:pt x="4" y="45"/>
                    <a:pt x="3" y="42"/>
                  </a:cubicBezTo>
                  <a:cubicBezTo>
                    <a:pt x="1" y="39"/>
                    <a:pt x="1" y="38"/>
                    <a:pt x="4" y="39"/>
                  </a:cubicBezTo>
                  <a:cubicBezTo>
                    <a:pt x="6" y="39"/>
                    <a:pt x="9" y="38"/>
                    <a:pt x="7" y="36"/>
                  </a:cubicBezTo>
                  <a:cubicBezTo>
                    <a:pt x="6" y="36"/>
                    <a:pt x="10" y="34"/>
                    <a:pt x="10" y="33"/>
                  </a:cubicBezTo>
                  <a:cubicBezTo>
                    <a:pt x="10" y="30"/>
                    <a:pt x="7" y="33"/>
                    <a:pt x="7" y="30"/>
                  </a:cubicBezTo>
                  <a:cubicBezTo>
                    <a:pt x="7" y="28"/>
                    <a:pt x="7" y="28"/>
                    <a:pt x="9" y="28"/>
                  </a:cubicBezTo>
                  <a:cubicBezTo>
                    <a:pt x="10" y="30"/>
                    <a:pt x="10" y="28"/>
                    <a:pt x="12" y="22"/>
                  </a:cubicBezTo>
                  <a:cubicBezTo>
                    <a:pt x="12" y="21"/>
                    <a:pt x="9" y="22"/>
                    <a:pt x="10" y="19"/>
                  </a:cubicBezTo>
                  <a:cubicBezTo>
                    <a:pt x="10" y="16"/>
                    <a:pt x="12" y="16"/>
                    <a:pt x="15" y="16"/>
                  </a:cubicBezTo>
                  <a:cubicBezTo>
                    <a:pt x="21" y="16"/>
                    <a:pt x="16" y="17"/>
                    <a:pt x="20" y="19"/>
                  </a:cubicBezTo>
                  <a:cubicBezTo>
                    <a:pt x="21" y="21"/>
                    <a:pt x="18" y="17"/>
                    <a:pt x="21" y="17"/>
                  </a:cubicBezTo>
                  <a:cubicBezTo>
                    <a:pt x="23" y="17"/>
                    <a:pt x="21" y="21"/>
                    <a:pt x="23" y="21"/>
                  </a:cubicBezTo>
                  <a:cubicBezTo>
                    <a:pt x="24" y="19"/>
                    <a:pt x="21" y="13"/>
                    <a:pt x="23" y="14"/>
                  </a:cubicBezTo>
                  <a:cubicBezTo>
                    <a:pt x="26" y="14"/>
                    <a:pt x="27" y="14"/>
                    <a:pt x="29" y="16"/>
                  </a:cubicBezTo>
                  <a:cubicBezTo>
                    <a:pt x="30" y="17"/>
                    <a:pt x="29" y="14"/>
                    <a:pt x="26" y="13"/>
                  </a:cubicBezTo>
                  <a:cubicBezTo>
                    <a:pt x="24" y="13"/>
                    <a:pt x="24" y="13"/>
                    <a:pt x="26" y="11"/>
                  </a:cubicBezTo>
                  <a:cubicBezTo>
                    <a:pt x="27" y="11"/>
                    <a:pt x="23" y="11"/>
                    <a:pt x="24" y="10"/>
                  </a:cubicBezTo>
                  <a:cubicBezTo>
                    <a:pt x="26" y="8"/>
                    <a:pt x="23" y="10"/>
                    <a:pt x="23" y="8"/>
                  </a:cubicBezTo>
                  <a:cubicBezTo>
                    <a:pt x="23" y="7"/>
                    <a:pt x="27" y="8"/>
                    <a:pt x="26" y="5"/>
                  </a:cubicBezTo>
                  <a:cubicBezTo>
                    <a:pt x="24" y="3"/>
                    <a:pt x="23" y="3"/>
                    <a:pt x="23" y="2"/>
                  </a:cubicBezTo>
                  <a:cubicBezTo>
                    <a:pt x="24" y="2"/>
                    <a:pt x="24" y="0"/>
                    <a:pt x="26" y="2"/>
                  </a:cubicBezTo>
                  <a:cubicBezTo>
                    <a:pt x="27" y="2"/>
                    <a:pt x="29" y="2"/>
                    <a:pt x="29" y="2"/>
                  </a:cubicBezTo>
                  <a:cubicBezTo>
                    <a:pt x="30" y="3"/>
                    <a:pt x="30" y="2"/>
                    <a:pt x="32" y="2"/>
                  </a:cubicBezTo>
                  <a:cubicBezTo>
                    <a:pt x="33" y="3"/>
                    <a:pt x="33" y="2"/>
                    <a:pt x="33" y="3"/>
                  </a:cubicBezTo>
                  <a:cubicBezTo>
                    <a:pt x="35" y="7"/>
                    <a:pt x="32" y="7"/>
                    <a:pt x="33" y="7"/>
                  </a:cubicBezTo>
                  <a:cubicBezTo>
                    <a:pt x="35" y="7"/>
                    <a:pt x="35" y="8"/>
                    <a:pt x="36" y="7"/>
                  </a:cubicBezTo>
                  <a:cubicBezTo>
                    <a:pt x="38" y="7"/>
                    <a:pt x="36" y="10"/>
                    <a:pt x="41" y="8"/>
                  </a:cubicBezTo>
                  <a:cubicBezTo>
                    <a:pt x="44" y="7"/>
                    <a:pt x="42" y="8"/>
                    <a:pt x="42" y="10"/>
                  </a:cubicBezTo>
                  <a:cubicBezTo>
                    <a:pt x="44" y="11"/>
                    <a:pt x="39" y="11"/>
                    <a:pt x="39" y="13"/>
                  </a:cubicBezTo>
                  <a:cubicBezTo>
                    <a:pt x="41" y="14"/>
                    <a:pt x="42" y="11"/>
                    <a:pt x="44" y="13"/>
                  </a:cubicBezTo>
                  <a:cubicBezTo>
                    <a:pt x="47" y="14"/>
                    <a:pt x="44" y="10"/>
                    <a:pt x="48" y="10"/>
                  </a:cubicBezTo>
                  <a:cubicBezTo>
                    <a:pt x="51" y="10"/>
                    <a:pt x="53" y="7"/>
                    <a:pt x="53" y="7"/>
                  </a:cubicBezTo>
                  <a:cubicBezTo>
                    <a:pt x="54" y="5"/>
                    <a:pt x="54" y="8"/>
                    <a:pt x="56" y="7"/>
                  </a:cubicBezTo>
                  <a:cubicBezTo>
                    <a:pt x="57" y="7"/>
                    <a:pt x="56" y="8"/>
                    <a:pt x="59" y="10"/>
                  </a:cubicBezTo>
                  <a:cubicBezTo>
                    <a:pt x="61" y="13"/>
                    <a:pt x="64" y="10"/>
                    <a:pt x="64" y="11"/>
                  </a:cubicBezTo>
                  <a:cubicBezTo>
                    <a:pt x="64" y="13"/>
                    <a:pt x="64" y="13"/>
                    <a:pt x="64" y="13"/>
                  </a:cubicBezTo>
                  <a:cubicBezTo>
                    <a:pt x="64" y="14"/>
                    <a:pt x="64" y="16"/>
                    <a:pt x="67" y="16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70" y="24"/>
                    <a:pt x="64" y="25"/>
                    <a:pt x="68" y="28"/>
                  </a:cubicBezTo>
                  <a:cubicBezTo>
                    <a:pt x="73" y="31"/>
                    <a:pt x="68" y="31"/>
                    <a:pt x="70" y="33"/>
                  </a:cubicBezTo>
                  <a:cubicBezTo>
                    <a:pt x="73" y="38"/>
                    <a:pt x="70" y="38"/>
                    <a:pt x="70" y="41"/>
                  </a:cubicBezTo>
                  <a:cubicBezTo>
                    <a:pt x="71" y="45"/>
                    <a:pt x="74" y="41"/>
                    <a:pt x="73" y="50"/>
                  </a:cubicBezTo>
                  <a:cubicBezTo>
                    <a:pt x="70" y="52"/>
                    <a:pt x="68" y="48"/>
                    <a:pt x="68" y="48"/>
                  </a:cubicBezTo>
                  <a:cubicBezTo>
                    <a:pt x="67" y="48"/>
                    <a:pt x="70" y="50"/>
                    <a:pt x="65" y="52"/>
                  </a:cubicBezTo>
                  <a:cubicBezTo>
                    <a:pt x="61" y="52"/>
                    <a:pt x="59" y="55"/>
                    <a:pt x="54" y="56"/>
                  </a:cubicBezTo>
                  <a:cubicBezTo>
                    <a:pt x="51" y="58"/>
                    <a:pt x="50" y="58"/>
                    <a:pt x="51" y="61"/>
                  </a:cubicBezTo>
                  <a:cubicBezTo>
                    <a:pt x="54" y="64"/>
                    <a:pt x="50" y="66"/>
                    <a:pt x="56" y="67"/>
                  </a:cubicBezTo>
                  <a:cubicBezTo>
                    <a:pt x="59" y="69"/>
                    <a:pt x="59" y="72"/>
                    <a:pt x="64" y="75"/>
                  </a:cubicBezTo>
                  <a:cubicBezTo>
                    <a:pt x="64" y="80"/>
                    <a:pt x="61" y="76"/>
                    <a:pt x="61" y="80"/>
                  </a:cubicBezTo>
                  <a:close/>
                  <a:moveTo>
                    <a:pt x="67" y="13"/>
                  </a:moveTo>
                  <a:cubicBezTo>
                    <a:pt x="65" y="13"/>
                    <a:pt x="65" y="11"/>
                    <a:pt x="64" y="11"/>
                  </a:cubicBezTo>
                  <a:cubicBezTo>
                    <a:pt x="64" y="10"/>
                    <a:pt x="64" y="13"/>
                    <a:pt x="65" y="13"/>
                  </a:cubicBezTo>
                  <a:cubicBezTo>
                    <a:pt x="65" y="14"/>
                    <a:pt x="64" y="14"/>
                    <a:pt x="64" y="14"/>
                  </a:cubicBezTo>
                  <a:cubicBezTo>
                    <a:pt x="65" y="14"/>
                    <a:pt x="67" y="14"/>
                    <a:pt x="67" y="14"/>
                  </a:cubicBezTo>
                  <a:cubicBezTo>
                    <a:pt x="67" y="13"/>
                    <a:pt x="67" y="13"/>
                    <a:pt x="67" y="13"/>
                  </a:cubicBezTo>
                  <a:close/>
                  <a:moveTo>
                    <a:pt x="42" y="7"/>
                  </a:moveTo>
                  <a:cubicBezTo>
                    <a:pt x="42" y="5"/>
                    <a:pt x="44" y="7"/>
                    <a:pt x="44" y="7"/>
                  </a:cubicBezTo>
                  <a:cubicBezTo>
                    <a:pt x="44" y="8"/>
                    <a:pt x="41" y="7"/>
                    <a:pt x="42" y="7"/>
                  </a:cubicBezTo>
                  <a:close/>
                  <a:moveTo>
                    <a:pt x="61" y="10"/>
                  </a:moveTo>
                  <a:cubicBezTo>
                    <a:pt x="61" y="8"/>
                    <a:pt x="61" y="7"/>
                    <a:pt x="62" y="8"/>
                  </a:cubicBezTo>
                  <a:cubicBezTo>
                    <a:pt x="64" y="10"/>
                    <a:pt x="64" y="8"/>
                    <a:pt x="62" y="8"/>
                  </a:cubicBezTo>
                  <a:cubicBezTo>
                    <a:pt x="61" y="7"/>
                    <a:pt x="64" y="5"/>
                    <a:pt x="62" y="5"/>
                  </a:cubicBezTo>
                  <a:cubicBezTo>
                    <a:pt x="61" y="5"/>
                    <a:pt x="61" y="3"/>
                    <a:pt x="59" y="3"/>
                  </a:cubicBezTo>
                  <a:cubicBezTo>
                    <a:pt x="57" y="5"/>
                    <a:pt x="61" y="5"/>
                    <a:pt x="61" y="7"/>
                  </a:cubicBezTo>
                  <a:cubicBezTo>
                    <a:pt x="59" y="5"/>
                    <a:pt x="59" y="5"/>
                    <a:pt x="59" y="5"/>
                  </a:cubicBezTo>
                  <a:cubicBezTo>
                    <a:pt x="57" y="5"/>
                    <a:pt x="59" y="7"/>
                    <a:pt x="59" y="8"/>
                  </a:cubicBezTo>
                  <a:cubicBezTo>
                    <a:pt x="57" y="8"/>
                    <a:pt x="59" y="8"/>
                    <a:pt x="59" y="10"/>
                  </a:cubicBezTo>
                  <a:cubicBezTo>
                    <a:pt x="61" y="10"/>
                    <a:pt x="61" y="10"/>
                    <a:pt x="61" y="10"/>
                  </a:cubicBezTo>
                  <a:close/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65" name="Freeform 186">
              <a:extLst>
                <a:ext uri="{FF2B5EF4-FFF2-40B4-BE49-F238E27FC236}">
                  <a16:creationId xmlns:a16="http://schemas.microsoft.com/office/drawing/2014/main" id="{B4FAAE79-3DA6-381C-4748-E3C6D1F41A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20948" y="2994607"/>
              <a:ext cx="93193" cy="99618"/>
            </a:xfrm>
            <a:custGeom>
              <a:avLst/>
              <a:gdLst/>
              <a:ahLst/>
              <a:cxnLst>
                <a:cxn ang="0">
                  <a:pos x="27" y="9"/>
                </a:cxn>
                <a:cxn ang="0">
                  <a:pos x="25" y="11"/>
                </a:cxn>
                <a:cxn ang="0">
                  <a:pos x="28" y="14"/>
                </a:cxn>
                <a:cxn ang="0">
                  <a:pos x="25" y="17"/>
                </a:cxn>
                <a:cxn ang="0">
                  <a:pos x="22" y="20"/>
                </a:cxn>
                <a:cxn ang="0">
                  <a:pos x="21" y="23"/>
                </a:cxn>
                <a:cxn ang="0">
                  <a:pos x="21" y="28"/>
                </a:cxn>
                <a:cxn ang="0">
                  <a:pos x="19" y="29"/>
                </a:cxn>
                <a:cxn ang="0">
                  <a:pos x="19" y="32"/>
                </a:cxn>
                <a:cxn ang="0">
                  <a:pos x="16" y="26"/>
                </a:cxn>
                <a:cxn ang="0">
                  <a:pos x="12" y="25"/>
                </a:cxn>
                <a:cxn ang="0">
                  <a:pos x="9" y="25"/>
                </a:cxn>
                <a:cxn ang="0">
                  <a:pos x="7" y="25"/>
                </a:cxn>
                <a:cxn ang="0">
                  <a:pos x="4" y="26"/>
                </a:cxn>
                <a:cxn ang="0">
                  <a:pos x="1" y="26"/>
                </a:cxn>
                <a:cxn ang="0">
                  <a:pos x="0" y="25"/>
                </a:cxn>
                <a:cxn ang="0">
                  <a:pos x="1" y="26"/>
                </a:cxn>
                <a:cxn ang="0">
                  <a:pos x="4" y="25"/>
                </a:cxn>
                <a:cxn ang="0">
                  <a:pos x="4" y="25"/>
                </a:cxn>
                <a:cxn ang="0">
                  <a:pos x="0" y="23"/>
                </a:cxn>
                <a:cxn ang="0">
                  <a:pos x="4" y="23"/>
                </a:cxn>
                <a:cxn ang="0">
                  <a:pos x="1" y="22"/>
                </a:cxn>
                <a:cxn ang="0">
                  <a:pos x="4" y="18"/>
                </a:cxn>
                <a:cxn ang="0">
                  <a:pos x="7" y="14"/>
                </a:cxn>
                <a:cxn ang="0">
                  <a:pos x="10" y="6"/>
                </a:cxn>
                <a:cxn ang="0">
                  <a:pos x="12" y="8"/>
                </a:cxn>
                <a:cxn ang="0">
                  <a:pos x="13" y="9"/>
                </a:cxn>
                <a:cxn ang="0">
                  <a:pos x="13" y="14"/>
                </a:cxn>
                <a:cxn ang="0">
                  <a:pos x="16" y="11"/>
                </a:cxn>
                <a:cxn ang="0">
                  <a:pos x="16" y="8"/>
                </a:cxn>
                <a:cxn ang="0">
                  <a:pos x="15" y="5"/>
                </a:cxn>
                <a:cxn ang="0">
                  <a:pos x="19" y="0"/>
                </a:cxn>
                <a:cxn ang="0">
                  <a:pos x="27" y="1"/>
                </a:cxn>
                <a:cxn ang="0">
                  <a:pos x="30" y="3"/>
                </a:cxn>
                <a:cxn ang="0">
                  <a:pos x="27" y="9"/>
                </a:cxn>
              </a:cxnLst>
              <a:rect l="0" t="0" r="r" b="b"/>
              <a:pathLst>
                <a:path w="30" h="32">
                  <a:moveTo>
                    <a:pt x="27" y="9"/>
                  </a:moveTo>
                  <a:cubicBezTo>
                    <a:pt x="25" y="9"/>
                    <a:pt x="25" y="9"/>
                    <a:pt x="25" y="11"/>
                  </a:cubicBezTo>
                  <a:cubicBezTo>
                    <a:pt x="25" y="14"/>
                    <a:pt x="28" y="11"/>
                    <a:pt x="28" y="14"/>
                  </a:cubicBezTo>
                  <a:cubicBezTo>
                    <a:pt x="28" y="15"/>
                    <a:pt x="24" y="17"/>
                    <a:pt x="25" y="17"/>
                  </a:cubicBezTo>
                  <a:cubicBezTo>
                    <a:pt x="27" y="18"/>
                    <a:pt x="24" y="20"/>
                    <a:pt x="22" y="20"/>
                  </a:cubicBezTo>
                  <a:cubicBezTo>
                    <a:pt x="19" y="18"/>
                    <a:pt x="19" y="20"/>
                    <a:pt x="21" y="23"/>
                  </a:cubicBezTo>
                  <a:cubicBezTo>
                    <a:pt x="22" y="26"/>
                    <a:pt x="21" y="26"/>
                    <a:pt x="21" y="28"/>
                  </a:cubicBezTo>
                  <a:cubicBezTo>
                    <a:pt x="21" y="29"/>
                    <a:pt x="18" y="29"/>
                    <a:pt x="19" y="29"/>
                  </a:cubicBezTo>
                  <a:cubicBezTo>
                    <a:pt x="22" y="31"/>
                    <a:pt x="19" y="32"/>
                    <a:pt x="19" y="32"/>
                  </a:cubicBezTo>
                  <a:cubicBezTo>
                    <a:pt x="13" y="32"/>
                    <a:pt x="22" y="28"/>
                    <a:pt x="16" y="26"/>
                  </a:cubicBezTo>
                  <a:cubicBezTo>
                    <a:pt x="12" y="26"/>
                    <a:pt x="13" y="23"/>
                    <a:pt x="12" y="25"/>
                  </a:cubicBezTo>
                  <a:cubicBezTo>
                    <a:pt x="10" y="25"/>
                    <a:pt x="12" y="23"/>
                    <a:pt x="9" y="25"/>
                  </a:cubicBezTo>
                  <a:cubicBezTo>
                    <a:pt x="7" y="25"/>
                    <a:pt x="9" y="23"/>
                    <a:pt x="7" y="25"/>
                  </a:cubicBezTo>
                  <a:cubicBezTo>
                    <a:pt x="7" y="26"/>
                    <a:pt x="6" y="25"/>
                    <a:pt x="4" y="26"/>
                  </a:cubicBezTo>
                  <a:cubicBezTo>
                    <a:pt x="3" y="28"/>
                    <a:pt x="1" y="26"/>
                    <a:pt x="1" y="26"/>
                  </a:cubicBezTo>
                  <a:cubicBezTo>
                    <a:pt x="0" y="26"/>
                    <a:pt x="0" y="26"/>
                    <a:pt x="0" y="25"/>
                  </a:cubicBezTo>
                  <a:cubicBezTo>
                    <a:pt x="1" y="25"/>
                    <a:pt x="1" y="25"/>
                    <a:pt x="1" y="26"/>
                  </a:cubicBezTo>
                  <a:cubicBezTo>
                    <a:pt x="3" y="26"/>
                    <a:pt x="4" y="25"/>
                    <a:pt x="4" y="25"/>
                  </a:cubicBezTo>
                  <a:cubicBezTo>
                    <a:pt x="6" y="25"/>
                    <a:pt x="4" y="23"/>
                    <a:pt x="4" y="25"/>
                  </a:cubicBezTo>
                  <a:cubicBezTo>
                    <a:pt x="3" y="25"/>
                    <a:pt x="0" y="23"/>
                    <a:pt x="0" y="23"/>
                  </a:cubicBezTo>
                  <a:cubicBezTo>
                    <a:pt x="1" y="22"/>
                    <a:pt x="1" y="23"/>
                    <a:pt x="4" y="23"/>
                  </a:cubicBezTo>
                  <a:cubicBezTo>
                    <a:pt x="9" y="22"/>
                    <a:pt x="3" y="22"/>
                    <a:pt x="1" y="22"/>
                  </a:cubicBezTo>
                  <a:cubicBezTo>
                    <a:pt x="1" y="20"/>
                    <a:pt x="6" y="20"/>
                    <a:pt x="4" y="18"/>
                  </a:cubicBezTo>
                  <a:cubicBezTo>
                    <a:pt x="4" y="17"/>
                    <a:pt x="6" y="20"/>
                    <a:pt x="7" y="14"/>
                  </a:cubicBezTo>
                  <a:cubicBezTo>
                    <a:pt x="10" y="9"/>
                    <a:pt x="9" y="5"/>
                    <a:pt x="10" y="6"/>
                  </a:cubicBezTo>
                  <a:cubicBezTo>
                    <a:pt x="15" y="5"/>
                    <a:pt x="12" y="6"/>
                    <a:pt x="12" y="8"/>
                  </a:cubicBezTo>
                  <a:cubicBezTo>
                    <a:pt x="12" y="9"/>
                    <a:pt x="15" y="9"/>
                    <a:pt x="13" y="9"/>
                  </a:cubicBezTo>
                  <a:cubicBezTo>
                    <a:pt x="12" y="11"/>
                    <a:pt x="12" y="12"/>
                    <a:pt x="13" y="14"/>
                  </a:cubicBezTo>
                  <a:cubicBezTo>
                    <a:pt x="16" y="15"/>
                    <a:pt x="19" y="11"/>
                    <a:pt x="16" y="11"/>
                  </a:cubicBezTo>
                  <a:cubicBezTo>
                    <a:pt x="15" y="9"/>
                    <a:pt x="18" y="8"/>
                    <a:pt x="16" y="8"/>
                  </a:cubicBezTo>
                  <a:cubicBezTo>
                    <a:pt x="15" y="8"/>
                    <a:pt x="16" y="5"/>
                    <a:pt x="15" y="5"/>
                  </a:cubicBezTo>
                  <a:cubicBezTo>
                    <a:pt x="13" y="5"/>
                    <a:pt x="15" y="1"/>
                    <a:pt x="19" y="0"/>
                  </a:cubicBezTo>
                  <a:cubicBezTo>
                    <a:pt x="24" y="0"/>
                    <a:pt x="25" y="0"/>
                    <a:pt x="27" y="1"/>
                  </a:cubicBezTo>
                  <a:cubicBezTo>
                    <a:pt x="28" y="1"/>
                    <a:pt x="28" y="3"/>
                    <a:pt x="30" y="3"/>
                  </a:cubicBezTo>
                  <a:cubicBezTo>
                    <a:pt x="28" y="9"/>
                    <a:pt x="28" y="11"/>
                    <a:pt x="27" y="9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66" name="Freeform 187">
              <a:extLst>
                <a:ext uri="{FF2B5EF4-FFF2-40B4-BE49-F238E27FC236}">
                  <a16:creationId xmlns:a16="http://schemas.microsoft.com/office/drawing/2014/main" id="{387CA5B6-F2E1-4985-B087-F2C90AFBD6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95240" y="3066911"/>
              <a:ext cx="106047" cy="78731"/>
            </a:xfrm>
            <a:custGeom>
              <a:avLst/>
              <a:gdLst/>
              <a:ahLst/>
              <a:cxnLst>
                <a:cxn ang="0">
                  <a:pos x="31" y="13"/>
                </a:cxn>
                <a:cxn ang="0">
                  <a:pos x="29" y="16"/>
                </a:cxn>
                <a:cxn ang="0">
                  <a:pos x="26" y="25"/>
                </a:cxn>
                <a:cxn ang="0">
                  <a:pos x="21" y="22"/>
                </a:cxn>
                <a:cxn ang="0">
                  <a:pos x="18" y="18"/>
                </a:cxn>
                <a:cxn ang="0">
                  <a:pos x="14" y="18"/>
                </a:cxn>
                <a:cxn ang="0">
                  <a:pos x="9" y="14"/>
                </a:cxn>
                <a:cxn ang="0">
                  <a:pos x="6" y="11"/>
                </a:cxn>
                <a:cxn ang="0">
                  <a:pos x="0" y="7"/>
                </a:cxn>
                <a:cxn ang="0">
                  <a:pos x="8" y="2"/>
                </a:cxn>
                <a:cxn ang="0">
                  <a:pos x="9" y="4"/>
                </a:cxn>
                <a:cxn ang="0">
                  <a:pos x="12" y="4"/>
                </a:cxn>
                <a:cxn ang="0">
                  <a:pos x="15" y="2"/>
                </a:cxn>
                <a:cxn ang="0">
                  <a:pos x="17" y="2"/>
                </a:cxn>
                <a:cxn ang="0">
                  <a:pos x="20" y="2"/>
                </a:cxn>
                <a:cxn ang="0">
                  <a:pos x="24" y="4"/>
                </a:cxn>
                <a:cxn ang="0">
                  <a:pos x="28" y="10"/>
                </a:cxn>
                <a:cxn ang="0">
                  <a:pos x="31" y="13"/>
                </a:cxn>
              </a:cxnLst>
              <a:rect l="0" t="0" r="r" b="b"/>
              <a:pathLst>
                <a:path w="34" h="25">
                  <a:moveTo>
                    <a:pt x="31" y="13"/>
                  </a:moveTo>
                  <a:cubicBezTo>
                    <a:pt x="29" y="14"/>
                    <a:pt x="34" y="13"/>
                    <a:pt x="29" y="16"/>
                  </a:cubicBezTo>
                  <a:cubicBezTo>
                    <a:pt x="24" y="19"/>
                    <a:pt x="26" y="24"/>
                    <a:pt x="26" y="25"/>
                  </a:cubicBezTo>
                  <a:cubicBezTo>
                    <a:pt x="23" y="25"/>
                    <a:pt x="23" y="22"/>
                    <a:pt x="21" y="22"/>
                  </a:cubicBezTo>
                  <a:cubicBezTo>
                    <a:pt x="17" y="21"/>
                    <a:pt x="20" y="18"/>
                    <a:pt x="18" y="18"/>
                  </a:cubicBezTo>
                  <a:cubicBezTo>
                    <a:pt x="17" y="16"/>
                    <a:pt x="15" y="22"/>
                    <a:pt x="14" y="18"/>
                  </a:cubicBezTo>
                  <a:cubicBezTo>
                    <a:pt x="14" y="14"/>
                    <a:pt x="11" y="16"/>
                    <a:pt x="9" y="14"/>
                  </a:cubicBezTo>
                  <a:cubicBezTo>
                    <a:pt x="8" y="11"/>
                    <a:pt x="8" y="14"/>
                    <a:pt x="6" y="11"/>
                  </a:cubicBezTo>
                  <a:cubicBezTo>
                    <a:pt x="4" y="8"/>
                    <a:pt x="3" y="13"/>
                    <a:pt x="0" y="7"/>
                  </a:cubicBezTo>
                  <a:cubicBezTo>
                    <a:pt x="3" y="5"/>
                    <a:pt x="4" y="4"/>
                    <a:pt x="8" y="2"/>
                  </a:cubicBezTo>
                  <a:cubicBezTo>
                    <a:pt x="8" y="4"/>
                    <a:pt x="8" y="4"/>
                    <a:pt x="9" y="4"/>
                  </a:cubicBezTo>
                  <a:cubicBezTo>
                    <a:pt x="9" y="4"/>
                    <a:pt x="11" y="5"/>
                    <a:pt x="12" y="4"/>
                  </a:cubicBezTo>
                  <a:cubicBezTo>
                    <a:pt x="14" y="2"/>
                    <a:pt x="15" y="4"/>
                    <a:pt x="15" y="2"/>
                  </a:cubicBezTo>
                  <a:cubicBezTo>
                    <a:pt x="17" y="0"/>
                    <a:pt x="15" y="2"/>
                    <a:pt x="17" y="2"/>
                  </a:cubicBezTo>
                  <a:cubicBezTo>
                    <a:pt x="20" y="0"/>
                    <a:pt x="18" y="2"/>
                    <a:pt x="20" y="2"/>
                  </a:cubicBezTo>
                  <a:cubicBezTo>
                    <a:pt x="21" y="0"/>
                    <a:pt x="20" y="4"/>
                    <a:pt x="24" y="4"/>
                  </a:cubicBezTo>
                  <a:cubicBezTo>
                    <a:pt x="31" y="5"/>
                    <a:pt x="21" y="10"/>
                    <a:pt x="28" y="10"/>
                  </a:cubicBezTo>
                  <a:cubicBezTo>
                    <a:pt x="29" y="11"/>
                    <a:pt x="31" y="11"/>
                    <a:pt x="31" y="13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67" name="Freeform 188">
              <a:extLst>
                <a:ext uri="{FF2B5EF4-FFF2-40B4-BE49-F238E27FC236}">
                  <a16:creationId xmlns:a16="http://schemas.microsoft.com/office/drawing/2014/main" id="{D7CD878D-B635-85CD-0B86-074113B8CB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70759" y="3113507"/>
              <a:ext cx="30529" cy="32135"/>
            </a:xfrm>
            <a:custGeom>
              <a:avLst/>
              <a:gdLst/>
              <a:ahLst/>
              <a:cxnLst>
                <a:cxn ang="0">
                  <a:pos x="7" y="10"/>
                </a:cxn>
                <a:cxn ang="0">
                  <a:pos x="8" y="5"/>
                </a:cxn>
                <a:cxn ang="0">
                  <a:pos x="5" y="0"/>
                </a:cxn>
                <a:cxn ang="0">
                  <a:pos x="2" y="10"/>
                </a:cxn>
                <a:cxn ang="0">
                  <a:pos x="7" y="10"/>
                </a:cxn>
              </a:cxnLst>
              <a:rect l="0" t="0" r="r" b="b"/>
              <a:pathLst>
                <a:path w="10" h="10">
                  <a:moveTo>
                    <a:pt x="7" y="10"/>
                  </a:moveTo>
                  <a:cubicBezTo>
                    <a:pt x="7" y="7"/>
                    <a:pt x="10" y="7"/>
                    <a:pt x="8" y="5"/>
                  </a:cubicBezTo>
                  <a:cubicBezTo>
                    <a:pt x="8" y="5"/>
                    <a:pt x="5" y="5"/>
                    <a:pt x="5" y="0"/>
                  </a:cubicBezTo>
                  <a:cubicBezTo>
                    <a:pt x="0" y="4"/>
                    <a:pt x="2" y="9"/>
                    <a:pt x="2" y="10"/>
                  </a:cubicBezTo>
                  <a:cubicBezTo>
                    <a:pt x="5" y="10"/>
                    <a:pt x="5" y="10"/>
                    <a:pt x="7" y="10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68" name="Freeform 189">
              <a:extLst>
                <a:ext uri="{FF2B5EF4-FFF2-40B4-BE49-F238E27FC236}">
                  <a16:creationId xmlns:a16="http://schemas.microsoft.com/office/drawing/2014/main" id="{BAAF0023-3CFA-9DBF-C8DC-EFE0CBB8AF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69241" y="2788942"/>
              <a:ext cx="43383" cy="28921"/>
            </a:xfrm>
            <a:custGeom>
              <a:avLst/>
              <a:gdLst/>
              <a:ahLst/>
              <a:cxnLst>
                <a:cxn ang="0">
                  <a:pos x="3" y="9"/>
                </a:cxn>
                <a:cxn ang="0">
                  <a:pos x="3" y="8"/>
                </a:cxn>
                <a:cxn ang="0">
                  <a:pos x="3" y="6"/>
                </a:cxn>
                <a:cxn ang="0">
                  <a:pos x="1" y="5"/>
                </a:cxn>
                <a:cxn ang="0">
                  <a:pos x="1" y="2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2" y="3"/>
                </a:cxn>
                <a:cxn ang="0">
                  <a:pos x="11" y="3"/>
                </a:cxn>
                <a:cxn ang="0">
                  <a:pos x="6" y="6"/>
                </a:cxn>
                <a:cxn ang="0">
                  <a:pos x="4" y="8"/>
                </a:cxn>
                <a:cxn ang="0">
                  <a:pos x="3" y="9"/>
                </a:cxn>
              </a:cxnLst>
              <a:rect l="0" t="0" r="r" b="b"/>
              <a:pathLst>
                <a:path w="14" h="9">
                  <a:moveTo>
                    <a:pt x="3" y="9"/>
                  </a:moveTo>
                  <a:cubicBezTo>
                    <a:pt x="1" y="9"/>
                    <a:pt x="1" y="8"/>
                    <a:pt x="3" y="8"/>
                  </a:cubicBezTo>
                  <a:cubicBezTo>
                    <a:pt x="4" y="8"/>
                    <a:pt x="4" y="6"/>
                    <a:pt x="3" y="6"/>
                  </a:cubicBezTo>
                  <a:cubicBezTo>
                    <a:pt x="0" y="5"/>
                    <a:pt x="1" y="5"/>
                    <a:pt x="1" y="5"/>
                  </a:cubicBezTo>
                  <a:cubicBezTo>
                    <a:pt x="3" y="3"/>
                    <a:pt x="0" y="2"/>
                    <a:pt x="1" y="2"/>
                  </a:cubicBezTo>
                  <a:cubicBezTo>
                    <a:pt x="3" y="2"/>
                    <a:pt x="3" y="3"/>
                    <a:pt x="3" y="2"/>
                  </a:cubicBezTo>
                  <a:cubicBezTo>
                    <a:pt x="4" y="0"/>
                    <a:pt x="7" y="0"/>
                    <a:pt x="7" y="0"/>
                  </a:cubicBezTo>
                  <a:cubicBezTo>
                    <a:pt x="7" y="2"/>
                    <a:pt x="9" y="0"/>
                    <a:pt x="11" y="2"/>
                  </a:cubicBezTo>
                  <a:cubicBezTo>
                    <a:pt x="14" y="3"/>
                    <a:pt x="14" y="3"/>
                    <a:pt x="12" y="3"/>
                  </a:cubicBezTo>
                  <a:cubicBezTo>
                    <a:pt x="12" y="3"/>
                    <a:pt x="12" y="2"/>
                    <a:pt x="11" y="3"/>
                  </a:cubicBezTo>
                  <a:cubicBezTo>
                    <a:pt x="11" y="5"/>
                    <a:pt x="7" y="6"/>
                    <a:pt x="6" y="6"/>
                  </a:cubicBezTo>
                  <a:cubicBezTo>
                    <a:pt x="6" y="5"/>
                    <a:pt x="4" y="8"/>
                    <a:pt x="4" y="8"/>
                  </a:cubicBezTo>
                  <a:cubicBezTo>
                    <a:pt x="4" y="9"/>
                    <a:pt x="3" y="9"/>
                    <a:pt x="3" y="9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69" name="Freeform 190">
              <a:extLst>
                <a:ext uri="{FF2B5EF4-FFF2-40B4-BE49-F238E27FC236}">
                  <a16:creationId xmlns:a16="http://schemas.microsoft.com/office/drawing/2014/main" id="{BF4BA51A-EE22-45C8-B753-87B662978EC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78882" y="2771269"/>
              <a:ext cx="27315" cy="17674"/>
            </a:xfrm>
            <a:custGeom>
              <a:avLst/>
              <a:gdLst/>
              <a:ahLst/>
              <a:cxnLst>
                <a:cxn ang="0">
                  <a:pos x="5" y="6"/>
                </a:cxn>
                <a:cxn ang="0">
                  <a:pos x="2" y="3"/>
                </a:cxn>
                <a:cxn ang="0">
                  <a:pos x="0" y="3"/>
                </a:cxn>
                <a:cxn ang="0">
                  <a:pos x="5" y="2"/>
                </a:cxn>
                <a:cxn ang="0">
                  <a:pos x="6" y="3"/>
                </a:cxn>
                <a:cxn ang="0">
                  <a:pos x="8" y="5"/>
                </a:cxn>
                <a:cxn ang="0">
                  <a:pos x="6" y="5"/>
                </a:cxn>
                <a:cxn ang="0">
                  <a:pos x="5" y="6"/>
                </a:cxn>
              </a:cxnLst>
              <a:rect l="0" t="0" r="r" b="b"/>
              <a:pathLst>
                <a:path w="9" h="6">
                  <a:moveTo>
                    <a:pt x="5" y="6"/>
                  </a:moveTo>
                  <a:cubicBezTo>
                    <a:pt x="3" y="6"/>
                    <a:pt x="3" y="3"/>
                    <a:pt x="2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2"/>
                    <a:pt x="3" y="3"/>
                    <a:pt x="5" y="2"/>
                  </a:cubicBezTo>
                  <a:cubicBezTo>
                    <a:pt x="5" y="0"/>
                    <a:pt x="5" y="2"/>
                    <a:pt x="6" y="3"/>
                  </a:cubicBezTo>
                  <a:cubicBezTo>
                    <a:pt x="9" y="3"/>
                    <a:pt x="8" y="5"/>
                    <a:pt x="8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5" y="5"/>
                    <a:pt x="5" y="6"/>
                    <a:pt x="5" y="6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70" name="Freeform 191">
              <a:extLst>
                <a:ext uri="{FF2B5EF4-FFF2-40B4-BE49-F238E27FC236}">
                  <a16:creationId xmlns:a16="http://schemas.microsoft.com/office/drawing/2014/main" id="{7997CF47-E696-FD0A-275C-ECEE0F3008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02983" y="2785729"/>
              <a:ext cx="9641" cy="12854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3" y="3"/>
                </a:cxn>
                <a:cxn ang="0">
                  <a:pos x="0" y="1"/>
                </a:cxn>
              </a:cxnLst>
              <a:rect l="0" t="0" r="r" b="b"/>
              <a:pathLst>
                <a:path w="3" h="4">
                  <a:moveTo>
                    <a:pt x="0" y="1"/>
                  </a:moveTo>
                  <a:cubicBezTo>
                    <a:pt x="1" y="0"/>
                    <a:pt x="3" y="1"/>
                    <a:pt x="3" y="3"/>
                  </a:cubicBezTo>
                  <a:cubicBezTo>
                    <a:pt x="1" y="4"/>
                    <a:pt x="0" y="3"/>
                    <a:pt x="0" y="1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71" name="Freeform 192">
              <a:extLst>
                <a:ext uri="{FF2B5EF4-FFF2-40B4-BE49-F238E27FC236}">
                  <a16:creationId xmlns:a16="http://schemas.microsoft.com/office/drawing/2014/main" id="{5FE43B99-8164-2429-5F42-7E584E5B18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02983" y="2777695"/>
              <a:ext cx="9641" cy="3213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3" y="0"/>
                </a:cxn>
                <a:cxn ang="0">
                  <a:pos x="1" y="0"/>
                </a:cxn>
              </a:cxnLst>
              <a:rect l="0" t="0" r="r" b="b"/>
              <a:pathLst>
                <a:path w="3" h="1">
                  <a:moveTo>
                    <a:pt x="1" y="0"/>
                  </a:moveTo>
                  <a:cubicBezTo>
                    <a:pt x="0" y="0"/>
                    <a:pt x="3" y="0"/>
                    <a:pt x="3" y="0"/>
                  </a:cubicBezTo>
                  <a:cubicBezTo>
                    <a:pt x="3" y="1"/>
                    <a:pt x="1" y="0"/>
                    <a:pt x="1" y="0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72" name="Freeform 193">
              <a:extLst>
                <a:ext uri="{FF2B5EF4-FFF2-40B4-BE49-F238E27FC236}">
                  <a16:creationId xmlns:a16="http://schemas.microsoft.com/office/drawing/2014/main" id="{34CEBAAB-EB15-9319-01D5-6141207062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707335" y="2350299"/>
              <a:ext cx="324570" cy="576824"/>
            </a:xfrm>
            <a:custGeom>
              <a:avLst/>
              <a:gdLst/>
              <a:ahLst/>
              <a:cxnLst>
                <a:cxn ang="0">
                  <a:pos x="3" y="138"/>
                </a:cxn>
                <a:cxn ang="0">
                  <a:pos x="6" y="127"/>
                </a:cxn>
                <a:cxn ang="0">
                  <a:pos x="11" y="120"/>
                </a:cxn>
                <a:cxn ang="0">
                  <a:pos x="12" y="109"/>
                </a:cxn>
                <a:cxn ang="0">
                  <a:pos x="9" y="92"/>
                </a:cxn>
                <a:cxn ang="0">
                  <a:pos x="8" y="82"/>
                </a:cxn>
                <a:cxn ang="0">
                  <a:pos x="15" y="70"/>
                </a:cxn>
                <a:cxn ang="0">
                  <a:pos x="22" y="64"/>
                </a:cxn>
                <a:cxn ang="0">
                  <a:pos x="28" y="51"/>
                </a:cxn>
                <a:cxn ang="0">
                  <a:pos x="34" y="39"/>
                </a:cxn>
                <a:cxn ang="0">
                  <a:pos x="41" y="28"/>
                </a:cxn>
                <a:cxn ang="0">
                  <a:pos x="44" y="18"/>
                </a:cxn>
                <a:cxn ang="0">
                  <a:pos x="55" y="15"/>
                </a:cxn>
                <a:cxn ang="0">
                  <a:pos x="72" y="9"/>
                </a:cxn>
                <a:cxn ang="0">
                  <a:pos x="76" y="0"/>
                </a:cxn>
                <a:cxn ang="0">
                  <a:pos x="90" y="9"/>
                </a:cxn>
                <a:cxn ang="0">
                  <a:pos x="98" y="14"/>
                </a:cxn>
                <a:cxn ang="0">
                  <a:pos x="98" y="23"/>
                </a:cxn>
                <a:cxn ang="0">
                  <a:pos x="99" y="28"/>
                </a:cxn>
                <a:cxn ang="0">
                  <a:pos x="101" y="37"/>
                </a:cxn>
                <a:cxn ang="0">
                  <a:pos x="96" y="46"/>
                </a:cxn>
                <a:cxn ang="0">
                  <a:pos x="87" y="51"/>
                </a:cxn>
                <a:cxn ang="0">
                  <a:pos x="81" y="60"/>
                </a:cxn>
                <a:cxn ang="0">
                  <a:pos x="75" y="74"/>
                </a:cxn>
                <a:cxn ang="0">
                  <a:pos x="67" y="78"/>
                </a:cxn>
                <a:cxn ang="0">
                  <a:pos x="55" y="87"/>
                </a:cxn>
                <a:cxn ang="0">
                  <a:pos x="49" y="92"/>
                </a:cxn>
                <a:cxn ang="0">
                  <a:pos x="50" y="102"/>
                </a:cxn>
                <a:cxn ang="0">
                  <a:pos x="53" y="116"/>
                </a:cxn>
                <a:cxn ang="0">
                  <a:pos x="60" y="123"/>
                </a:cxn>
                <a:cxn ang="0">
                  <a:pos x="55" y="132"/>
                </a:cxn>
                <a:cxn ang="0">
                  <a:pos x="41" y="130"/>
                </a:cxn>
                <a:cxn ang="0">
                  <a:pos x="60" y="132"/>
                </a:cxn>
                <a:cxn ang="0">
                  <a:pos x="55" y="138"/>
                </a:cxn>
                <a:cxn ang="0">
                  <a:pos x="46" y="143"/>
                </a:cxn>
                <a:cxn ang="0">
                  <a:pos x="44" y="151"/>
                </a:cxn>
                <a:cxn ang="0">
                  <a:pos x="43" y="162"/>
                </a:cxn>
                <a:cxn ang="0">
                  <a:pos x="32" y="172"/>
                </a:cxn>
                <a:cxn ang="0">
                  <a:pos x="25" y="183"/>
                </a:cxn>
                <a:cxn ang="0">
                  <a:pos x="12" y="172"/>
                </a:cxn>
                <a:cxn ang="0">
                  <a:pos x="14" y="168"/>
                </a:cxn>
                <a:cxn ang="0">
                  <a:pos x="6" y="146"/>
                </a:cxn>
                <a:cxn ang="0">
                  <a:pos x="0" y="138"/>
                </a:cxn>
                <a:cxn ang="0">
                  <a:pos x="61" y="158"/>
                </a:cxn>
                <a:cxn ang="0">
                  <a:pos x="63" y="151"/>
                </a:cxn>
                <a:cxn ang="0">
                  <a:pos x="56" y="160"/>
                </a:cxn>
                <a:cxn ang="0">
                  <a:pos x="61" y="158"/>
                </a:cxn>
                <a:cxn ang="0">
                  <a:pos x="44" y="163"/>
                </a:cxn>
                <a:cxn ang="0">
                  <a:pos x="47" y="158"/>
                </a:cxn>
                <a:cxn ang="0">
                  <a:pos x="58" y="116"/>
                </a:cxn>
              </a:cxnLst>
              <a:rect l="0" t="0" r="r" b="b"/>
              <a:pathLst>
                <a:path w="104" h="185">
                  <a:moveTo>
                    <a:pt x="2" y="135"/>
                  </a:moveTo>
                  <a:cubicBezTo>
                    <a:pt x="2" y="135"/>
                    <a:pt x="2" y="137"/>
                    <a:pt x="3" y="138"/>
                  </a:cubicBezTo>
                  <a:cubicBezTo>
                    <a:pt x="3" y="140"/>
                    <a:pt x="6" y="137"/>
                    <a:pt x="5" y="132"/>
                  </a:cubicBezTo>
                  <a:cubicBezTo>
                    <a:pt x="3" y="129"/>
                    <a:pt x="6" y="129"/>
                    <a:pt x="6" y="127"/>
                  </a:cubicBezTo>
                  <a:cubicBezTo>
                    <a:pt x="5" y="124"/>
                    <a:pt x="8" y="127"/>
                    <a:pt x="9" y="124"/>
                  </a:cubicBezTo>
                  <a:cubicBezTo>
                    <a:pt x="12" y="121"/>
                    <a:pt x="9" y="121"/>
                    <a:pt x="11" y="120"/>
                  </a:cubicBezTo>
                  <a:cubicBezTo>
                    <a:pt x="14" y="118"/>
                    <a:pt x="8" y="112"/>
                    <a:pt x="9" y="110"/>
                  </a:cubicBezTo>
                  <a:cubicBezTo>
                    <a:pt x="9" y="109"/>
                    <a:pt x="12" y="112"/>
                    <a:pt x="12" y="109"/>
                  </a:cubicBezTo>
                  <a:cubicBezTo>
                    <a:pt x="14" y="107"/>
                    <a:pt x="15" y="106"/>
                    <a:pt x="11" y="104"/>
                  </a:cubicBezTo>
                  <a:cubicBezTo>
                    <a:pt x="5" y="101"/>
                    <a:pt x="11" y="96"/>
                    <a:pt x="9" y="92"/>
                  </a:cubicBezTo>
                  <a:cubicBezTo>
                    <a:pt x="6" y="88"/>
                    <a:pt x="9" y="88"/>
                    <a:pt x="8" y="87"/>
                  </a:cubicBezTo>
                  <a:cubicBezTo>
                    <a:pt x="6" y="85"/>
                    <a:pt x="9" y="85"/>
                    <a:pt x="8" y="82"/>
                  </a:cubicBezTo>
                  <a:cubicBezTo>
                    <a:pt x="5" y="79"/>
                    <a:pt x="9" y="79"/>
                    <a:pt x="8" y="78"/>
                  </a:cubicBezTo>
                  <a:cubicBezTo>
                    <a:pt x="8" y="74"/>
                    <a:pt x="14" y="71"/>
                    <a:pt x="15" y="70"/>
                  </a:cubicBezTo>
                  <a:cubicBezTo>
                    <a:pt x="18" y="68"/>
                    <a:pt x="23" y="73"/>
                    <a:pt x="25" y="67"/>
                  </a:cubicBezTo>
                  <a:cubicBezTo>
                    <a:pt x="26" y="64"/>
                    <a:pt x="23" y="65"/>
                    <a:pt x="22" y="64"/>
                  </a:cubicBezTo>
                  <a:cubicBezTo>
                    <a:pt x="18" y="62"/>
                    <a:pt x="26" y="57"/>
                    <a:pt x="26" y="56"/>
                  </a:cubicBezTo>
                  <a:cubicBezTo>
                    <a:pt x="26" y="53"/>
                    <a:pt x="28" y="54"/>
                    <a:pt x="28" y="51"/>
                  </a:cubicBezTo>
                  <a:cubicBezTo>
                    <a:pt x="26" y="46"/>
                    <a:pt x="29" y="48"/>
                    <a:pt x="26" y="42"/>
                  </a:cubicBezTo>
                  <a:cubicBezTo>
                    <a:pt x="26" y="40"/>
                    <a:pt x="37" y="42"/>
                    <a:pt x="34" y="39"/>
                  </a:cubicBezTo>
                  <a:cubicBezTo>
                    <a:pt x="32" y="36"/>
                    <a:pt x="35" y="37"/>
                    <a:pt x="37" y="32"/>
                  </a:cubicBezTo>
                  <a:cubicBezTo>
                    <a:pt x="40" y="29"/>
                    <a:pt x="41" y="31"/>
                    <a:pt x="41" y="28"/>
                  </a:cubicBezTo>
                  <a:cubicBezTo>
                    <a:pt x="43" y="26"/>
                    <a:pt x="40" y="25"/>
                    <a:pt x="40" y="23"/>
                  </a:cubicBezTo>
                  <a:cubicBezTo>
                    <a:pt x="40" y="22"/>
                    <a:pt x="41" y="23"/>
                    <a:pt x="44" y="18"/>
                  </a:cubicBezTo>
                  <a:cubicBezTo>
                    <a:pt x="44" y="15"/>
                    <a:pt x="47" y="15"/>
                    <a:pt x="49" y="14"/>
                  </a:cubicBezTo>
                  <a:cubicBezTo>
                    <a:pt x="50" y="14"/>
                    <a:pt x="52" y="17"/>
                    <a:pt x="55" y="15"/>
                  </a:cubicBezTo>
                  <a:cubicBezTo>
                    <a:pt x="58" y="14"/>
                    <a:pt x="53" y="9"/>
                    <a:pt x="55" y="8"/>
                  </a:cubicBezTo>
                  <a:cubicBezTo>
                    <a:pt x="60" y="4"/>
                    <a:pt x="67" y="12"/>
                    <a:pt x="72" y="9"/>
                  </a:cubicBezTo>
                  <a:cubicBezTo>
                    <a:pt x="75" y="8"/>
                    <a:pt x="67" y="9"/>
                    <a:pt x="72" y="6"/>
                  </a:cubicBezTo>
                  <a:cubicBezTo>
                    <a:pt x="76" y="1"/>
                    <a:pt x="67" y="0"/>
                    <a:pt x="76" y="0"/>
                  </a:cubicBezTo>
                  <a:cubicBezTo>
                    <a:pt x="79" y="1"/>
                    <a:pt x="75" y="1"/>
                    <a:pt x="79" y="3"/>
                  </a:cubicBezTo>
                  <a:cubicBezTo>
                    <a:pt x="82" y="6"/>
                    <a:pt x="87" y="9"/>
                    <a:pt x="90" y="9"/>
                  </a:cubicBezTo>
                  <a:cubicBezTo>
                    <a:pt x="93" y="9"/>
                    <a:pt x="96" y="11"/>
                    <a:pt x="96" y="12"/>
                  </a:cubicBezTo>
                  <a:cubicBezTo>
                    <a:pt x="96" y="14"/>
                    <a:pt x="94" y="12"/>
                    <a:pt x="98" y="14"/>
                  </a:cubicBezTo>
                  <a:cubicBezTo>
                    <a:pt x="102" y="18"/>
                    <a:pt x="98" y="15"/>
                    <a:pt x="98" y="18"/>
                  </a:cubicBezTo>
                  <a:cubicBezTo>
                    <a:pt x="99" y="23"/>
                    <a:pt x="98" y="22"/>
                    <a:pt x="98" y="23"/>
                  </a:cubicBezTo>
                  <a:cubicBezTo>
                    <a:pt x="98" y="25"/>
                    <a:pt x="101" y="22"/>
                    <a:pt x="101" y="23"/>
                  </a:cubicBezTo>
                  <a:cubicBezTo>
                    <a:pt x="101" y="25"/>
                    <a:pt x="99" y="25"/>
                    <a:pt x="99" y="28"/>
                  </a:cubicBezTo>
                  <a:cubicBezTo>
                    <a:pt x="99" y="29"/>
                    <a:pt x="104" y="31"/>
                    <a:pt x="102" y="32"/>
                  </a:cubicBezTo>
                  <a:cubicBezTo>
                    <a:pt x="101" y="34"/>
                    <a:pt x="102" y="34"/>
                    <a:pt x="101" y="37"/>
                  </a:cubicBezTo>
                  <a:cubicBezTo>
                    <a:pt x="98" y="40"/>
                    <a:pt x="104" y="42"/>
                    <a:pt x="104" y="46"/>
                  </a:cubicBezTo>
                  <a:cubicBezTo>
                    <a:pt x="101" y="48"/>
                    <a:pt x="99" y="45"/>
                    <a:pt x="96" y="46"/>
                  </a:cubicBezTo>
                  <a:cubicBezTo>
                    <a:pt x="93" y="48"/>
                    <a:pt x="94" y="45"/>
                    <a:pt x="91" y="46"/>
                  </a:cubicBezTo>
                  <a:cubicBezTo>
                    <a:pt x="90" y="48"/>
                    <a:pt x="87" y="50"/>
                    <a:pt x="87" y="51"/>
                  </a:cubicBezTo>
                  <a:cubicBezTo>
                    <a:pt x="87" y="53"/>
                    <a:pt x="84" y="51"/>
                    <a:pt x="82" y="54"/>
                  </a:cubicBezTo>
                  <a:cubicBezTo>
                    <a:pt x="82" y="59"/>
                    <a:pt x="79" y="57"/>
                    <a:pt x="81" y="60"/>
                  </a:cubicBezTo>
                  <a:cubicBezTo>
                    <a:pt x="81" y="64"/>
                    <a:pt x="85" y="64"/>
                    <a:pt x="81" y="67"/>
                  </a:cubicBezTo>
                  <a:cubicBezTo>
                    <a:pt x="76" y="70"/>
                    <a:pt x="78" y="74"/>
                    <a:pt x="75" y="74"/>
                  </a:cubicBezTo>
                  <a:cubicBezTo>
                    <a:pt x="72" y="74"/>
                    <a:pt x="73" y="76"/>
                    <a:pt x="72" y="76"/>
                  </a:cubicBezTo>
                  <a:cubicBezTo>
                    <a:pt x="69" y="76"/>
                    <a:pt x="70" y="79"/>
                    <a:pt x="67" y="78"/>
                  </a:cubicBezTo>
                  <a:cubicBezTo>
                    <a:pt x="63" y="78"/>
                    <a:pt x="66" y="84"/>
                    <a:pt x="63" y="82"/>
                  </a:cubicBezTo>
                  <a:cubicBezTo>
                    <a:pt x="60" y="81"/>
                    <a:pt x="61" y="87"/>
                    <a:pt x="55" y="87"/>
                  </a:cubicBezTo>
                  <a:cubicBezTo>
                    <a:pt x="50" y="88"/>
                    <a:pt x="58" y="88"/>
                    <a:pt x="53" y="92"/>
                  </a:cubicBezTo>
                  <a:cubicBezTo>
                    <a:pt x="49" y="93"/>
                    <a:pt x="50" y="88"/>
                    <a:pt x="49" y="92"/>
                  </a:cubicBezTo>
                  <a:cubicBezTo>
                    <a:pt x="49" y="95"/>
                    <a:pt x="53" y="92"/>
                    <a:pt x="50" y="96"/>
                  </a:cubicBezTo>
                  <a:cubicBezTo>
                    <a:pt x="49" y="99"/>
                    <a:pt x="52" y="102"/>
                    <a:pt x="50" y="102"/>
                  </a:cubicBezTo>
                  <a:cubicBezTo>
                    <a:pt x="47" y="102"/>
                    <a:pt x="47" y="116"/>
                    <a:pt x="50" y="116"/>
                  </a:cubicBezTo>
                  <a:cubicBezTo>
                    <a:pt x="53" y="116"/>
                    <a:pt x="50" y="118"/>
                    <a:pt x="53" y="116"/>
                  </a:cubicBezTo>
                  <a:cubicBezTo>
                    <a:pt x="56" y="116"/>
                    <a:pt x="56" y="120"/>
                    <a:pt x="58" y="120"/>
                  </a:cubicBezTo>
                  <a:cubicBezTo>
                    <a:pt x="61" y="120"/>
                    <a:pt x="56" y="123"/>
                    <a:pt x="60" y="123"/>
                  </a:cubicBezTo>
                  <a:cubicBezTo>
                    <a:pt x="61" y="123"/>
                    <a:pt x="63" y="124"/>
                    <a:pt x="64" y="126"/>
                  </a:cubicBezTo>
                  <a:cubicBezTo>
                    <a:pt x="64" y="127"/>
                    <a:pt x="58" y="130"/>
                    <a:pt x="55" y="132"/>
                  </a:cubicBezTo>
                  <a:cubicBezTo>
                    <a:pt x="53" y="134"/>
                    <a:pt x="52" y="129"/>
                    <a:pt x="50" y="130"/>
                  </a:cubicBezTo>
                  <a:cubicBezTo>
                    <a:pt x="49" y="130"/>
                    <a:pt x="46" y="127"/>
                    <a:pt x="41" y="130"/>
                  </a:cubicBezTo>
                  <a:cubicBezTo>
                    <a:pt x="38" y="134"/>
                    <a:pt x="46" y="129"/>
                    <a:pt x="49" y="132"/>
                  </a:cubicBezTo>
                  <a:cubicBezTo>
                    <a:pt x="53" y="137"/>
                    <a:pt x="58" y="130"/>
                    <a:pt x="60" y="132"/>
                  </a:cubicBezTo>
                  <a:cubicBezTo>
                    <a:pt x="61" y="135"/>
                    <a:pt x="58" y="134"/>
                    <a:pt x="58" y="135"/>
                  </a:cubicBezTo>
                  <a:cubicBezTo>
                    <a:pt x="58" y="137"/>
                    <a:pt x="56" y="135"/>
                    <a:pt x="55" y="138"/>
                  </a:cubicBezTo>
                  <a:cubicBezTo>
                    <a:pt x="53" y="140"/>
                    <a:pt x="52" y="135"/>
                    <a:pt x="52" y="138"/>
                  </a:cubicBezTo>
                  <a:cubicBezTo>
                    <a:pt x="50" y="141"/>
                    <a:pt x="44" y="141"/>
                    <a:pt x="46" y="143"/>
                  </a:cubicBezTo>
                  <a:cubicBezTo>
                    <a:pt x="46" y="144"/>
                    <a:pt x="43" y="143"/>
                    <a:pt x="44" y="146"/>
                  </a:cubicBezTo>
                  <a:cubicBezTo>
                    <a:pt x="46" y="148"/>
                    <a:pt x="44" y="148"/>
                    <a:pt x="44" y="151"/>
                  </a:cubicBezTo>
                  <a:cubicBezTo>
                    <a:pt x="46" y="152"/>
                    <a:pt x="43" y="154"/>
                    <a:pt x="44" y="155"/>
                  </a:cubicBezTo>
                  <a:cubicBezTo>
                    <a:pt x="44" y="157"/>
                    <a:pt x="43" y="160"/>
                    <a:pt x="43" y="162"/>
                  </a:cubicBezTo>
                  <a:cubicBezTo>
                    <a:pt x="43" y="165"/>
                    <a:pt x="41" y="166"/>
                    <a:pt x="40" y="171"/>
                  </a:cubicBezTo>
                  <a:cubicBezTo>
                    <a:pt x="38" y="177"/>
                    <a:pt x="38" y="172"/>
                    <a:pt x="32" y="172"/>
                  </a:cubicBezTo>
                  <a:cubicBezTo>
                    <a:pt x="26" y="174"/>
                    <a:pt x="31" y="176"/>
                    <a:pt x="28" y="176"/>
                  </a:cubicBezTo>
                  <a:cubicBezTo>
                    <a:pt x="25" y="174"/>
                    <a:pt x="28" y="183"/>
                    <a:pt x="25" y="183"/>
                  </a:cubicBezTo>
                  <a:cubicBezTo>
                    <a:pt x="20" y="182"/>
                    <a:pt x="12" y="185"/>
                    <a:pt x="14" y="182"/>
                  </a:cubicBezTo>
                  <a:cubicBezTo>
                    <a:pt x="17" y="177"/>
                    <a:pt x="8" y="169"/>
                    <a:pt x="12" y="172"/>
                  </a:cubicBezTo>
                  <a:cubicBezTo>
                    <a:pt x="15" y="174"/>
                    <a:pt x="11" y="169"/>
                    <a:pt x="12" y="169"/>
                  </a:cubicBezTo>
                  <a:cubicBezTo>
                    <a:pt x="15" y="169"/>
                    <a:pt x="15" y="166"/>
                    <a:pt x="14" y="168"/>
                  </a:cubicBezTo>
                  <a:cubicBezTo>
                    <a:pt x="11" y="168"/>
                    <a:pt x="8" y="158"/>
                    <a:pt x="6" y="154"/>
                  </a:cubicBezTo>
                  <a:cubicBezTo>
                    <a:pt x="5" y="149"/>
                    <a:pt x="8" y="149"/>
                    <a:pt x="6" y="146"/>
                  </a:cubicBezTo>
                  <a:cubicBezTo>
                    <a:pt x="5" y="144"/>
                    <a:pt x="3" y="149"/>
                    <a:pt x="2" y="146"/>
                  </a:cubicBezTo>
                  <a:cubicBezTo>
                    <a:pt x="0" y="143"/>
                    <a:pt x="2" y="141"/>
                    <a:pt x="0" y="138"/>
                  </a:cubicBezTo>
                  <a:cubicBezTo>
                    <a:pt x="0" y="137"/>
                    <a:pt x="2" y="137"/>
                    <a:pt x="2" y="135"/>
                  </a:cubicBezTo>
                  <a:close/>
                  <a:moveTo>
                    <a:pt x="61" y="158"/>
                  </a:moveTo>
                  <a:cubicBezTo>
                    <a:pt x="64" y="155"/>
                    <a:pt x="60" y="155"/>
                    <a:pt x="63" y="152"/>
                  </a:cubicBezTo>
                  <a:cubicBezTo>
                    <a:pt x="66" y="151"/>
                    <a:pt x="66" y="149"/>
                    <a:pt x="63" y="151"/>
                  </a:cubicBezTo>
                  <a:cubicBezTo>
                    <a:pt x="60" y="154"/>
                    <a:pt x="61" y="149"/>
                    <a:pt x="58" y="152"/>
                  </a:cubicBezTo>
                  <a:cubicBezTo>
                    <a:pt x="55" y="155"/>
                    <a:pt x="55" y="158"/>
                    <a:pt x="56" y="160"/>
                  </a:cubicBezTo>
                  <a:cubicBezTo>
                    <a:pt x="56" y="162"/>
                    <a:pt x="55" y="165"/>
                    <a:pt x="56" y="163"/>
                  </a:cubicBezTo>
                  <a:cubicBezTo>
                    <a:pt x="58" y="163"/>
                    <a:pt x="58" y="162"/>
                    <a:pt x="61" y="158"/>
                  </a:cubicBezTo>
                  <a:close/>
                  <a:moveTo>
                    <a:pt x="47" y="158"/>
                  </a:moveTo>
                  <a:cubicBezTo>
                    <a:pt x="46" y="158"/>
                    <a:pt x="46" y="162"/>
                    <a:pt x="44" y="163"/>
                  </a:cubicBezTo>
                  <a:cubicBezTo>
                    <a:pt x="43" y="165"/>
                    <a:pt x="41" y="171"/>
                    <a:pt x="43" y="172"/>
                  </a:cubicBezTo>
                  <a:cubicBezTo>
                    <a:pt x="43" y="172"/>
                    <a:pt x="49" y="158"/>
                    <a:pt x="47" y="158"/>
                  </a:cubicBezTo>
                  <a:close/>
                  <a:moveTo>
                    <a:pt x="60" y="120"/>
                  </a:moveTo>
                  <a:cubicBezTo>
                    <a:pt x="58" y="120"/>
                    <a:pt x="58" y="118"/>
                    <a:pt x="58" y="116"/>
                  </a:cubicBezTo>
                  <a:cubicBezTo>
                    <a:pt x="60" y="120"/>
                    <a:pt x="60" y="120"/>
                    <a:pt x="60" y="120"/>
                  </a:cubicBezTo>
                  <a:close/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73" name="Freeform 194">
              <a:extLst>
                <a:ext uri="{FF2B5EF4-FFF2-40B4-BE49-F238E27FC236}">
                  <a16:creationId xmlns:a16="http://schemas.microsoft.com/office/drawing/2014/main" id="{47C729D3-51C8-692B-7136-0E0D41AE7E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49289" y="3409149"/>
              <a:ext cx="130149" cy="131754"/>
            </a:xfrm>
            <a:custGeom>
              <a:avLst/>
              <a:gdLst/>
              <a:ahLst/>
              <a:cxnLst>
                <a:cxn ang="0">
                  <a:pos x="30" y="41"/>
                </a:cxn>
                <a:cxn ang="0">
                  <a:pos x="26" y="38"/>
                </a:cxn>
                <a:cxn ang="0">
                  <a:pos x="26" y="39"/>
                </a:cxn>
                <a:cxn ang="0">
                  <a:pos x="24" y="38"/>
                </a:cxn>
                <a:cxn ang="0">
                  <a:pos x="23" y="36"/>
                </a:cxn>
                <a:cxn ang="0">
                  <a:pos x="23" y="35"/>
                </a:cxn>
                <a:cxn ang="0">
                  <a:pos x="26" y="33"/>
                </a:cxn>
                <a:cxn ang="0">
                  <a:pos x="24" y="32"/>
                </a:cxn>
                <a:cxn ang="0">
                  <a:pos x="26" y="30"/>
                </a:cxn>
                <a:cxn ang="0">
                  <a:pos x="23" y="27"/>
                </a:cxn>
                <a:cxn ang="0">
                  <a:pos x="18" y="30"/>
                </a:cxn>
                <a:cxn ang="0">
                  <a:pos x="15" y="32"/>
                </a:cxn>
                <a:cxn ang="0">
                  <a:pos x="14" y="33"/>
                </a:cxn>
                <a:cxn ang="0">
                  <a:pos x="12" y="35"/>
                </a:cxn>
                <a:cxn ang="0">
                  <a:pos x="11" y="36"/>
                </a:cxn>
                <a:cxn ang="0">
                  <a:pos x="11" y="33"/>
                </a:cxn>
                <a:cxn ang="0">
                  <a:pos x="11" y="33"/>
                </a:cxn>
                <a:cxn ang="0">
                  <a:pos x="12" y="32"/>
                </a:cxn>
                <a:cxn ang="0">
                  <a:pos x="11" y="30"/>
                </a:cxn>
                <a:cxn ang="0">
                  <a:pos x="12" y="28"/>
                </a:cxn>
                <a:cxn ang="0">
                  <a:pos x="9" y="27"/>
                </a:cxn>
                <a:cxn ang="0">
                  <a:pos x="6" y="24"/>
                </a:cxn>
                <a:cxn ang="0">
                  <a:pos x="4" y="24"/>
                </a:cxn>
                <a:cxn ang="0">
                  <a:pos x="6" y="24"/>
                </a:cxn>
                <a:cxn ang="0">
                  <a:pos x="8" y="21"/>
                </a:cxn>
                <a:cxn ang="0">
                  <a:pos x="3" y="18"/>
                </a:cxn>
                <a:cxn ang="0">
                  <a:pos x="4" y="14"/>
                </a:cxn>
                <a:cxn ang="0">
                  <a:pos x="0" y="8"/>
                </a:cxn>
                <a:cxn ang="0">
                  <a:pos x="1" y="7"/>
                </a:cxn>
                <a:cxn ang="0">
                  <a:pos x="4" y="8"/>
                </a:cxn>
                <a:cxn ang="0">
                  <a:pos x="6" y="10"/>
                </a:cxn>
                <a:cxn ang="0">
                  <a:pos x="9" y="10"/>
                </a:cxn>
                <a:cxn ang="0">
                  <a:pos x="12" y="10"/>
                </a:cxn>
                <a:cxn ang="0">
                  <a:pos x="9" y="7"/>
                </a:cxn>
                <a:cxn ang="0">
                  <a:pos x="9" y="5"/>
                </a:cxn>
                <a:cxn ang="0">
                  <a:pos x="11" y="2"/>
                </a:cxn>
                <a:cxn ang="0">
                  <a:pos x="14" y="4"/>
                </a:cxn>
                <a:cxn ang="0">
                  <a:pos x="17" y="7"/>
                </a:cxn>
                <a:cxn ang="0">
                  <a:pos x="23" y="8"/>
                </a:cxn>
                <a:cxn ang="0">
                  <a:pos x="27" y="4"/>
                </a:cxn>
                <a:cxn ang="0">
                  <a:pos x="32" y="11"/>
                </a:cxn>
                <a:cxn ang="0">
                  <a:pos x="35" y="16"/>
                </a:cxn>
                <a:cxn ang="0">
                  <a:pos x="42" y="19"/>
                </a:cxn>
                <a:cxn ang="0">
                  <a:pos x="36" y="19"/>
                </a:cxn>
                <a:cxn ang="0">
                  <a:pos x="33" y="27"/>
                </a:cxn>
                <a:cxn ang="0">
                  <a:pos x="33" y="32"/>
                </a:cxn>
                <a:cxn ang="0">
                  <a:pos x="32" y="35"/>
                </a:cxn>
                <a:cxn ang="0">
                  <a:pos x="30" y="35"/>
                </a:cxn>
                <a:cxn ang="0">
                  <a:pos x="30" y="41"/>
                </a:cxn>
              </a:cxnLst>
              <a:rect l="0" t="0" r="r" b="b"/>
              <a:pathLst>
                <a:path w="42" h="42">
                  <a:moveTo>
                    <a:pt x="30" y="41"/>
                  </a:moveTo>
                  <a:cubicBezTo>
                    <a:pt x="26" y="42"/>
                    <a:pt x="27" y="39"/>
                    <a:pt x="26" y="38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4" y="39"/>
                    <a:pt x="24" y="38"/>
                    <a:pt x="24" y="38"/>
                  </a:cubicBezTo>
                  <a:cubicBezTo>
                    <a:pt x="24" y="36"/>
                    <a:pt x="24" y="36"/>
                    <a:pt x="23" y="36"/>
                  </a:cubicBezTo>
                  <a:cubicBezTo>
                    <a:pt x="23" y="36"/>
                    <a:pt x="23" y="36"/>
                    <a:pt x="23" y="35"/>
                  </a:cubicBezTo>
                  <a:cubicBezTo>
                    <a:pt x="23" y="35"/>
                    <a:pt x="26" y="35"/>
                    <a:pt x="26" y="33"/>
                  </a:cubicBezTo>
                  <a:cubicBezTo>
                    <a:pt x="26" y="33"/>
                    <a:pt x="24" y="33"/>
                    <a:pt x="24" y="32"/>
                  </a:cubicBezTo>
                  <a:cubicBezTo>
                    <a:pt x="24" y="30"/>
                    <a:pt x="26" y="30"/>
                    <a:pt x="26" y="30"/>
                  </a:cubicBezTo>
                  <a:cubicBezTo>
                    <a:pt x="23" y="27"/>
                    <a:pt x="23" y="27"/>
                    <a:pt x="23" y="27"/>
                  </a:cubicBezTo>
                  <a:cubicBezTo>
                    <a:pt x="21" y="25"/>
                    <a:pt x="18" y="28"/>
                    <a:pt x="18" y="30"/>
                  </a:cubicBezTo>
                  <a:cubicBezTo>
                    <a:pt x="17" y="30"/>
                    <a:pt x="15" y="32"/>
                    <a:pt x="15" y="32"/>
                  </a:cubicBezTo>
                  <a:cubicBezTo>
                    <a:pt x="14" y="33"/>
                    <a:pt x="14" y="33"/>
                    <a:pt x="14" y="33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6"/>
                    <a:pt x="12" y="36"/>
                    <a:pt x="11" y="36"/>
                  </a:cubicBezTo>
                  <a:cubicBezTo>
                    <a:pt x="11" y="35"/>
                    <a:pt x="11" y="35"/>
                    <a:pt x="11" y="3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9" y="32"/>
                    <a:pt x="12" y="32"/>
                    <a:pt x="12" y="32"/>
                  </a:cubicBezTo>
                  <a:cubicBezTo>
                    <a:pt x="12" y="32"/>
                    <a:pt x="9" y="30"/>
                    <a:pt x="11" y="30"/>
                  </a:cubicBezTo>
                  <a:cubicBezTo>
                    <a:pt x="11" y="28"/>
                    <a:pt x="12" y="30"/>
                    <a:pt x="12" y="28"/>
                  </a:cubicBezTo>
                  <a:cubicBezTo>
                    <a:pt x="12" y="27"/>
                    <a:pt x="9" y="28"/>
                    <a:pt x="9" y="27"/>
                  </a:cubicBezTo>
                  <a:cubicBezTo>
                    <a:pt x="8" y="27"/>
                    <a:pt x="6" y="25"/>
                    <a:pt x="6" y="24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3" y="22"/>
                    <a:pt x="6" y="24"/>
                    <a:pt x="6" y="24"/>
                  </a:cubicBezTo>
                  <a:cubicBezTo>
                    <a:pt x="6" y="22"/>
                    <a:pt x="8" y="21"/>
                    <a:pt x="8" y="21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1" y="14"/>
                    <a:pt x="4" y="14"/>
                    <a:pt x="4" y="14"/>
                  </a:cubicBezTo>
                  <a:cubicBezTo>
                    <a:pt x="4" y="13"/>
                    <a:pt x="0" y="10"/>
                    <a:pt x="0" y="8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6" y="8"/>
                    <a:pt x="4" y="10"/>
                    <a:pt x="6" y="10"/>
                  </a:cubicBezTo>
                  <a:cubicBezTo>
                    <a:pt x="8" y="10"/>
                    <a:pt x="8" y="10"/>
                    <a:pt x="9" y="10"/>
                  </a:cubicBezTo>
                  <a:cubicBezTo>
                    <a:pt x="11" y="10"/>
                    <a:pt x="11" y="13"/>
                    <a:pt x="12" y="10"/>
                  </a:cubicBezTo>
                  <a:cubicBezTo>
                    <a:pt x="14" y="8"/>
                    <a:pt x="9" y="7"/>
                    <a:pt x="9" y="7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11" y="2"/>
                    <a:pt x="11" y="2"/>
                  </a:cubicBezTo>
                  <a:cubicBezTo>
                    <a:pt x="12" y="5"/>
                    <a:pt x="14" y="0"/>
                    <a:pt x="14" y="4"/>
                  </a:cubicBezTo>
                  <a:cubicBezTo>
                    <a:pt x="15" y="7"/>
                    <a:pt x="17" y="4"/>
                    <a:pt x="17" y="7"/>
                  </a:cubicBezTo>
                  <a:cubicBezTo>
                    <a:pt x="18" y="11"/>
                    <a:pt x="23" y="10"/>
                    <a:pt x="23" y="8"/>
                  </a:cubicBezTo>
                  <a:cubicBezTo>
                    <a:pt x="24" y="7"/>
                    <a:pt x="26" y="5"/>
                    <a:pt x="27" y="4"/>
                  </a:cubicBezTo>
                  <a:cubicBezTo>
                    <a:pt x="29" y="4"/>
                    <a:pt x="32" y="10"/>
                    <a:pt x="32" y="11"/>
                  </a:cubicBezTo>
                  <a:cubicBezTo>
                    <a:pt x="33" y="13"/>
                    <a:pt x="35" y="13"/>
                    <a:pt x="35" y="16"/>
                  </a:cubicBezTo>
                  <a:cubicBezTo>
                    <a:pt x="35" y="18"/>
                    <a:pt x="41" y="16"/>
                    <a:pt x="42" y="19"/>
                  </a:cubicBezTo>
                  <a:cubicBezTo>
                    <a:pt x="42" y="22"/>
                    <a:pt x="41" y="18"/>
                    <a:pt x="36" y="19"/>
                  </a:cubicBezTo>
                  <a:cubicBezTo>
                    <a:pt x="33" y="22"/>
                    <a:pt x="36" y="25"/>
                    <a:pt x="33" y="27"/>
                  </a:cubicBezTo>
                  <a:cubicBezTo>
                    <a:pt x="32" y="28"/>
                    <a:pt x="35" y="30"/>
                    <a:pt x="33" y="32"/>
                  </a:cubicBezTo>
                  <a:cubicBezTo>
                    <a:pt x="32" y="32"/>
                    <a:pt x="33" y="33"/>
                    <a:pt x="32" y="35"/>
                  </a:cubicBezTo>
                  <a:cubicBezTo>
                    <a:pt x="32" y="35"/>
                    <a:pt x="32" y="28"/>
                    <a:pt x="30" y="35"/>
                  </a:cubicBezTo>
                  <a:cubicBezTo>
                    <a:pt x="29" y="38"/>
                    <a:pt x="29" y="39"/>
                    <a:pt x="30" y="41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74" name="Freeform 195">
              <a:extLst>
                <a:ext uri="{FF2B5EF4-FFF2-40B4-BE49-F238E27FC236}">
                  <a16:creationId xmlns:a16="http://schemas.microsoft.com/office/drawing/2014/main" id="{3EAB5D34-A3EC-4B3D-6ED0-651C83E618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39648" y="3487880"/>
              <a:ext cx="36956" cy="33742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3" y="0"/>
                </a:cxn>
                <a:cxn ang="0">
                  <a:pos x="4" y="3"/>
                </a:cxn>
                <a:cxn ang="0">
                  <a:pos x="6" y="3"/>
                </a:cxn>
                <a:cxn ang="0">
                  <a:pos x="7" y="3"/>
                </a:cxn>
                <a:cxn ang="0">
                  <a:pos x="9" y="5"/>
                </a:cxn>
                <a:cxn ang="0">
                  <a:pos x="10" y="6"/>
                </a:cxn>
                <a:cxn ang="0">
                  <a:pos x="12" y="11"/>
                </a:cxn>
                <a:cxn ang="0">
                  <a:pos x="9" y="11"/>
                </a:cxn>
                <a:cxn ang="0">
                  <a:pos x="0" y="2"/>
                </a:cxn>
              </a:cxnLst>
              <a:rect l="0" t="0" r="r" b="b"/>
              <a:pathLst>
                <a:path w="12" h="11">
                  <a:moveTo>
                    <a:pt x="0" y="2"/>
                  </a:moveTo>
                  <a:cubicBezTo>
                    <a:pt x="1" y="2"/>
                    <a:pt x="1" y="0"/>
                    <a:pt x="3" y="0"/>
                  </a:cubicBezTo>
                  <a:cubicBezTo>
                    <a:pt x="4" y="2"/>
                    <a:pt x="3" y="3"/>
                    <a:pt x="4" y="3"/>
                  </a:cubicBezTo>
                  <a:cubicBezTo>
                    <a:pt x="6" y="2"/>
                    <a:pt x="4" y="3"/>
                    <a:pt x="6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9" y="3"/>
                    <a:pt x="7" y="5"/>
                    <a:pt x="9" y="5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8"/>
                    <a:pt x="10" y="9"/>
                    <a:pt x="12" y="11"/>
                  </a:cubicBezTo>
                  <a:cubicBezTo>
                    <a:pt x="10" y="11"/>
                    <a:pt x="10" y="11"/>
                    <a:pt x="9" y="11"/>
                  </a:cubicBezTo>
                  <a:cubicBezTo>
                    <a:pt x="4" y="9"/>
                    <a:pt x="3" y="5"/>
                    <a:pt x="0" y="2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75" name="Freeform 196">
              <a:extLst>
                <a:ext uri="{FF2B5EF4-FFF2-40B4-BE49-F238E27FC236}">
                  <a16:creationId xmlns:a16="http://schemas.microsoft.com/office/drawing/2014/main" id="{DA8A5BCC-3A42-E83C-D328-9F7B7AD1D2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05905" y="3434856"/>
              <a:ext cx="80339" cy="86764"/>
            </a:xfrm>
            <a:custGeom>
              <a:avLst/>
              <a:gdLst/>
              <a:ahLst/>
              <a:cxnLst>
                <a:cxn ang="0">
                  <a:pos x="24" y="28"/>
                </a:cxn>
                <a:cxn ang="0">
                  <a:pos x="24" y="25"/>
                </a:cxn>
                <a:cxn ang="0">
                  <a:pos x="24" y="25"/>
                </a:cxn>
                <a:cxn ang="0">
                  <a:pos x="26" y="23"/>
                </a:cxn>
                <a:cxn ang="0">
                  <a:pos x="24" y="22"/>
                </a:cxn>
                <a:cxn ang="0">
                  <a:pos x="26" y="20"/>
                </a:cxn>
                <a:cxn ang="0">
                  <a:pos x="23" y="19"/>
                </a:cxn>
                <a:cxn ang="0">
                  <a:pos x="20" y="16"/>
                </a:cxn>
                <a:cxn ang="0">
                  <a:pos x="18" y="16"/>
                </a:cxn>
                <a:cxn ang="0">
                  <a:pos x="20" y="16"/>
                </a:cxn>
                <a:cxn ang="0">
                  <a:pos x="21" y="12"/>
                </a:cxn>
                <a:cxn ang="0">
                  <a:pos x="17" y="9"/>
                </a:cxn>
                <a:cxn ang="0">
                  <a:pos x="18" y="6"/>
                </a:cxn>
                <a:cxn ang="0">
                  <a:pos x="14" y="0"/>
                </a:cxn>
                <a:cxn ang="0">
                  <a:pos x="12" y="2"/>
                </a:cxn>
                <a:cxn ang="0">
                  <a:pos x="8" y="2"/>
                </a:cxn>
                <a:cxn ang="0">
                  <a:pos x="6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3" y="8"/>
                </a:cxn>
                <a:cxn ang="0">
                  <a:pos x="1" y="11"/>
                </a:cxn>
                <a:cxn ang="0">
                  <a:pos x="3" y="12"/>
                </a:cxn>
                <a:cxn ang="0">
                  <a:pos x="1" y="14"/>
                </a:cxn>
                <a:cxn ang="0">
                  <a:pos x="9" y="16"/>
                </a:cxn>
                <a:cxn ang="0">
                  <a:pos x="11" y="19"/>
                </a:cxn>
                <a:cxn ang="0">
                  <a:pos x="14" y="17"/>
                </a:cxn>
                <a:cxn ang="0">
                  <a:pos x="15" y="20"/>
                </a:cxn>
                <a:cxn ang="0">
                  <a:pos x="17" y="20"/>
                </a:cxn>
                <a:cxn ang="0">
                  <a:pos x="18" y="20"/>
                </a:cxn>
                <a:cxn ang="0">
                  <a:pos x="20" y="22"/>
                </a:cxn>
                <a:cxn ang="0">
                  <a:pos x="21" y="23"/>
                </a:cxn>
                <a:cxn ang="0">
                  <a:pos x="23" y="28"/>
                </a:cxn>
                <a:cxn ang="0">
                  <a:pos x="24" y="26"/>
                </a:cxn>
                <a:cxn ang="0">
                  <a:pos x="24" y="28"/>
                </a:cxn>
              </a:cxnLst>
              <a:rect l="0" t="0" r="r" b="b"/>
              <a:pathLst>
                <a:path w="26" h="28">
                  <a:moveTo>
                    <a:pt x="24" y="28"/>
                  </a:moveTo>
                  <a:cubicBezTo>
                    <a:pt x="24" y="26"/>
                    <a:pt x="24" y="26"/>
                    <a:pt x="24" y="25"/>
                  </a:cubicBezTo>
                  <a:cubicBezTo>
                    <a:pt x="24" y="25"/>
                    <a:pt x="24" y="25"/>
                    <a:pt x="24" y="25"/>
                  </a:cubicBezTo>
                  <a:cubicBezTo>
                    <a:pt x="23" y="23"/>
                    <a:pt x="26" y="23"/>
                    <a:pt x="26" y="23"/>
                  </a:cubicBezTo>
                  <a:cubicBezTo>
                    <a:pt x="26" y="23"/>
                    <a:pt x="23" y="22"/>
                    <a:pt x="24" y="22"/>
                  </a:cubicBezTo>
                  <a:cubicBezTo>
                    <a:pt x="24" y="20"/>
                    <a:pt x="26" y="22"/>
                    <a:pt x="26" y="20"/>
                  </a:cubicBezTo>
                  <a:cubicBezTo>
                    <a:pt x="26" y="19"/>
                    <a:pt x="23" y="20"/>
                    <a:pt x="23" y="19"/>
                  </a:cubicBezTo>
                  <a:cubicBezTo>
                    <a:pt x="21" y="19"/>
                    <a:pt x="20" y="17"/>
                    <a:pt x="20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4"/>
                    <a:pt x="20" y="16"/>
                    <a:pt x="20" y="16"/>
                  </a:cubicBezTo>
                  <a:cubicBezTo>
                    <a:pt x="20" y="14"/>
                    <a:pt x="21" y="12"/>
                    <a:pt x="21" y="12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5" y="6"/>
                    <a:pt x="18" y="6"/>
                    <a:pt x="18" y="6"/>
                  </a:cubicBezTo>
                  <a:cubicBezTo>
                    <a:pt x="18" y="5"/>
                    <a:pt x="14" y="2"/>
                    <a:pt x="14" y="0"/>
                  </a:cubicBezTo>
                  <a:cubicBezTo>
                    <a:pt x="12" y="0"/>
                    <a:pt x="12" y="2"/>
                    <a:pt x="12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6" y="2"/>
                  </a:cubicBezTo>
                  <a:cubicBezTo>
                    <a:pt x="5" y="2"/>
                    <a:pt x="3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0" y="3"/>
                    <a:pt x="1" y="3"/>
                  </a:cubicBezTo>
                  <a:cubicBezTo>
                    <a:pt x="1" y="5"/>
                    <a:pt x="3" y="6"/>
                    <a:pt x="3" y="8"/>
                  </a:cubicBezTo>
                  <a:cubicBezTo>
                    <a:pt x="3" y="9"/>
                    <a:pt x="1" y="9"/>
                    <a:pt x="1" y="11"/>
                  </a:cubicBezTo>
                  <a:cubicBezTo>
                    <a:pt x="1" y="12"/>
                    <a:pt x="3" y="12"/>
                    <a:pt x="3" y="12"/>
                  </a:cubicBezTo>
                  <a:cubicBezTo>
                    <a:pt x="3" y="14"/>
                    <a:pt x="1" y="14"/>
                    <a:pt x="1" y="14"/>
                  </a:cubicBezTo>
                  <a:cubicBezTo>
                    <a:pt x="5" y="16"/>
                    <a:pt x="8" y="14"/>
                    <a:pt x="9" y="16"/>
                  </a:cubicBezTo>
                  <a:cubicBezTo>
                    <a:pt x="11" y="17"/>
                    <a:pt x="11" y="17"/>
                    <a:pt x="11" y="19"/>
                  </a:cubicBezTo>
                  <a:cubicBezTo>
                    <a:pt x="12" y="19"/>
                    <a:pt x="12" y="17"/>
                    <a:pt x="14" y="17"/>
                  </a:cubicBezTo>
                  <a:cubicBezTo>
                    <a:pt x="15" y="19"/>
                    <a:pt x="14" y="20"/>
                    <a:pt x="15" y="20"/>
                  </a:cubicBezTo>
                  <a:cubicBezTo>
                    <a:pt x="17" y="19"/>
                    <a:pt x="15" y="20"/>
                    <a:pt x="17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0" y="20"/>
                    <a:pt x="18" y="22"/>
                    <a:pt x="20" y="22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5"/>
                    <a:pt x="21" y="26"/>
                    <a:pt x="23" y="28"/>
                  </a:cubicBezTo>
                  <a:cubicBezTo>
                    <a:pt x="23" y="28"/>
                    <a:pt x="23" y="26"/>
                    <a:pt x="24" y="26"/>
                  </a:cubicBezTo>
                  <a:cubicBezTo>
                    <a:pt x="24" y="28"/>
                    <a:pt x="24" y="28"/>
                    <a:pt x="24" y="28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76" name="Freeform 197">
              <a:extLst>
                <a:ext uri="{FF2B5EF4-FFF2-40B4-BE49-F238E27FC236}">
                  <a16:creationId xmlns:a16="http://schemas.microsoft.com/office/drawing/2014/main" id="{718D29F4-32F5-DF6E-0C4C-53A65AD698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17533" y="3356126"/>
              <a:ext cx="175139" cy="91585"/>
            </a:xfrm>
            <a:custGeom>
              <a:avLst/>
              <a:gdLst/>
              <a:ahLst/>
              <a:cxnLst>
                <a:cxn ang="0">
                  <a:pos x="30" y="28"/>
                </a:cxn>
                <a:cxn ang="0">
                  <a:pos x="34" y="26"/>
                </a:cxn>
                <a:cxn ang="0">
                  <a:pos x="36" y="26"/>
                </a:cxn>
                <a:cxn ang="0">
                  <a:pos x="41" y="26"/>
                </a:cxn>
                <a:cxn ang="0">
                  <a:pos x="42" y="25"/>
                </a:cxn>
                <a:cxn ang="0">
                  <a:pos x="44" y="23"/>
                </a:cxn>
                <a:cxn ang="0">
                  <a:pos x="47" y="25"/>
                </a:cxn>
                <a:cxn ang="0">
                  <a:pos x="48" y="26"/>
                </a:cxn>
                <a:cxn ang="0">
                  <a:pos x="51" y="26"/>
                </a:cxn>
                <a:cxn ang="0">
                  <a:pos x="54" y="26"/>
                </a:cxn>
                <a:cxn ang="0">
                  <a:pos x="51" y="23"/>
                </a:cxn>
                <a:cxn ang="0">
                  <a:pos x="51" y="22"/>
                </a:cxn>
                <a:cxn ang="0">
                  <a:pos x="53" y="19"/>
                </a:cxn>
                <a:cxn ang="0">
                  <a:pos x="47" y="16"/>
                </a:cxn>
                <a:cxn ang="0">
                  <a:pos x="47" y="11"/>
                </a:cxn>
                <a:cxn ang="0">
                  <a:pos x="42" y="10"/>
                </a:cxn>
                <a:cxn ang="0">
                  <a:pos x="37" y="10"/>
                </a:cxn>
                <a:cxn ang="0">
                  <a:pos x="31" y="11"/>
                </a:cxn>
                <a:cxn ang="0">
                  <a:pos x="30" y="8"/>
                </a:cxn>
                <a:cxn ang="0">
                  <a:pos x="24" y="5"/>
                </a:cxn>
                <a:cxn ang="0">
                  <a:pos x="17" y="4"/>
                </a:cxn>
                <a:cxn ang="0">
                  <a:pos x="11" y="4"/>
                </a:cxn>
                <a:cxn ang="0">
                  <a:pos x="7" y="0"/>
                </a:cxn>
                <a:cxn ang="0">
                  <a:pos x="0" y="2"/>
                </a:cxn>
                <a:cxn ang="0">
                  <a:pos x="10" y="8"/>
                </a:cxn>
                <a:cxn ang="0">
                  <a:pos x="14" y="14"/>
                </a:cxn>
                <a:cxn ang="0">
                  <a:pos x="13" y="23"/>
                </a:cxn>
                <a:cxn ang="0">
                  <a:pos x="17" y="23"/>
                </a:cxn>
                <a:cxn ang="0">
                  <a:pos x="21" y="23"/>
                </a:cxn>
                <a:cxn ang="0">
                  <a:pos x="22" y="22"/>
                </a:cxn>
                <a:cxn ang="0">
                  <a:pos x="27" y="25"/>
                </a:cxn>
                <a:cxn ang="0">
                  <a:pos x="27" y="25"/>
                </a:cxn>
                <a:cxn ang="0">
                  <a:pos x="27" y="26"/>
                </a:cxn>
                <a:cxn ang="0">
                  <a:pos x="30" y="26"/>
                </a:cxn>
                <a:cxn ang="0">
                  <a:pos x="30" y="28"/>
                </a:cxn>
              </a:cxnLst>
              <a:rect l="0" t="0" r="r" b="b"/>
              <a:pathLst>
                <a:path w="56" h="29">
                  <a:moveTo>
                    <a:pt x="30" y="28"/>
                  </a:moveTo>
                  <a:cubicBezTo>
                    <a:pt x="31" y="28"/>
                    <a:pt x="33" y="26"/>
                    <a:pt x="34" y="26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5"/>
                    <a:pt x="42" y="25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8" y="25"/>
                    <a:pt x="47" y="26"/>
                    <a:pt x="48" y="26"/>
                  </a:cubicBezTo>
                  <a:cubicBezTo>
                    <a:pt x="50" y="26"/>
                    <a:pt x="50" y="26"/>
                    <a:pt x="51" y="26"/>
                  </a:cubicBezTo>
                  <a:cubicBezTo>
                    <a:pt x="53" y="26"/>
                    <a:pt x="53" y="29"/>
                    <a:pt x="54" y="26"/>
                  </a:cubicBezTo>
                  <a:cubicBezTo>
                    <a:pt x="56" y="25"/>
                    <a:pt x="51" y="23"/>
                    <a:pt x="51" y="23"/>
                  </a:cubicBezTo>
                  <a:cubicBezTo>
                    <a:pt x="51" y="22"/>
                    <a:pt x="51" y="22"/>
                    <a:pt x="51" y="22"/>
                  </a:cubicBezTo>
                  <a:cubicBezTo>
                    <a:pt x="51" y="20"/>
                    <a:pt x="53" y="19"/>
                    <a:pt x="53" y="19"/>
                  </a:cubicBezTo>
                  <a:cubicBezTo>
                    <a:pt x="48" y="17"/>
                    <a:pt x="48" y="17"/>
                    <a:pt x="47" y="16"/>
                  </a:cubicBezTo>
                  <a:cubicBezTo>
                    <a:pt x="45" y="14"/>
                    <a:pt x="50" y="11"/>
                    <a:pt x="47" y="11"/>
                  </a:cubicBezTo>
                  <a:cubicBezTo>
                    <a:pt x="44" y="11"/>
                    <a:pt x="44" y="10"/>
                    <a:pt x="42" y="10"/>
                  </a:cubicBezTo>
                  <a:cubicBezTo>
                    <a:pt x="41" y="8"/>
                    <a:pt x="41" y="11"/>
                    <a:pt x="37" y="10"/>
                  </a:cubicBezTo>
                  <a:cubicBezTo>
                    <a:pt x="36" y="8"/>
                    <a:pt x="34" y="13"/>
                    <a:pt x="31" y="11"/>
                  </a:cubicBezTo>
                  <a:cubicBezTo>
                    <a:pt x="30" y="10"/>
                    <a:pt x="34" y="10"/>
                    <a:pt x="30" y="8"/>
                  </a:cubicBezTo>
                  <a:cubicBezTo>
                    <a:pt x="25" y="7"/>
                    <a:pt x="25" y="5"/>
                    <a:pt x="24" y="5"/>
                  </a:cubicBezTo>
                  <a:cubicBezTo>
                    <a:pt x="22" y="5"/>
                    <a:pt x="21" y="2"/>
                    <a:pt x="17" y="4"/>
                  </a:cubicBezTo>
                  <a:cubicBezTo>
                    <a:pt x="13" y="7"/>
                    <a:pt x="14" y="4"/>
                    <a:pt x="11" y="4"/>
                  </a:cubicBezTo>
                  <a:cubicBezTo>
                    <a:pt x="8" y="4"/>
                    <a:pt x="8" y="0"/>
                    <a:pt x="7" y="0"/>
                  </a:cubicBezTo>
                  <a:cubicBezTo>
                    <a:pt x="5" y="0"/>
                    <a:pt x="2" y="0"/>
                    <a:pt x="0" y="2"/>
                  </a:cubicBezTo>
                  <a:cubicBezTo>
                    <a:pt x="7" y="7"/>
                    <a:pt x="8" y="5"/>
                    <a:pt x="10" y="8"/>
                  </a:cubicBezTo>
                  <a:cubicBezTo>
                    <a:pt x="11" y="11"/>
                    <a:pt x="13" y="7"/>
                    <a:pt x="14" y="14"/>
                  </a:cubicBezTo>
                  <a:cubicBezTo>
                    <a:pt x="16" y="22"/>
                    <a:pt x="14" y="22"/>
                    <a:pt x="13" y="23"/>
                  </a:cubicBezTo>
                  <a:cubicBezTo>
                    <a:pt x="16" y="25"/>
                    <a:pt x="14" y="23"/>
                    <a:pt x="17" y="23"/>
                  </a:cubicBezTo>
                  <a:cubicBezTo>
                    <a:pt x="17" y="23"/>
                    <a:pt x="21" y="25"/>
                    <a:pt x="21" y="23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2"/>
                    <a:pt x="24" y="22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8" y="28"/>
                    <a:pt x="28" y="26"/>
                    <a:pt x="30" y="26"/>
                  </a:cubicBezTo>
                  <a:cubicBezTo>
                    <a:pt x="30" y="28"/>
                    <a:pt x="30" y="28"/>
                    <a:pt x="30" y="28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77" name="Freeform 198">
              <a:extLst>
                <a:ext uri="{FF2B5EF4-FFF2-40B4-BE49-F238E27FC236}">
                  <a16:creationId xmlns:a16="http://schemas.microsoft.com/office/drawing/2014/main" id="{E853791C-37BC-0C9C-E6AE-1C54028D66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70177" y="2907842"/>
              <a:ext cx="1023520" cy="557543"/>
            </a:xfrm>
            <a:custGeom>
              <a:avLst/>
              <a:gdLst/>
              <a:ahLst/>
              <a:cxnLst>
                <a:cxn ang="0">
                  <a:pos x="197" y="160"/>
                </a:cxn>
                <a:cxn ang="0">
                  <a:pos x="194" y="162"/>
                </a:cxn>
                <a:cxn ang="0">
                  <a:pos x="185" y="168"/>
                </a:cxn>
                <a:cxn ang="0">
                  <a:pos x="179" y="176"/>
                </a:cxn>
                <a:cxn ang="0">
                  <a:pos x="174" y="176"/>
                </a:cxn>
                <a:cxn ang="0">
                  <a:pos x="174" y="173"/>
                </a:cxn>
                <a:cxn ang="0">
                  <a:pos x="163" y="168"/>
                </a:cxn>
                <a:cxn ang="0">
                  <a:pos x="159" y="162"/>
                </a:cxn>
                <a:cxn ang="0">
                  <a:pos x="159" y="153"/>
                </a:cxn>
                <a:cxn ang="0">
                  <a:pos x="148" y="143"/>
                </a:cxn>
                <a:cxn ang="0">
                  <a:pos x="124" y="143"/>
                </a:cxn>
                <a:cxn ang="0">
                  <a:pos x="121" y="135"/>
                </a:cxn>
                <a:cxn ang="0">
                  <a:pos x="122" y="124"/>
                </a:cxn>
                <a:cxn ang="0">
                  <a:pos x="122" y="114"/>
                </a:cxn>
                <a:cxn ang="0">
                  <a:pos x="121" y="109"/>
                </a:cxn>
                <a:cxn ang="0">
                  <a:pos x="112" y="109"/>
                </a:cxn>
                <a:cxn ang="0">
                  <a:pos x="107" y="114"/>
                </a:cxn>
                <a:cxn ang="0">
                  <a:pos x="99" y="121"/>
                </a:cxn>
                <a:cxn ang="0">
                  <a:pos x="80" y="132"/>
                </a:cxn>
                <a:cxn ang="0">
                  <a:pos x="75" y="170"/>
                </a:cxn>
                <a:cxn ang="0">
                  <a:pos x="63" y="159"/>
                </a:cxn>
                <a:cxn ang="0">
                  <a:pos x="51" y="165"/>
                </a:cxn>
                <a:cxn ang="0">
                  <a:pos x="46" y="151"/>
                </a:cxn>
                <a:cxn ang="0">
                  <a:pos x="37" y="137"/>
                </a:cxn>
                <a:cxn ang="0">
                  <a:pos x="43" y="134"/>
                </a:cxn>
                <a:cxn ang="0">
                  <a:pos x="43" y="124"/>
                </a:cxn>
                <a:cxn ang="0">
                  <a:pos x="55" y="123"/>
                </a:cxn>
                <a:cxn ang="0">
                  <a:pos x="57" y="107"/>
                </a:cxn>
                <a:cxn ang="0">
                  <a:pos x="45" y="106"/>
                </a:cxn>
                <a:cxn ang="0">
                  <a:pos x="25" y="112"/>
                </a:cxn>
                <a:cxn ang="0">
                  <a:pos x="23" y="112"/>
                </a:cxn>
                <a:cxn ang="0">
                  <a:pos x="11" y="96"/>
                </a:cxn>
                <a:cxn ang="0">
                  <a:pos x="7" y="76"/>
                </a:cxn>
                <a:cxn ang="0">
                  <a:pos x="22" y="65"/>
                </a:cxn>
                <a:cxn ang="0">
                  <a:pos x="46" y="50"/>
                </a:cxn>
                <a:cxn ang="0">
                  <a:pos x="80" y="62"/>
                </a:cxn>
                <a:cxn ang="0">
                  <a:pos x="103" y="61"/>
                </a:cxn>
                <a:cxn ang="0">
                  <a:pos x="119" y="51"/>
                </a:cxn>
                <a:cxn ang="0">
                  <a:pos x="125" y="31"/>
                </a:cxn>
                <a:cxn ang="0">
                  <a:pos x="171" y="9"/>
                </a:cxn>
                <a:cxn ang="0">
                  <a:pos x="199" y="11"/>
                </a:cxn>
                <a:cxn ang="0">
                  <a:pos x="218" y="23"/>
                </a:cxn>
                <a:cxn ang="0">
                  <a:pos x="243" y="20"/>
                </a:cxn>
                <a:cxn ang="0">
                  <a:pos x="279" y="56"/>
                </a:cxn>
                <a:cxn ang="0">
                  <a:pos x="321" y="73"/>
                </a:cxn>
                <a:cxn ang="0">
                  <a:pos x="321" y="87"/>
                </a:cxn>
                <a:cxn ang="0">
                  <a:pos x="310" y="106"/>
                </a:cxn>
                <a:cxn ang="0">
                  <a:pos x="293" y="104"/>
                </a:cxn>
                <a:cxn ang="0">
                  <a:pos x="292" y="124"/>
                </a:cxn>
                <a:cxn ang="0">
                  <a:pos x="272" y="128"/>
                </a:cxn>
                <a:cxn ang="0">
                  <a:pos x="275" y="149"/>
                </a:cxn>
                <a:cxn ang="0">
                  <a:pos x="272" y="160"/>
                </a:cxn>
                <a:cxn ang="0">
                  <a:pos x="247" y="153"/>
                </a:cxn>
                <a:cxn ang="0">
                  <a:pos x="221" y="149"/>
                </a:cxn>
                <a:cxn ang="0">
                  <a:pos x="203" y="153"/>
                </a:cxn>
              </a:cxnLst>
              <a:rect l="0" t="0" r="r" b="b"/>
              <a:pathLst>
                <a:path w="328" h="179">
                  <a:moveTo>
                    <a:pt x="199" y="159"/>
                  </a:moveTo>
                  <a:cubicBezTo>
                    <a:pt x="197" y="160"/>
                    <a:pt x="197" y="160"/>
                    <a:pt x="197" y="160"/>
                  </a:cubicBezTo>
                  <a:cubicBezTo>
                    <a:pt x="196" y="160"/>
                    <a:pt x="197" y="162"/>
                    <a:pt x="196" y="162"/>
                  </a:cubicBezTo>
                  <a:cubicBezTo>
                    <a:pt x="194" y="162"/>
                    <a:pt x="196" y="160"/>
                    <a:pt x="194" y="162"/>
                  </a:cubicBezTo>
                  <a:cubicBezTo>
                    <a:pt x="191" y="163"/>
                    <a:pt x="189" y="165"/>
                    <a:pt x="188" y="166"/>
                  </a:cubicBezTo>
                  <a:cubicBezTo>
                    <a:pt x="186" y="168"/>
                    <a:pt x="186" y="168"/>
                    <a:pt x="185" y="168"/>
                  </a:cubicBezTo>
                  <a:cubicBezTo>
                    <a:pt x="182" y="170"/>
                    <a:pt x="183" y="171"/>
                    <a:pt x="182" y="171"/>
                  </a:cubicBezTo>
                  <a:cubicBezTo>
                    <a:pt x="180" y="173"/>
                    <a:pt x="179" y="174"/>
                    <a:pt x="179" y="176"/>
                  </a:cubicBezTo>
                  <a:cubicBezTo>
                    <a:pt x="180" y="177"/>
                    <a:pt x="179" y="179"/>
                    <a:pt x="177" y="177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6" y="173"/>
                    <a:pt x="176" y="173"/>
                    <a:pt x="176" y="173"/>
                  </a:cubicBezTo>
                  <a:cubicBezTo>
                    <a:pt x="176" y="173"/>
                    <a:pt x="176" y="174"/>
                    <a:pt x="174" y="173"/>
                  </a:cubicBezTo>
                  <a:cubicBezTo>
                    <a:pt x="174" y="171"/>
                    <a:pt x="174" y="171"/>
                    <a:pt x="168" y="171"/>
                  </a:cubicBezTo>
                  <a:cubicBezTo>
                    <a:pt x="163" y="173"/>
                    <a:pt x="163" y="171"/>
                    <a:pt x="163" y="168"/>
                  </a:cubicBezTo>
                  <a:cubicBezTo>
                    <a:pt x="163" y="165"/>
                    <a:pt x="163" y="162"/>
                    <a:pt x="162" y="162"/>
                  </a:cubicBezTo>
                  <a:cubicBezTo>
                    <a:pt x="159" y="162"/>
                    <a:pt x="159" y="162"/>
                    <a:pt x="159" y="162"/>
                  </a:cubicBezTo>
                  <a:cubicBezTo>
                    <a:pt x="159" y="162"/>
                    <a:pt x="159" y="160"/>
                    <a:pt x="159" y="157"/>
                  </a:cubicBezTo>
                  <a:cubicBezTo>
                    <a:pt x="160" y="153"/>
                    <a:pt x="160" y="149"/>
                    <a:pt x="159" y="153"/>
                  </a:cubicBezTo>
                  <a:cubicBezTo>
                    <a:pt x="156" y="154"/>
                    <a:pt x="157" y="148"/>
                    <a:pt x="154" y="146"/>
                  </a:cubicBezTo>
                  <a:cubicBezTo>
                    <a:pt x="151" y="145"/>
                    <a:pt x="151" y="142"/>
                    <a:pt x="148" y="143"/>
                  </a:cubicBezTo>
                  <a:cubicBezTo>
                    <a:pt x="144" y="146"/>
                    <a:pt x="141" y="143"/>
                    <a:pt x="133" y="145"/>
                  </a:cubicBezTo>
                  <a:cubicBezTo>
                    <a:pt x="127" y="146"/>
                    <a:pt x="127" y="146"/>
                    <a:pt x="124" y="143"/>
                  </a:cubicBezTo>
                  <a:cubicBezTo>
                    <a:pt x="122" y="140"/>
                    <a:pt x="121" y="139"/>
                    <a:pt x="121" y="137"/>
                  </a:cubicBezTo>
                  <a:cubicBezTo>
                    <a:pt x="119" y="137"/>
                    <a:pt x="121" y="135"/>
                    <a:pt x="121" y="135"/>
                  </a:cubicBezTo>
                  <a:cubicBezTo>
                    <a:pt x="119" y="131"/>
                    <a:pt x="121" y="135"/>
                    <a:pt x="127" y="128"/>
                  </a:cubicBezTo>
                  <a:cubicBezTo>
                    <a:pt x="125" y="123"/>
                    <a:pt x="122" y="129"/>
                    <a:pt x="122" y="124"/>
                  </a:cubicBezTo>
                  <a:cubicBezTo>
                    <a:pt x="122" y="120"/>
                    <a:pt x="121" y="121"/>
                    <a:pt x="119" y="117"/>
                  </a:cubicBezTo>
                  <a:cubicBezTo>
                    <a:pt x="118" y="112"/>
                    <a:pt x="122" y="117"/>
                    <a:pt x="122" y="114"/>
                  </a:cubicBezTo>
                  <a:cubicBezTo>
                    <a:pt x="122" y="110"/>
                    <a:pt x="124" y="114"/>
                    <a:pt x="124" y="107"/>
                  </a:cubicBezTo>
                  <a:cubicBezTo>
                    <a:pt x="124" y="106"/>
                    <a:pt x="121" y="107"/>
                    <a:pt x="121" y="109"/>
                  </a:cubicBezTo>
                  <a:cubicBezTo>
                    <a:pt x="119" y="112"/>
                    <a:pt x="116" y="112"/>
                    <a:pt x="118" y="109"/>
                  </a:cubicBezTo>
                  <a:cubicBezTo>
                    <a:pt x="119" y="106"/>
                    <a:pt x="116" y="107"/>
                    <a:pt x="112" y="109"/>
                  </a:cubicBezTo>
                  <a:cubicBezTo>
                    <a:pt x="107" y="112"/>
                    <a:pt x="113" y="110"/>
                    <a:pt x="112" y="114"/>
                  </a:cubicBezTo>
                  <a:cubicBezTo>
                    <a:pt x="110" y="117"/>
                    <a:pt x="109" y="112"/>
                    <a:pt x="107" y="114"/>
                  </a:cubicBezTo>
                  <a:cubicBezTo>
                    <a:pt x="106" y="114"/>
                    <a:pt x="109" y="115"/>
                    <a:pt x="107" y="117"/>
                  </a:cubicBezTo>
                  <a:cubicBezTo>
                    <a:pt x="104" y="118"/>
                    <a:pt x="103" y="114"/>
                    <a:pt x="99" y="121"/>
                  </a:cubicBezTo>
                  <a:cubicBezTo>
                    <a:pt x="98" y="121"/>
                    <a:pt x="84" y="126"/>
                    <a:pt x="81" y="128"/>
                  </a:cubicBezTo>
                  <a:cubicBezTo>
                    <a:pt x="78" y="128"/>
                    <a:pt x="80" y="128"/>
                    <a:pt x="80" y="132"/>
                  </a:cubicBezTo>
                  <a:cubicBezTo>
                    <a:pt x="80" y="135"/>
                    <a:pt x="80" y="170"/>
                    <a:pt x="80" y="170"/>
                  </a:cubicBezTo>
                  <a:cubicBezTo>
                    <a:pt x="77" y="170"/>
                    <a:pt x="75" y="171"/>
                    <a:pt x="75" y="170"/>
                  </a:cubicBezTo>
                  <a:cubicBezTo>
                    <a:pt x="71" y="163"/>
                    <a:pt x="72" y="163"/>
                    <a:pt x="69" y="162"/>
                  </a:cubicBezTo>
                  <a:cubicBezTo>
                    <a:pt x="67" y="160"/>
                    <a:pt x="66" y="157"/>
                    <a:pt x="63" y="159"/>
                  </a:cubicBezTo>
                  <a:cubicBezTo>
                    <a:pt x="60" y="159"/>
                    <a:pt x="57" y="160"/>
                    <a:pt x="55" y="162"/>
                  </a:cubicBezTo>
                  <a:cubicBezTo>
                    <a:pt x="52" y="163"/>
                    <a:pt x="51" y="165"/>
                    <a:pt x="51" y="165"/>
                  </a:cubicBezTo>
                  <a:cubicBezTo>
                    <a:pt x="49" y="157"/>
                    <a:pt x="57" y="157"/>
                    <a:pt x="52" y="154"/>
                  </a:cubicBezTo>
                  <a:cubicBezTo>
                    <a:pt x="49" y="149"/>
                    <a:pt x="48" y="154"/>
                    <a:pt x="46" y="151"/>
                  </a:cubicBezTo>
                  <a:cubicBezTo>
                    <a:pt x="45" y="148"/>
                    <a:pt x="42" y="151"/>
                    <a:pt x="42" y="148"/>
                  </a:cubicBezTo>
                  <a:cubicBezTo>
                    <a:pt x="42" y="148"/>
                    <a:pt x="40" y="137"/>
                    <a:pt x="37" y="137"/>
                  </a:cubicBezTo>
                  <a:cubicBezTo>
                    <a:pt x="32" y="137"/>
                    <a:pt x="31" y="134"/>
                    <a:pt x="35" y="132"/>
                  </a:cubicBezTo>
                  <a:cubicBezTo>
                    <a:pt x="42" y="132"/>
                    <a:pt x="37" y="135"/>
                    <a:pt x="43" y="134"/>
                  </a:cubicBezTo>
                  <a:cubicBezTo>
                    <a:pt x="48" y="134"/>
                    <a:pt x="35" y="129"/>
                    <a:pt x="40" y="128"/>
                  </a:cubicBezTo>
                  <a:cubicBezTo>
                    <a:pt x="45" y="126"/>
                    <a:pt x="40" y="126"/>
                    <a:pt x="43" y="124"/>
                  </a:cubicBezTo>
                  <a:cubicBezTo>
                    <a:pt x="46" y="121"/>
                    <a:pt x="45" y="124"/>
                    <a:pt x="49" y="124"/>
                  </a:cubicBezTo>
                  <a:cubicBezTo>
                    <a:pt x="52" y="123"/>
                    <a:pt x="60" y="126"/>
                    <a:pt x="55" y="123"/>
                  </a:cubicBezTo>
                  <a:cubicBezTo>
                    <a:pt x="52" y="120"/>
                    <a:pt x="58" y="115"/>
                    <a:pt x="57" y="112"/>
                  </a:cubicBezTo>
                  <a:cubicBezTo>
                    <a:pt x="55" y="110"/>
                    <a:pt x="57" y="109"/>
                    <a:pt x="57" y="107"/>
                  </a:cubicBezTo>
                  <a:cubicBezTo>
                    <a:pt x="55" y="106"/>
                    <a:pt x="52" y="104"/>
                    <a:pt x="51" y="106"/>
                  </a:cubicBezTo>
                  <a:cubicBezTo>
                    <a:pt x="49" y="109"/>
                    <a:pt x="49" y="107"/>
                    <a:pt x="45" y="106"/>
                  </a:cubicBezTo>
                  <a:cubicBezTo>
                    <a:pt x="42" y="103"/>
                    <a:pt x="39" y="104"/>
                    <a:pt x="32" y="109"/>
                  </a:cubicBezTo>
                  <a:cubicBezTo>
                    <a:pt x="28" y="114"/>
                    <a:pt x="28" y="109"/>
                    <a:pt x="25" y="112"/>
                  </a:cubicBezTo>
                  <a:cubicBezTo>
                    <a:pt x="23" y="117"/>
                    <a:pt x="22" y="115"/>
                    <a:pt x="22" y="117"/>
                  </a:cubicBezTo>
                  <a:cubicBezTo>
                    <a:pt x="22" y="115"/>
                    <a:pt x="22" y="117"/>
                    <a:pt x="23" y="112"/>
                  </a:cubicBezTo>
                  <a:cubicBezTo>
                    <a:pt x="16" y="107"/>
                    <a:pt x="28" y="110"/>
                    <a:pt x="20" y="103"/>
                  </a:cubicBezTo>
                  <a:cubicBezTo>
                    <a:pt x="14" y="95"/>
                    <a:pt x="14" y="95"/>
                    <a:pt x="11" y="96"/>
                  </a:cubicBezTo>
                  <a:cubicBezTo>
                    <a:pt x="8" y="96"/>
                    <a:pt x="11" y="92"/>
                    <a:pt x="7" y="89"/>
                  </a:cubicBezTo>
                  <a:cubicBezTo>
                    <a:pt x="0" y="87"/>
                    <a:pt x="10" y="81"/>
                    <a:pt x="7" y="76"/>
                  </a:cubicBezTo>
                  <a:cubicBezTo>
                    <a:pt x="3" y="73"/>
                    <a:pt x="11" y="62"/>
                    <a:pt x="14" y="65"/>
                  </a:cubicBezTo>
                  <a:cubicBezTo>
                    <a:pt x="20" y="75"/>
                    <a:pt x="22" y="72"/>
                    <a:pt x="22" y="65"/>
                  </a:cubicBezTo>
                  <a:cubicBezTo>
                    <a:pt x="22" y="59"/>
                    <a:pt x="32" y="56"/>
                    <a:pt x="37" y="51"/>
                  </a:cubicBezTo>
                  <a:cubicBezTo>
                    <a:pt x="40" y="45"/>
                    <a:pt x="42" y="54"/>
                    <a:pt x="46" y="50"/>
                  </a:cubicBezTo>
                  <a:cubicBezTo>
                    <a:pt x="52" y="47"/>
                    <a:pt x="51" y="51"/>
                    <a:pt x="58" y="53"/>
                  </a:cubicBezTo>
                  <a:cubicBezTo>
                    <a:pt x="66" y="53"/>
                    <a:pt x="74" y="67"/>
                    <a:pt x="80" y="62"/>
                  </a:cubicBezTo>
                  <a:cubicBezTo>
                    <a:pt x="83" y="57"/>
                    <a:pt x="84" y="54"/>
                    <a:pt x="89" y="57"/>
                  </a:cubicBezTo>
                  <a:cubicBezTo>
                    <a:pt x="93" y="61"/>
                    <a:pt x="93" y="53"/>
                    <a:pt x="103" y="61"/>
                  </a:cubicBezTo>
                  <a:cubicBezTo>
                    <a:pt x="112" y="67"/>
                    <a:pt x="107" y="56"/>
                    <a:pt x="113" y="61"/>
                  </a:cubicBezTo>
                  <a:cubicBezTo>
                    <a:pt x="121" y="65"/>
                    <a:pt x="128" y="54"/>
                    <a:pt x="119" y="51"/>
                  </a:cubicBezTo>
                  <a:cubicBezTo>
                    <a:pt x="103" y="44"/>
                    <a:pt x="124" y="45"/>
                    <a:pt x="118" y="39"/>
                  </a:cubicBezTo>
                  <a:cubicBezTo>
                    <a:pt x="112" y="34"/>
                    <a:pt x="133" y="34"/>
                    <a:pt x="125" y="31"/>
                  </a:cubicBezTo>
                  <a:cubicBezTo>
                    <a:pt x="118" y="28"/>
                    <a:pt x="115" y="20"/>
                    <a:pt x="124" y="20"/>
                  </a:cubicBezTo>
                  <a:cubicBezTo>
                    <a:pt x="133" y="20"/>
                    <a:pt x="163" y="14"/>
                    <a:pt x="171" y="9"/>
                  </a:cubicBezTo>
                  <a:cubicBezTo>
                    <a:pt x="180" y="6"/>
                    <a:pt x="182" y="0"/>
                    <a:pt x="188" y="5"/>
                  </a:cubicBezTo>
                  <a:cubicBezTo>
                    <a:pt x="193" y="8"/>
                    <a:pt x="196" y="0"/>
                    <a:pt x="199" y="11"/>
                  </a:cubicBezTo>
                  <a:cubicBezTo>
                    <a:pt x="202" y="23"/>
                    <a:pt x="206" y="15"/>
                    <a:pt x="212" y="19"/>
                  </a:cubicBezTo>
                  <a:cubicBezTo>
                    <a:pt x="218" y="22"/>
                    <a:pt x="223" y="19"/>
                    <a:pt x="218" y="23"/>
                  </a:cubicBezTo>
                  <a:cubicBezTo>
                    <a:pt x="214" y="28"/>
                    <a:pt x="223" y="28"/>
                    <a:pt x="235" y="20"/>
                  </a:cubicBezTo>
                  <a:cubicBezTo>
                    <a:pt x="247" y="11"/>
                    <a:pt x="246" y="17"/>
                    <a:pt x="243" y="20"/>
                  </a:cubicBezTo>
                  <a:cubicBezTo>
                    <a:pt x="240" y="23"/>
                    <a:pt x="252" y="25"/>
                    <a:pt x="263" y="45"/>
                  </a:cubicBezTo>
                  <a:cubicBezTo>
                    <a:pt x="276" y="75"/>
                    <a:pt x="270" y="48"/>
                    <a:pt x="279" y="56"/>
                  </a:cubicBezTo>
                  <a:cubicBezTo>
                    <a:pt x="290" y="65"/>
                    <a:pt x="295" y="53"/>
                    <a:pt x="304" y="62"/>
                  </a:cubicBezTo>
                  <a:cubicBezTo>
                    <a:pt x="311" y="73"/>
                    <a:pt x="314" y="79"/>
                    <a:pt x="321" y="73"/>
                  </a:cubicBezTo>
                  <a:cubicBezTo>
                    <a:pt x="328" y="68"/>
                    <a:pt x="321" y="75"/>
                    <a:pt x="328" y="81"/>
                  </a:cubicBezTo>
                  <a:cubicBezTo>
                    <a:pt x="319" y="79"/>
                    <a:pt x="328" y="86"/>
                    <a:pt x="321" y="87"/>
                  </a:cubicBezTo>
                  <a:cubicBezTo>
                    <a:pt x="311" y="90"/>
                    <a:pt x="313" y="96"/>
                    <a:pt x="314" y="100"/>
                  </a:cubicBezTo>
                  <a:cubicBezTo>
                    <a:pt x="316" y="103"/>
                    <a:pt x="314" y="104"/>
                    <a:pt x="310" y="106"/>
                  </a:cubicBezTo>
                  <a:cubicBezTo>
                    <a:pt x="307" y="107"/>
                    <a:pt x="308" y="104"/>
                    <a:pt x="304" y="106"/>
                  </a:cubicBezTo>
                  <a:cubicBezTo>
                    <a:pt x="299" y="106"/>
                    <a:pt x="295" y="100"/>
                    <a:pt x="293" y="104"/>
                  </a:cubicBezTo>
                  <a:cubicBezTo>
                    <a:pt x="293" y="107"/>
                    <a:pt x="292" y="117"/>
                    <a:pt x="289" y="120"/>
                  </a:cubicBezTo>
                  <a:cubicBezTo>
                    <a:pt x="287" y="123"/>
                    <a:pt x="292" y="121"/>
                    <a:pt x="292" y="124"/>
                  </a:cubicBezTo>
                  <a:cubicBezTo>
                    <a:pt x="290" y="128"/>
                    <a:pt x="287" y="126"/>
                    <a:pt x="284" y="124"/>
                  </a:cubicBezTo>
                  <a:cubicBezTo>
                    <a:pt x="282" y="124"/>
                    <a:pt x="276" y="126"/>
                    <a:pt x="272" y="128"/>
                  </a:cubicBezTo>
                  <a:cubicBezTo>
                    <a:pt x="264" y="129"/>
                    <a:pt x="275" y="129"/>
                    <a:pt x="273" y="132"/>
                  </a:cubicBezTo>
                  <a:cubicBezTo>
                    <a:pt x="272" y="135"/>
                    <a:pt x="279" y="148"/>
                    <a:pt x="275" y="149"/>
                  </a:cubicBezTo>
                  <a:cubicBezTo>
                    <a:pt x="272" y="151"/>
                    <a:pt x="276" y="153"/>
                    <a:pt x="273" y="153"/>
                  </a:cubicBezTo>
                  <a:cubicBezTo>
                    <a:pt x="270" y="154"/>
                    <a:pt x="273" y="159"/>
                    <a:pt x="272" y="160"/>
                  </a:cubicBezTo>
                  <a:cubicBezTo>
                    <a:pt x="269" y="156"/>
                    <a:pt x="266" y="159"/>
                    <a:pt x="264" y="156"/>
                  </a:cubicBezTo>
                  <a:cubicBezTo>
                    <a:pt x="264" y="153"/>
                    <a:pt x="258" y="153"/>
                    <a:pt x="247" y="153"/>
                  </a:cubicBezTo>
                  <a:cubicBezTo>
                    <a:pt x="235" y="151"/>
                    <a:pt x="235" y="154"/>
                    <a:pt x="232" y="153"/>
                  </a:cubicBezTo>
                  <a:cubicBezTo>
                    <a:pt x="231" y="151"/>
                    <a:pt x="226" y="148"/>
                    <a:pt x="221" y="149"/>
                  </a:cubicBezTo>
                  <a:cubicBezTo>
                    <a:pt x="215" y="151"/>
                    <a:pt x="220" y="159"/>
                    <a:pt x="217" y="157"/>
                  </a:cubicBezTo>
                  <a:cubicBezTo>
                    <a:pt x="214" y="156"/>
                    <a:pt x="208" y="153"/>
                    <a:pt x="203" y="153"/>
                  </a:cubicBezTo>
                  <a:cubicBezTo>
                    <a:pt x="199" y="154"/>
                    <a:pt x="199" y="157"/>
                    <a:pt x="199" y="159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78" name="Freeform 199">
              <a:extLst>
                <a:ext uri="{FF2B5EF4-FFF2-40B4-BE49-F238E27FC236}">
                  <a16:creationId xmlns:a16="http://schemas.microsoft.com/office/drawing/2014/main" id="{715556E5-CCF8-8813-D1DE-C915164AF3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19430" y="2300490"/>
              <a:ext cx="298861" cy="448284"/>
            </a:xfrm>
            <a:custGeom>
              <a:avLst/>
              <a:gdLst/>
              <a:ahLst/>
              <a:cxnLst>
                <a:cxn ang="0">
                  <a:pos x="12" y="13"/>
                </a:cxn>
                <a:cxn ang="0">
                  <a:pos x="24" y="21"/>
                </a:cxn>
                <a:cxn ang="0">
                  <a:pos x="35" y="19"/>
                </a:cxn>
                <a:cxn ang="0">
                  <a:pos x="44" y="21"/>
                </a:cxn>
                <a:cxn ang="0">
                  <a:pos x="50" y="10"/>
                </a:cxn>
                <a:cxn ang="0">
                  <a:pos x="62" y="2"/>
                </a:cxn>
                <a:cxn ang="0">
                  <a:pos x="77" y="10"/>
                </a:cxn>
                <a:cxn ang="0">
                  <a:pos x="73" y="19"/>
                </a:cxn>
                <a:cxn ang="0">
                  <a:pos x="79" y="31"/>
                </a:cxn>
                <a:cxn ang="0">
                  <a:pos x="76" y="49"/>
                </a:cxn>
                <a:cxn ang="0">
                  <a:pos x="80" y="66"/>
                </a:cxn>
                <a:cxn ang="0">
                  <a:pos x="80" y="70"/>
                </a:cxn>
                <a:cxn ang="0">
                  <a:pos x="83" y="78"/>
                </a:cxn>
                <a:cxn ang="0">
                  <a:pos x="88" y="86"/>
                </a:cxn>
                <a:cxn ang="0">
                  <a:pos x="93" y="99"/>
                </a:cxn>
                <a:cxn ang="0">
                  <a:pos x="79" y="120"/>
                </a:cxn>
                <a:cxn ang="0">
                  <a:pos x="56" y="134"/>
                </a:cxn>
                <a:cxn ang="0">
                  <a:pos x="44" y="138"/>
                </a:cxn>
                <a:cxn ang="0">
                  <a:pos x="27" y="141"/>
                </a:cxn>
                <a:cxn ang="0">
                  <a:pos x="22" y="138"/>
                </a:cxn>
                <a:cxn ang="0">
                  <a:pos x="13" y="128"/>
                </a:cxn>
                <a:cxn ang="0">
                  <a:pos x="15" y="117"/>
                </a:cxn>
                <a:cxn ang="0">
                  <a:pos x="15" y="99"/>
                </a:cxn>
                <a:cxn ang="0">
                  <a:pos x="21" y="94"/>
                </a:cxn>
                <a:cxn ang="0">
                  <a:pos x="29" y="88"/>
                </a:cxn>
                <a:cxn ang="0">
                  <a:pos x="41" y="75"/>
                </a:cxn>
                <a:cxn ang="0">
                  <a:pos x="45" y="70"/>
                </a:cxn>
                <a:cxn ang="0">
                  <a:pos x="36" y="63"/>
                </a:cxn>
                <a:cxn ang="0">
                  <a:pos x="35" y="49"/>
                </a:cxn>
                <a:cxn ang="0">
                  <a:pos x="33" y="39"/>
                </a:cxn>
                <a:cxn ang="0">
                  <a:pos x="30" y="35"/>
                </a:cxn>
                <a:cxn ang="0">
                  <a:pos x="29" y="28"/>
                </a:cxn>
                <a:cxn ang="0">
                  <a:pos x="12" y="19"/>
                </a:cxn>
                <a:cxn ang="0">
                  <a:pos x="12" y="16"/>
                </a:cxn>
                <a:cxn ang="0">
                  <a:pos x="21" y="138"/>
                </a:cxn>
                <a:cxn ang="0">
                  <a:pos x="18" y="136"/>
                </a:cxn>
                <a:cxn ang="0">
                  <a:pos x="18" y="136"/>
                </a:cxn>
                <a:cxn ang="0">
                  <a:pos x="16" y="139"/>
                </a:cxn>
                <a:cxn ang="0">
                  <a:pos x="18" y="139"/>
                </a:cxn>
                <a:cxn ang="0">
                  <a:pos x="18" y="139"/>
                </a:cxn>
                <a:cxn ang="0">
                  <a:pos x="18" y="138"/>
                </a:cxn>
                <a:cxn ang="0">
                  <a:pos x="4" y="141"/>
                </a:cxn>
                <a:cxn ang="0">
                  <a:pos x="4" y="141"/>
                </a:cxn>
                <a:cxn ang="0">
                  <a:pos x="4" y="138"/>
                </a:cxn>
                <a:cxn ang="0">
                  <a:pos x="3" y="136"/>
                </a:cxn>
                <a:cxn ang="0">
                  <a:pos x="1" y="136"/>
                </a:cxn>
                <a:cxn ang="0">
                  <a:pos x="0" y="138"/>
                </a:cxn>
                <a:cxn ang="0">
                  <a:pos x="3" y="139"/>
                </a:cxn>
                <a:cxn ang="0">
                  <a:pos x="41" y="72"/>
                </a:cxn>
                <a:cxn ang="0">
                  <a:pos x="44" y="74"/>
                </a:cxn>
                <a:cxn ang="0">
                  <a:pos x="13" y="97"/>
                </a:cxn>
                <a:cxn ang="0">
                  <a:pos x="15" y="97"/>
                </a:cxn>
              </a:cxnLst>
              <a:rect l="0" t="0" r="r" b="b"/>
              <a:pathLst>
                <a:path w="96" h="144">
                  <a:moveTo>
                    <a:pt x="12" y="16"/>
                  </a:moveTo>
                  <a:cubicBezTo>
                    <a:pt x="12" y="16"/>
                    <a:pt x="10" y="14"/>
                    <a:pt x="12" y="13"/>
                  </a:cubicBezTo>
                  <a:cubicBezTo>
                    <a:pt x="15" y="11"/>
                    <a:pt x="18" y="14"/>
                    <a:pt x="21" y="17"/>
                  </a:cubicBezTo>
                  <a:cubicBezTo>
                    <a:pt x="24" y="21"/>
                    <a:pt x="19" y="21"/>
                    <a:pt x="24" y="21"/>
                  </a:cubicBezTo>
                  <a:cubicBezTo>
                    <a:pt x="30" y="21"/>
                    <a:pt x="27" y="22"/>
                    <a:pt x="30" y="22"/>
                  </a:cubicBezTo>
                  <a:cubicBezTo>
                    <a:pt x="35" y="21"/>
                    <a:pt x="33" y="19"/>
                    <a:pt x="35" y="19"/>
                  </a:cubicBezTo>
                  <a:cubicBezTo>
                    <a:pt x="36" y="21"/>
                    <a:pt x="39" y="21"/>
                    <a:pt x="42" y="24"/>
                  </a:cubicBezTo>
                  <a:cubicBezTo>
                    <a:pt x="42" y="22"/>
                    <a:pt x="44" y="24"/>
                    <a:pt x="44" y="21"/>
                  </a:cubicBezTo>
                  <a:cubicBezTo>
                    <a:pt x="45" y="17"/>
                    <a:pt x="51" y="19"/>
                    <a:pt x="48" y="16"/>
                  </a:cubicBezTo>
                  <a:cubicBezTo>
                    <a:pt x="47" y="13"/>
                    <a:pt x="50" y="13"/>
                    <a:pt x="50" y="10"/>
                  </a:cubicBezTo>
                  <a:cubicBezTo>
                    <a:pt x="50" y="8"/>
                    <a:pt x="51" y="5"/>
                    <a:pt x="54" y="3"/>
                  </a:cubicBezTo>
                  <a:cubicBezTo>
                    <a:pt x="58" y="2"/>
                    <a:pt x="56" y="5"/>
                    <a:pt x="62" y="2"/>
                  </a:cubicBezTo>
                  <a:cubicBezTo>
                    <a:pt x="65" y="0"/>
                    <a:pt x="65" y="0"/>
                    <a:pt x="67" y="3"/>
                  </a:cubicBezTo>
                  <a:cubicBezTo>
                    <a:pt x="68" y="5"/>
                    <a:pt x="76" y="6"/>
                    <a:pt x="77" y="10"/>
                  </a:cubicBezTo>
                  <a:cubicBezTo>
                    <a:pt x="77" y="11"/>
                    <a:pt x="70" y="14"/>
                    <a:pt x="74" y="16"/>
                  </a:cubicBezTo>
                  <a:cubicBezTo>
                    <a:pt x="67" y="21"/>
                    <a:pt x="73" y="17"/>
                    <a:pt x="73" y="19"/>
                  </a:cubicBezTo>
                  <a:cubicBezTo>
                    <a:pt x="74" y="22"/>
                    <a:pt x="70" y="21"/>
                    <a:pt x="71" y="25"/>
                  </a:cubicBezTo>
                  <a:cubicBezTo>
                    <a:pt x="73" y="33"/>
                    <a:pt x="76" y="27"/>
                    <a:pt x="79" y="31"/>
                  </a:cubicBezTo>
                  <a:cubicBezTo>
                    <a:pt x="82" y="36"/>
                    <a:pt x="85" y="35"/>
                    <a:pt x="82" y="38"/>
                  </a:cubicBezTo>
                  <a:cubicBezTo>
                    <a:pt x="79" y="41"/>
                    <a:pt x="73" y="46"/>
                    <a:pt x="76" y="49"/>
                  </a:cubicBezTo>
                  <a:cubicBezTo>
                    <a:pt x="79" y="50"/>
                    <a:pt x="85" y="64"/>
                    <a:pt x="83" y="64"/>
                  </a:cubicBezTo>
                  <a:cubicBezTo>
                    <a:pt x="80" y="64"/>
                    <a:pt x="80" y="64"/>
                    <a:pt x="80" y="66"/>
                  </a:cubicBezTo>
                  <a:cubicBezTo>
                    <a:pt x="82" y="66"/>
                    <a:pt x="80" y="66"/>
                    <a:pt x="80" y="67"/>
                  </a:cubicBezTo>
                  <a:cubicBezTo>
                    <a:pt x="80" y="70"/>
                    <a:pt x="79" y="69"/>
                    <a:pt x="80" y="70"/>
                  </a:cubicBezTo>
                  <a:cubicBezTo>
                    <a:pt x="83" y="72"/>
                    <a:pt x="79" y="72"/>
                    <a:pt x="79" y="74"/>
                  </a:cubicBezTo>
                  <a:cubicBezTo>
                    <a:pt x="80" y="77"/>
                    <a:pt x="86" y="77"/>
                    <a:pt x="83" y="78"/>
                  </a:cubicBezTo>
                  <a:cubicBezTo>
                    <a:pt x="82" y="80"/>
                    <a:pt x="83" y="80"/>
                    <a:pt x="83" y="81"/>
                  </a:cubicBezTo>
                  <a:cubicBezTo>
                    <a:pt x="82" y="83"/>
                    <a:pt x="88" y="83"/>
                    <a:pt x="88" y="86"/>
                  </a:cubicBezTo>
                  <a:cubicBezTo>
                    <a:pt x="86" y="89"/>
                    <a:pt x="80" y="89"/>
                    <a:pt x="83" y="92"/>
                  </a:cubicBezTo>
                  <a:cubicBezTo>
                    <a:pt x="86" y="94"/>
                    <a:pt x="91" y="95"/>
                    <a:pt x="93" y="99"/>
                  </a:cubicBezTo>
                  <a:cubicBezTo>
                    <a:pt x="94" y="102"/>
                    <a:pt x="96" y="100"/>
                    <a:pt x="94" y="103"/>
                  </a:cubicBezTo>
                  <a:cubicBezTo>
                    <a:pt x="93" y="106"/>
                    <a:pt x="88" y="113"/>
                    <a:pt x="79" y="120"/>
                  </a:cubicBezTo>
                  <a:cubicBezTo>
                    <a:pt x="71" y="128"/>
                    <a:pt x="68" y="130"/>
                    <a:pt x="65" y="133"/>
                  </a:cubicBezTo>
                  <a:cubicBezTo>
                    <a:pt x="61" y="136"/>
                    <a:pt x="61" y="133"/>
                    <a:pt x="56" y="134"/>
                  </a:cubicBezTo>
                  <a:cubicBezTo>
                    <a:pt x="51" y="138"/>
                    <a:pt x="53" y="133"/>
                    <a:pt x="51" y="136"/>
                  </a:cubicBezTo>
                  <a:cubicBezTo>
                    <a:pt x="48" y="139"/>
                    <a:pt x="50" y="134"/>
                    <a:pt x="44" y="138"/>
                  </a:cubicBezTo>
                  <a:cubicBezTo>
                    <a:pt x="35" y="142"/>
                    <a:pt x="33" y="141"/>
                    <a:pt x="30" y="142"/>
                  </a:cubicBezTo>
                  <a:cubicBezTo>
                    <a:pt x="25" y="144"/>
                    <a:pt x="25" y="144"/>
                    <a:pt x="27" y="141"/>
                  </a:cubicBezTo>
                  <a:cubicBezTo>
                    <a:pt x="29" y="139"/>
                    <a:pt x="27" y="138"/>
                    <a:pt x="25" y="141"/>
                  </a:cubicBezTo>
                  <a:cubicBezTo>
                    <a:pt x="22" y="142"/>
                    <a:pt x="22" y="139"/>
                    <a:pt x="22" y="138"/>
                  </a:cubicBezTo>
                  <a:cubicBezTo>
                    <a:pt x="24" y="134"/>
                    <a:pt x="21" y="134"/>
                    <a:pt x="16" y="134"/>
                  </a:cubicBezTo>
                  <a:cubicBezTo>
                    <a:pt x="12" y="133"/>
                    <a:pt x="13" y="133"/>
                    <a:pt x="13" y="128"/>
                  </a:cubicBezTo>
                  <a:cubicBezTo>
                    <a:pt x="15" y="125"/>
                    <a:pt x="15" y="124"/>
                    <a:pt x="15" y="122"/>
                  </a:cubicBezTo>
                  <a:cubicBezTo>
                    <a:pt x="13" y="119"/>
                    <a:pt x="18" y="120"/>
                    <a:pt x="15" y="117"/>
                  </a:cubicBezTo>
                  <a:cubicBezTo>
                    <a:pt x="10" y="111"/>
                    <a:pt x="16" y="114"/>
                    <a:pt x="13" y="110"/>
                  </a:cubicBezTo>
                  <a:cubicBezTo>
                    <a:pt x="10" y="103"/>
                    <a:pt x="15" y="102"/>
                    <a:pt x="15" y="99"/>
                  </a:cubicBezTo>
                  <a:cubicBezTo>
                    <a:pt x="15" y="97"/>
                    <a:pt x="18" y="100"/>
                    <a:pt x="19" y="99"/>
                  </a:cubicBezTo>
                  <a:cubicBezTo>
                    <a:pt x="22" y="97"/>
                    <a:pt x="19" y="94"/>
                    <a:pt x="21" y="94"/>
                  </a:cubicBezTo>
                  <a:cubicBezTo>
                    <a:pt x="22" y="94"/>
                    <a:pt x="22" y="91"/>
                    <a:pt x="25" y="92"/>
                  </a:cubicBezTo>
                  <a:cubicBezTo>
                    <a:pt x="27" y="92"/>
                    <a:pt x="25" y="89"/>
                    <a:pt x="29" y="88"/>
                  </a:cubicBezTo>
                  <a:cubicBezTo>
                    <a:pt x="32" y="88"/>
                    <a:pt x="27" y="88"/>
                    <a:pt x="33" y="85"/>
                  </a:cubicBezTo>
                  <a:cubicBezTo>
                    <a:pt x="39" y="80"/>
                    <a:pt x="38" y="77"/>
                    <a:pt x="41" y="75"/>
                  </a:cubicBezTo>
                  <a:cubicBezTo>
                    <a:pt x="45" y="74"/>
                    <a:pt x="45" y="75"/>
                    <a:pt x="45" y="74"/>
                  </a:cubicBezTo>
                  <a:cubicBezTo>
                    <a:pt x="47" y="72"/>
                    <a:pt x="44" y="74"/>
                    <a:pt x="45" y="70"/>
                  </a:cubicBezTo>
                  <a:cubicBezTo>
                    <a:pt x="45" y="67"/>
                    <a:pt x="47" y="66"/>
                    <a:pt x="42" y="64"/>
                  </a:cubicBezTo>
                  <a:cubicBezTo>
                    <a:pt x="38" y="64"/>
                    <a:pt x="41" y="63"/>
                    <a:pt x="36" y="63"/>
                  </a:cubicBezTo>
                  <a:cubicBezTo>
                    <a:pt x="36" y="58"/>
                    <a:pt x="30" y="56"/>
                    <a:pt x="33" y="53"/>
                  </a:cubicBezTo>
                  <a:cubicBezTo>
                    <a:pt x="35" y="50"/>
                    <a:pt x="33" y="50"/>
                    <a:pt x="35" y="49"/>
                  </a:cubicBezTo>
                  <a:cubicBezTo>
                    <a:pt x="36" y="47"/>
                    <a:pt x="32" y="46"/>
                    <a:pt x="32" y="44"/>
                  </a:cubicBezTo>
                  <a:cubicBezTo>
                    <a:pt x="32" y="41"/>
                    <a:pt x="33" y="41"/>
                    <a:pt x="33" y="39"/>
                  </a:cubicBezTo>
                  <a:cubicBezTo>
                    <a:pt x="33" y="38"/>
                    <a:pt x="30" y="41"/>
                    <a:pt x="30" y="39"/>
                  </a:cubicBezTo>
                  <a:cubicBezTo>
                    <a:pt x="30" y="38"/>
                    <a:pt x="32" y="39"/>
                    <a:pt x="30" y="35"/>
                  </a:cubicBezTo>
                  <a:cubicBezTo>
                    <a:pt x="30" y="31"/>
                    <a:pt x="35" y="35"/>
                    <a:pt x="30" y="30"/>
                  </a:cubicBezTo>
                  <a:cubicBezTo>
                    <a:pt x="27" y="28"/>
                    <a:pt x="29" y="30"/>
                    <a:pt x="29" y="28"/>
                  </a:cubicBezTo>
                  <a:cubicBezTo>
                    <a:pt x="29" y="27"/>
                    <a:pt x="25" y="25"/>
                    <a:pt x="22" y="25"/>
                  </a:cubicBezTo>
                  <a:cubicBezTo>
                    <a:pt x="19" y="25"/>
                    <a:pt x="15" y="22"/>
                    <a:pt x="12" y="19"/>
                  </a:cubicBezTo>
                  <a:cubicBezTo>
                    <a:pt x="7" y="17"/>
                    <a:pt x="12" y="17"/>
                    <a:pt x="9" y="16"/>
                  </a:cubicBezTo>
                  <a:cubicBezTo>
                    <a:pt x="9" y="14"/>
                    <a:pt x="12" y="17"/>
                    <a:pt x="12" y="16"/>
                  </a:cubicBezTo>
                  <a:close/>
                  <a:moveTo>
                    <a:pt x="19" y="136"/>
                  </a:moveTo>
                  <a:cubicBezTo>
                    <a:pt x="19" y="136"/>
                    <a:pt x="21" y="136"/>
                    <a:pt x="21" y="138"/>
                  </a:cubicBezTo>
                  <a:cubicBezTo>
                    <a:pt x="21" y="138"/>
                    <a:pt x="19" y="138"/>
                    <a:pt x="19" y="136"/>
                  </a:cubicBezTo>
                  <a:close/>
                  <a:moveTo>
                    <a:pt x="18" y="136"/>
                  </a:moveTo>
                  <a:cubicBezTo>
                    <a:pt x="18" y="136"/>
                    <a:pt x="16" y="134"/>
                    <a:pt x="18" y="134"/>
                  </a:cubicBezTo>
                  <a:cubicBezTo>
                    <a:pt x="18" y="134"/>
                    <a:pt x="19" y="136"/>
                    <a:pt x="18" y="136"/>
                  </a:cubicBezTo>
                  <a:close/>
                  <a:moveTo>
                    <a:pt x="15" y="139"/>
                  </a:moveTo>
                  <a:cubicBezTo>
                    <a:pt x="15" y="138"/>
                    <a:pt x="16" y="138"/>
                    <a:pt x="16" y="139"/>
                  </a:cubicBezTo>
                  <a:cubicBezTo>
                    <a:pt x="15" y="139"/>
                    <a:pt x="15" y="139"/>
                    <a:pt x="15" y="139"/>
                  </a:cubicBezTo>
                  <a:close/>
                  <a:moveTo>
                    <a:pt x="18" y="139"/>
                  </a:moveTo>
                  <a:cubicBezTo>
                    <a:pt x="18" y="138"/>
                    <a:pt x="19" y="138"/>
                    <a:pt x="19" y="138"/>
                  </a:cubicBezTo>
                  <a:cubicBezTo>
                    <a:pt x="19" y="139"/>
                    <a:pt x="19" y="139"/>
                    <a:pt x="18" y="139"/>
                  </a:cubicBezTo>
                  <a:close/>
                  <a:moveTo>
                    <a:pt x="16" y="139"/>
                  </a:moveTo>
                  <a:cubicBezTo>
                    <a:pt x="16" y="138"/>
                    <a:pt x="18" y="138"/>
                    <a:pt x="18" y="138"/>
                  </a:cubicBezTo>
                  <a:cubicBezTo>
                    <a:pt x="18" y="139"/>
                    <a:pt x="16" y="139"/>
                    <a:pt x="16" y="139"/>
                  </a:cubicBezTo>
                  <a:close/>
                  <a:moveTo>
                    <a:pt x="4" y="141"/>
                  </a:moveTo>
                  <a:cubicBezTo>
                    <a:pt x="4" y="141"/>
                    <a:pt x="3" y="139"/>
                    <a:pt x="4" y="139"/>
                  </a:cubicBezTo>
                  <a:cubicBezTo>
                    <a:pt x="4" y="139"/>
                    <a:pt x="6" y="141"/>
                    <a:pt x="4" y="141"/>
                  </a:cubicBezTo>
                  <a:close/>
                  <a:moveTo>
                    <a:pt x="3" y="139"/>
                  </a:moveTo>
                  <a:cubicBezTo>
                    <a:pt x="4" y="139"/>
                    <a:pt x="3" y="138"/>
                    <a:pt x="4" y="138"/>
                  </a:cubicBezTo>
                  <a:cubicBezTo>
                    <a:pt x="4" y="138"/>
                    <a:pt x="4" y="139"/>
                    <a:pt x="6" y="138"/>
                  </a:cubicBezTo>
                  <a:cubicBezTo>
                    <a:pt x="6" y="136"/>
                    <a:pt x="6" y="136"/>
                    <a:pt x="3" y="136"/>
                  </a:cubicBezTo>
                  <a:cubicBezTo>
                    <a:pt x="0" y="134"/>
                    <a:pt x="3" y="136"/>
                    <a:pt x="3" y="138"/>
                  </a:cubicBezTo>
                  <a:cubicBezTo>
                    <a:pt x="1" y="139"/>
                    <a:pt x="1" y="136"/>
                    <a:pt x="1" y="136"/>
                  </a:cubicBezTo>
                  <a:cubicBezTo>
                    <a:pt x="1" y="138"/>
                    <a:pt x="0" y="138"/>
                    <a:pt x="0" y="138"/>
                  </a:cubicBezTo>
                  <a:cubicBezTo>
                    <a:pt x="0" y="139"/>
                    <a:pt x="0" y="138"/>
                    <a:pt x="0" y="138"/>
                  </a:cubicBezTo>
                  <a:cubicBezTo>
                    <a:pt x="1" y="139"/>
                    <a:pt x="1" y="139"/>
                    <a:pt x="1" y="139"/>
                  </a:cubicBezTo>
                  <a:cubicBezTo>
                    <a:pt x="3" y="139"/>
                    <a:pt x="3" y="141"/>
                    <a:pt x="3" y="139"/>
                  </a:cubicBezTo>
                  <a:close/>
                  <a:moveTo>
                    <a:pt x="44" y="74"/>
                  </a:moveTo>
                  <a:cubicBezTo>
                    <a:pt x="45" y="72"/>
                    <a:pt x="44" y="72"/>
                    <a:pt x="41" y="72"/>
                  </a:cubicBezTo>
                  <a:cubicBezTo>
                    <a:pt x="39" y="72"/>
                    <a:pt x="39" y="74"/>
                    <a:pt x="41" y="74"/>
                  </a:cubicBezTo>
                  <a:cubicBezTo>
                    <a:pt x="42" y="74"/>
                    <a:pt x="42" y="74"/>
                    <a:pt x="44" y="74"/>
                  </a:cubicBezTo>
                  <a:close/>
                  <a:moveTo>
                    <a:pt x="15" y="97"/>
                  </a:moveTo>
                  <a:cubicBezTo>
                    <a:pt x="13" y="97"/>
                    <a:pt x="13" y="97"/>
                    <a:pt x="13" y="97"/>
                  </a:cubicBezTo>
                  <a:cubicBezTo>
                    <a:pt x="13" y="97"/>
                    <a:pt x="12" y="97"/>
                    <a:pt x="13" y="99"/>
                  </a:cubicBezTo>
                  <a:cubicBezTo>
                    <a:pt x="13" y="99"/>
                    <a:pt x="15" y="99"/>
                    <a:pt x="15" y="97"/>
                  </a:cubicBezTo>
                  <a:close/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79" name="Freeform 200">
              <a:extLst>
                <a:ext uri="{FF2B5EF4-FFF2-40B4-BE49-F238E27FC236}">
                  <a16:creationId xmlns:a16="http://schemas.microsoft.com/office/drawing/2014/main" id="{50B91077-6F5E-71DC-F83A-FE98A06595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548263" y="1783117"/>
              <a:ext cx="660387" cy="1034748"/>
            </a:xfrm>
            <a:custGeom>
              <a:avLst/>
              <a:gdLst/>
              <a:ahLst/>
              <a:cxnLst>
                <a:cxn ang="0">
                  <a:pos x="58" y="30"/>
                </a:cxn>
                <a:cxn ang="0">
                  <a:pos x="93" y="31"/>
                </a:cxn>
                <a:cxn ang="0">
                  <a:pos x="111" y="45"/>
                </a:cxn>
                <a:cxn ang="0">
                  <a:pos x="56" y="40"/>
                </a:cxn>
                <a:cxn ang="0">
                  <a:pos x="149" y="42"/>
                </a:cxn>
                <a:cxn ang="0">
                  <a:pos x="172" y="9"/>
                </a:cxn>
                <a:cxn ang="0">
                  <a:pos x="108" y="13"/>
                </a:cxn>
                <a:cxn ang="0">
                  <a:pos x="201" y="172"/>
                </a:cxn>
                <a:cxn ang="0">
                  <a:pos x="198" y="159"/>
                </a:cxn>
                <a:cxn ang="0">
                  <a:pos x="184" y="152"/>
                </a:cxn>
                <a:cxn ang="0">
                  <a:pos x="167" y="162"/>
                </a:cxn>
                <a:cxn ang="0">
                  <a:pos x="160" y="154"/>
                </a:cxn>
                <a:cxn ang="0">
                  <a:pos x="146" y="166"/>
                </a:cxn>
                <a:cxn ang="0">
                  <a:pos x="135" y="169"/>
                </a:cxn>
                <a:cxn ang="0">
                  <a:pos x="120" y="172"/>
                </a:cxn>
                <a:cxn ang="0">
                  <a:pos x="106" y="180"/>
                </a:cxn>
                <a:cxn ang="0">
                  <a:pos x="91" y="194"/>
                </a:cxn>
                <a:cxn ang="0">
                  <a:pos x="80" y="200"/>
                </a:cxn>
                <a:cxn ang="0">
                  <a:pos x="87" y="210"/>
                </a:cxn>
                <a:cxn ang="0">
                  <a:pos x="67" y="219"/>
                </a:cxn>
                <a:cxn ang="0">
                  <a:pos x="64" y="233"/>
                </a:cxn>
                <a:cxn ang="0">
                  <a:pos x="56" y="245"/>
                </a:cxn>
                <a:cxn ang="0">
                  <a:pos x="50" y="256"/>
                </a:cxn>
                <a:cxn ang="0">
                  <a:pos x="38" y="258"/>
                </a:cxn>
                <a:cxn ang="0">
                  <a:pos x="15" y="272"/>
                </a:cxn>
                <a:cxn ang="0">
                  <a:pos x="4" y="283"/>
                </a:cxn>
                <a:cxn ang="0">
                  <a:pos x="6" y="292"/>
                </a:cxn>
                <a:cxn ang="0">
                  <a:pos x="12" y="303"/>
                </a:cxn>
                <a:cxn ang="0">
                  <a:pos x="7" y="320"/>
                </a:cxn>
                <a:cxn ang="0">
                  <a:pos x="36" y="323"/>
                </a:cxn>
                <a:cxn ang="0">
                  <a:pos x="50" y="317"/>
                </a:cxn>
                <a:cxn ang="0">
                  <a:pos x="62" y="286"/>
                </a:cxn>
                <a:cxn ang="0">
                  <a:pos x="79" y="233"/>
                </a:cxn>
                <a:cxn ang="0">
                  <a:pos x="106" y="190"/>
                </a:cxn>
                <a:cxn ang="0">
                  <a:pos x="154" y="185"/>
                </a:cxn>
                <a:cxn ang="0">
                  <a:pos x="193" y="182"/>
                </a:cxn>
                <a:cxn ang="0">
                  <a:pos x="149" y="163"/>
                </a:cxn>
                <a:cxn ang="0">
                  <a:pos x="143" y="159"/>
                </a:cxn>
                <a:cxn ang="0">
                  <a:pos x="120" y="165"/>
                </a:cxn>
                <a:cxn ang="0">
                  <a:pos x="129" y="168"/>
                </a:cxn>
                <a:cxn ang="0">
                  <a:pos x="116" y="168"/>
                </a:cxn>
                <a:cxn ang="0">
                  <a:pos x="112" y="168"/>
                </a:cxn>
                <a:cxn ang="0">
                  <a:pos x="112" y="174"/>
                </a:cxn>
                <a:cxn ang="0">
                  <a:pos x="99" y="177"/>
                </a:cxn>
                <a:cxn ang="0">
                  <a:pos x="102" y="183"/>
                </a:cxn>
                <a:cxn ang="0">
                  <a:pos x="82" y="191"/>
                </a:cxn>
                <a:cxn ang="0">
                  <a:pos x="82" y="185"/>
                </a:cxn>
                <a:cxn ang="0">
                  <a:pos x="88" y="183"/>
                </a:cxn>
                <a:cxn ang="0">
                  <a:pos x="90" y="188"/>
                </a:cxn>
                <a:cxn ang="0">
                  <a:pos x="93" y="190"/>
                </a:cxn>
                <a:cxn ang="0">
                  <a:pos x="74" y="193"/>
                </a:cxn>
                <a:cxn ang="0">
                  <a:pos x="70" y="196"/>
                </a:cxn>
                <a:cxn ang="0">
                  <a:pos x="87" y="197"/>
                </a:cxn>
                <a:cxn ang="0">
                  <a:pos x="62" y="227"/>
                </a:cxn>
                <a:cxn ang="0">
                  <a:pos x="59" y="230"/>
                </a:cxn>
                <a:cxn ang="0">
                  <a:pos x="53" y="245"/>
                </a:cxn>
                <a:cxn ang="0">
                  <a:pos x="50" y="244"/>
                </a:cxn>
                <a:cxn ang="0">
                  <a:pos x="29" y="258"/>
                </a:cxn>
                <a:cxn ang="0">
                  <a:pos x="29" y="264"/>
                </a:cxn>
                <a:cxn ang="0">
                  <a:pos x="10" y="273"/>
                </a:cxn>
                <a:cxn ang="0">
                  <a:pos x="1" y="292"/>
                </a:cxn>
                <a:cxn ang="0">
                  <a:pos x="4" y="317"/>
                </a:cxn>
                <a:cxn ang="0">
                  <a:pos x="3" y="300"/>
                </a:cxn>
              </a:cxnLst>
              <a:rect l="0" t="0" r="r" b="b"/>
              <a:pathLst>
                <a:path w="212" h="332">
                  <a:moveTo>
                    <a:pt x="94" y="68"/>
                  </a:moveTo>
                  <a:cubicBezTo>
                    <a:pt x="84" y="65"/>
                    <a:pt x="88" y="62"/>
                    <a:pt x="80" y="59"/>
                  </a:cubicBezTo>
                  <a:cubicBezTo>
                    <a:pt x="71" y="56"/>
                    <a:pt x="73" y="54"/>
                    <a:pt x="80" y="53"/>
                  </a:cubicBezTo>
                  <a:cubicBezTo>
                    <a:pt x="90" y="51"/>
                    <a:pt x="99" y="47"/>
                    <a:pt x="84" y="48"/>
                  </a:cubicBezTo>
                  <a:cubicBezTo>
                    <a:pt x="68" y="50"/>
                    <a:pt x="67" y="48"/>
                    <a:pt x="80" y="44"/>
                  </a:cubicBezTo>
                  <a:cubicBezTo>
                    <a:pt x="93" y="40"/>
                    <a:pt x="102" y="37"/>
                    <a:pt x="91" y="37"/>
                  </a:cubicBezTo>
                  <a:cubicBezTo>
                    <a:pt x="80" y="37"/>
                    <a:pt x="90" y="33"/>
                    <a:pt x="80" y="37"/>
                  </a:cubicBezTo>
                  <a:cubicBezTo>
                    <a:pt x="73" y="42"/>
                    <a:pt x="70" y="47"/>
                    <a:pt x="62" y="39"/>
                  </a:cubicBezTo>
                  <a:cubicBezTo>
                    <a:pt x="55" y="30"/>
                    <a:pt x="52" y="31"/>
                    <a:pt x="58" y="30"/>
                  </a:cubicBezTo>
                  <a:cubicBezTo>
                    <a:pt x="62" y="30"/>
                    <a:pt x="56" y="30"/>
                    <a:pt x="58" y="27"/>
                  </a:cubicBezTo>
                  <a:cubicBezTo>
                    <a:pt x="59" y="22"/>
                    <a:pt x="55" y="31"/>
                    <a:pt x="52" y="27"/>
                  </a:cubicBezTo>
                  <a:cubicBezTo>
                    <a:pt x="49" y="22"/>
                    <a:pt x="45" y="22"/>
                    <a:pt x="52" y="17"/>
                  </a:cubicBezTo>
                  <a:cubicBezTo>
                    <a:pt x="59" y="13"/>
                    <a:pt x="56" y="19"/>
                    <a:pt x="61" y="17"/>
                  </a:cubicBezTo>
                  <a:cubicBezTo>
                    <a:pt x="64" y="14"/>
                    <a:pt x="62" y="19"/>
                    <a:pt x="68" y="16"/>
                  </a:cubicBezTo>
                  <a:cubicBezTo>
                    <a:pt x="76" y="14"/>
                    <a:pt x="76" y="17"/>
                    <a:pt x="70" y="19"/>
                  </a:cubicBezTo>
                  <a:cubicBezTo>
                    <a:pt x="64" y="20"/>
                    <a:pt x="71" y="19"/>
                    <a:pt x="73" y="25"/>
                  </a:cubicBezTo>
                  <a:cubicBezTo>
                    <a:pt x="76" y="30"/>
                    <a:pt x="73" y="19"/>
                    <a:pt x="77" y="17"/>
                  </a:cubicBezTo>
                  <a:cubicBezTo>
                    <a:pt x="84" y="16"/>
                    <a:pt x="90" y="31"/>
                    <a:pt x="93" y="31"/>
                  </a:cubicBezTo>
                  <a:cubicBezTo>
                    <a:pt x="97" y="31"/>
                    <a:pt x="84" y="17"/>
                    <a:pt x="90" y="14"/>
                  </a:cubicBezTo>
                  <a:cubicBezTo>
                    <a:pt x="94" y="9"/>
                    <a:pt x="93" y="14"/>
                    <a:pt x="99" y="14"/>
                  </a:cubicBezTo>
                  <a:cubicBezTo>
                    <a:pt x="103" y="14"/>
                    <a:pt x="103" y="16"/>
                    <a:pt x="106" y="17"/>
                  </a:cubicBezTo>
                  <a:cubicBezTo>
                    <a:pt x="108" y="17"/>
                    <a:pt x="103" y="19"/>
                    <a:pt x="105" y="23"/>
                  </a:cubicBezTo>
                  <a:cubicBezTo>
                    <a:pt x="106" y="27"/>
                    <a:pt x="105" y="17"/>
                    <a:pt x="111" y="20"/>
                  </a:cubicBezTo>
                  <a:cubicBezTo>
                    <a:pt x="116" y="23"/>
                    <a:pt x="109" y="28"/>
                    <a:pt x="117" y="27"/>
                  </a:cubicBezTo>
                  <a:cubicBezTo>
                    <a:pt x="123" y="27"/>
                    <a:pt x="119" y="28"/>
                    <a:pt x="128" y="31"/>
                  </a:cubicBezTo>
                  <a:cubicBezTo>
                    <a:pt x="137" y="33"/>
                    <a:pt x="137" y="34"/>
                    <a:pt x="123" y="36"/>
                  </a:cubicBezTo>
                  <a:cubicBezTo>
                    <a:pt x="109" y="36"/>
                    <a:pt x="120" y="44"/>
                    <a:pt x="111" y="45"/>
                  </a:cubicBezTo>
                  <a:cubicBezTo>
                    <a:pt x="103" y="48"/>
                    <a:pt x="116" y="51"/>
                    <a:pt x="106" y="54"/>
                  </a:cubicBezTo>
                  <a:cubicBezTo>
                    <a:pt x="96" y="58"/>
                    <a:pt x="105" y="72"/>
                    <a:pt x="94" y="68"/>
                  </a:cubicBezTo>
                  <a:close/>
                  <a:moveTo>
                    <a:pt x="131" y="42"/>
                  </a:moveTo>
                  <a:cubicBezTo>
                    <a:pt x="135" y="40"/>
                    <a:pt x="140" y="42"/>
                    <a:pt x="140" y="39"/>
                  </a:cubicBezTo>
                  <a:cubicBezTo>
                    <a:pt x="138" y="36"/>
                    <a:pt x="134" y="36"/>
                    <a:pt x="129" y="37"/>
                  </a:cubicBezTo>
                  <a:cubicBezTo>
                    <a:pt x="125" y="39"/>
                    <a:pt x="122" y="37"/>
                    <a:pt x="126" y="40"/>
                  </a:cubicBezTo>
                  <a:cubicBezTo>
                    <a:pt x="129" y="42"/>
                    <a:pt x="126" y="44"/>
                    <a:pt x="131" y="42"/>
                  </a:cubicBezTo>
                  <a:close/>
                  <a:moveTo>
                    <a:pt x="50" y="37"/>
                  </a:moveTo>
                  <a:cubicBezTo>
                    <a:pt x="52" y="42"/>
                    <a:pt x="50" y="36"/>
                    <a:pt x="56" y="40"/>
                  </a:cubicBezTo>
                  <a:cubicBezTo>
                    <a:pt x="64" y="45"/>
                    <a:pt x="58" y="37"/>
                    <a:pt x="55" y="37"/>
                  </a:cubicBezTo>
                  <a:cubicBezTo>
                    <a:pt x="52" y="37"/>
                    <a:pt x="52" y="30"/>
                    <a:pt x="47" y="31"/>
                  </a:cubicBezTo>
                  <a:cubicBezTo>
                    <a:pt x="45" y="31"/>
                    <a:pt x="47" y="33"/>
                    <a:pt x="50" y="37"/>
                  </a:cubicBezTo>
                  <a:close/>
                  <a:moveTo>
                    <a:pt x="131" y="51"/>
                  </a:moveTo>
                  <a:cubicBezTo>
                    <a:pt x="126" y="56"/>
                    <a:pt x="131" y="54"/>
                    <a:pt x="138" y="54"/>
                  </a:cubicBezTo>
                  <a:cubicBezTo>
                    <a:pt x="146" y="53"/>
                    <a:pt x="135" y="61"/>
                    <a:pt x="146" y="56"/>
                  </a:cubicBezTo>
                  <a:cubicBezTo>
                    <a:pt x="152" y="54"/>
                    <a:pt x="163" y="50"/>
                    <a:pt x="158" y="48"/>
                  </a:cubicBezTo>
                  <a:cubicBezTo>
                    <a:pt x="155" y="47"/>
                    <a:pt x="155" y="50"/>
                    <a:pt x="149" y="47"/>
                  </a:cubicBezTo>
                  <a:cubicBezTo>
                    <a:pt x="143" y="44"/>
                    <a:pt x="154" y="44"/>
                    <a:pt x="149" y="42"/>
                  </a:cubicBezTo>
                  <a:cubicBezTo>
                    <a:pt x="144" y="40"/>
                    <a:pt x="122" y="42"/>
                    <a:pt x="134" y="47"/>
                  </a:cubicBezTo>
                  <a:cubicBezTo>
                    <a:pt x="135" y="48"/>
                    <a:pt x="135" y="48"/>
                    <a:pt x="131" y="51"/>
                  </a:cubicBezTo>
                  <a:close/>
                  <a:moveTo>
                    <a:pt x="131" y="16"/>
                  </a:moveTo>
                  <a:cubicBezTo>
                    <a:pt x="140" y="16"/>
                    <a:pt x="135" y="17"/>
                    <a:pt x="123" y="19"/>
                  </a:cubicBezTo>
                  <a:cubicBezTo>
                    <a:pt x="111" y="22"/>
                    <a:pt x="129" y="23"/>
                    <a:pt x="138" y="23"/>
                  </a:cubicBezTo>
                  <a:cubicBezTo>
                    <a:pt x="146" y="23"/>
                    <a:pt x="151" y="31"/>
                    <a:pt x="157" y="25"/>
                  </a:cubicBezTo>
                  <a:cubicBezTo>
                    <a:pt x="163" y="20"/>
                    <a:pt x="161" y="25"/>
                    <a:pt x="167" y="23"/>
                  </a:cubicBezTo>
                  <a:cubicBezTo>
                    <a:pt x="173" y="22"/>
                    <a:pt x="164" y="20"/>
                    <a:pt x="177" y="16"/>
                  </a:cubicBezTo>
                  <a:cubicBezTo>
                    <a:pt x="184" y="14"/>
                    <a:pt x="177" y="9"/>
                    <a:pt x="172" y="9"/>
                  </a:cubicBezTo>
                  <a:cubicBezTo>
                    <a:pt x="169" y="11"/>
                    <a:pt x="164" y="8"/>
                    <a:pt x="157" y="6"/>
                  </a:cubicBezTo>
                  <a:cubicBezTo>
                    <a:pt x="149" y="6"/>
                    <a:pt x="154" y="11"/>
                    <a:pt x="149" y="9"/>
                  </a:cubicBezTo>
                  <a:cubicBezTo>
                    <a:pt x="144" y="9"/>
                    <a:pt x="151" y="6"/>
                    <a:pt x="148" y="5"/>
                  </a:cubicBezTo>
                  <a:cubicBezTo>
                    <a:pt x="146" y="3"/>
                    <a:pt x="141" y="3"/>
                    <a:pt x="141" y="9"/>
                  </a:cubicBezTo>
                  <a:cubicBezTo>
                    <a:pt x="141" y="14"/>
                    <a:pt x="140" y="14"/>
                    <a:pt x="137" y="9"/>
                  </a:cubicBezTo>
                  <a:cubicBezTo>
                    <a:pt x="134" y="5"/>
                    <a:pt x="135" y="11"/>
                    <a:pt x="123" y="6"/>
                  </a:cubicBezTo>
                  <a:cubicBezTo>
                    <a:pt x="111" y="0"/>
                    <a:pt x="126" y="13"/>
                    <a:pt x="117" y="8"/>
                  </a:cubicBezTo>
                  <a:cubicBezTo>
                    <a:pt x="106" y="3"/>
                    <a:pt x="120" y="13"/>
                    <a:pt x="112" y="9"/>
                  </a:cubicBezTo>
                  <a:cubicBezTo>
                    <a:pt x="105" y="8"/>
                    <a:pt x="103" y="11"/>
                    <a:pt x="108" y="13"/>
                  </a:cubicBezTo>
                  <a:cubicBezTo>
                    <a:pt x="112" y="16"/>
                    <a:pt x="105" y="13"/>
                    <a:pt x="112" y="17"/>
                  </a:cubicBezTo>
                  <a:cubicBezTo>
                    <a:pt x="117" y="20"/>
                    <a:pt x="120" y="16"/>
                    <a:pt x="131" y="16"/>
                  </a:cubicBezTo>
                  <a:close/>
                  <a:moveTo>
                    <a:pt x="196" y="179"/>
                  </a:moveTo>
                  <a:cubicBezTo>
                    <a:pt x="196" y="177"/>
                    <a:pt x="201" y="177"/>
                    <a:pt x="202" y="176"/>
                  </a:cubicBezTo>
                  <a:cubicBezTo>
                    <a:pt x="204" y="174"/>
                    <a:pt x="202" y="174"/>
                    <a:pt x="205" y="174"/>
                  </a:cubicBezTo>
                  <a:cubicBezTo>
                    <a:pt x="207" y="176"/>
                    <a:pt x="210" y="176"/>
                    <a:pt x="209" y="172"/>
                  </a:cubicBezTo>
                  <a:cubicBezTo>
                    <a:pt x="209" y="172"/>
                    <a:pt x="209" y="172"/>
                    <a:pt x="209" y="171"/>
                  </a:cubicBezTo>
                  <a:cubicBezTo>
                    <a:pt x="205" y="171"/>
                    <a:pt x="205" y="172"/>
                    <a:pt x="204" y="171"/>
                  </a:cubicBezTo>
                  <a:cubicBezTo>
                    <a:pt x="202" y="169"/>
                    <a:pt x="202" y="172"/>
                    <a:pt x="201" y="172"/>
                  </a:cubicBezTo>
                  <a:cubicBezTo>
                    <a:pt x="199" y="172"/>
                    <a:pt x="198" y="172"/>
                    <a:pt x="199" y="172"/>
                  </a:cubicBezTo>
                  <a:cubicBezTo>
                    <a:pt x="199" y="171"/>
                    <a:pt x="201" y="169"/>
                    <a:pt x="196" y="168"/>
                  </a:cubicBezTo>
                  <a:cubicBezTo>
                    <a:pt x="193" y="168"/>
                    <a:pt x="193" y="166"/>
                    <a:pt x="192" y="166"/>
                  </a:cubicBezTo>
                  <a:cubicBezTo>
                    <a:pt x="189" y="166"/>
                    <a:pt x="190" y="165"/>
                    <a:pt x="198" y="168"/>
                  </a:cubicBezTo>
                  <a:cubicBezTo>
                    <a:pt x="204" y="169"/>
                    <a:pt x="204" y="165"/>
                    <a:pt x="207" y="165"/>
                  </a:cubicBezTo>
                  <a:cubicBezTo>
                    <a:pt x="210" y="165"/>
                    <a:pt x="212" y="162"/>
                    <a:pt x="209" y="162"/>
                  </a:cubicBezTo>
                  <a:cubicBezTo>
                    <a:pt x="205" y="162"/>
                    <a:pt x="207" y="160"/>
                    <a:pt x="205" y="160"/>
                  </a:cubicBezTo>
                  <a:cubicBezTo>
                    <a:pt x="202" y="160"/>
                    <a:pt x="204" y="157"/>
                    <a:pt x="201" y="159"/>
                  </a:cubicBezTo>
                  <a:cubicBezTo>
                    <a:pt x="199" y="160"/>
                    <a:pt x="201" y="157"/>
                    <a:pt x="198" y="159"/>
                  </a:cubicBezTo>
                  <a:cubicBezTo>
                    <a:pt x="195" y="159"/>
                    <a:pt x="198" y="157"/>
                    <a:pt x="195" y="155"/>
                  </a:cubicBezTo>
                  <a:cubicBezTo>
                    <a:pt x="190" y="155"/>
                    <a:pt x="189" y="159"/>
                    <a:pt x="189" y="162"/>
                  </a:cubicBezTo>
                  <a:cubicBezTo>
                    <a:pt x="190" y="163"/>
                    <a:pt x="189" y="160"/>
                    <a:pt x="187" y="162"/>
                  </a:cubicBezTo>
                  <a:cubicBezTo>
                    <a:pt x="186" y="162"/>
                    <a:pt x="184" y="162"/>
                    <a:pt x="186" y="160"/>
                  </a:cubicBezTo>
                  <a:cubicBezTo>
                    <a:pt x="189" y="159"/>
                    <a:pt x="189" y="157"/>
                    <a:pt x="187" y="159"/>
                  </a:cubicBezTo>
                  <a:cubicBezTo>
                    <a:pt x="186" y="159"/>
                    <a:pt x="186" y="159"/>
                    <a:pt x="186" y="157"/>
                  </a:cubicBezTo>
                  <a:cubicBezTo>
                    <a:pt x="187" y="157"/>
                    <a:pt x="190" y="155"/>
                    <a:pt x="190" y="154"/>
                  </a:cubicBezTo>
                  <a:cubicBezTo>
                    <a:pt x="190" y="152"/>
                    <a:pt x="187" y="155"/>
                    <a:pt x="187" y="154"/>
                  </a:cubicBezTo>
                  <a:cubicBezTo>
                    <a:pt x="187" y="152"/>
                    <a:pt x="186" y="154"/>
                    <a:pt x="184" y="152"/>
                  </a:cubicBezTo>
                  <a:cubicBezTo>
                    <a:pt x="181" y="151"/>
                    <a:pt x="183" y="154"/>
                    <a:pt x="181" y="154"/>
                  </a:cubicBezTo>
                  <a:cubicBezTo>
                    <a:pt x="180" y="152"/>
                    <a:pt x="178" y="155"/>
                    <a:pt x="180" y="155"/>
                  </a:cubicBezTo>
                  <a:cubicBezTo>
                    <a:pt x="183" y="155"/>
                    <a:pt x="180" y="157"/>
                    <a:pt x="180" y="157"/>
                  </a:cubicBezTo>
                  <a:cubicBezTo>
                    <a:pt x="181" y="157"/>
                    <a:pt x="178" y="157"/>
                    <a:pt x="178" y="159"/>
                  </a:cubicBezTo>
                  <a:cubicBezTo>
                    <a:pt x="178" y="160"/>
                    <a:pt x="177" y="159"/>
                    <a:pt x="178" y="160"/>
                  </a:cubicBezTo>
                  <a:cubicBezTo>
                    <a:pt x="178" y="162"/>
                    <a:pt x="178" y="162"/>
                    <a:pt x="175" y="163"/>
                  </a:cubicBezTo>
                  <a:cubicBezTo>
                    <a:pt x="172" y="165"/>
                    <a:pt x="175" y="160"/>
                    <a:pt x="175" y="159"/>
                  </a:cubicBezTo>
                  <a:cubicBezTo>
                    <a:pt x="175" y="159"/>
                    <a:pt x="177" y="155"/>
                    <a:pt x="175" y="155"/>
                  </a:cubicBezTo>
                  <a:cubicBezTo>
                    <a:pt x="173" y="154"/>
                    <a:pt x="169" y="159"/>
                    <a:pt x="167" y="162"/>
                  </a:cubicBezTo>
                  <a:cubicBezTo>
                    <a:pt x="164" y="165"/>
                    <a:pt x="167" y="163"/>
                    <a:pt x="164" y="166"/>
                  </a:cubicBezTo>
                  <a:cubicBezTo>
                    <a:pt x="163" y="168"/>
                    <a:pt x="163" y="166"/>
                    <a:pt x="163" y="166"/>
                  </a:cubicBezTo>
                  <a:cubicBezTo>
                    <a:pt x="161" y="168"/>
                    <a:pt x="160" y="166"/>
                    <a:pt x="161" y="165"/>
                  </a:cubicBezTo>
                  <a:cubicBezTo>
                    <a:pt x="164" y="163"/>
                    <a:pt x="163" y="163"/>
                    <a:pt x="163" y="163"/>
                  </a:cubicBezTo>
                  <a:cubicBezTo>
                    <a:pt x="166" y="160"/>
                    <a:pt x="161" y="162"/>
                    <a:pt x="166" y="159"/>
                  </a:cubicBezTo>
                  <a:cubicBezTo>
                    <a:pt x="169" y="155"/>
                    <a:pt x="170" y="155"/>
                    <a:pt x="167" y="155"/>
                  </a:cubicBezTo>
                  <a:cubicBezTo>
                    <a:pt x="164" y="155"/>
                    <a:pt x="164" y="152"/>
                    <a:pt x="164" y="155"/>
                  </a:cubicBezTo>
                  <a:cubicBezTo>
                    <a:pt x="164" y="159"/>
                    <a:pt x="164" y="155"/>
                    <a:pt x="163" y="155"/>
                  </a:cubicBezTo>
                  <a:cubicBezTo>
                    <a:pt x="161" y="154"/>
                    <a:pt x="161" y="155"/>
                    <a:pt x="160" y="154"/>
                  </a:cubicBezTo>
                  <a:cubicBezTo>
                    <a:pt x="160" y="154"/>
                    <a:pt x="158" y="154"/>
                    <a:pt x="158" y="155"/>
                  </a:cubicBezTo>
                  <a:cubicBezTo>
                    <a:pt x="160" y="155"/>
                    <a:pt x="160" y="157"/>
                    <a:pt x="158" y="157"/>
                  </a:cubicBezTo>
                  <a:cubicBezTo>
                    <a:pt x="155" y="155"/>
                    <a:pt x="155" y="157"/>
                    <a:pt x="158" y="157"/>
                  </a:cubicBezTo>
                  <a:cubicBezTo>
                    <a:pt x="161" y="159"/>
                    <a:pt x="161" y="160"/>
                    <a:pt x="158" y="159"/>
                  </a:cubicBezTo>
                  <a:cubicBezTo>
                    <a:pt x="155" y="157"/>
                    <a:pt x="158" y="159"/>
                    <a:pt x="154" y="162"/>
                  </a:cubicBezTo>
                  <a:cubicBezTo>
                    <a:pt x="148" y="163"/>
                    <a:pt x="152" y="163"/>
                    <a:pt x="149" y="165"/>
                  </a:cubicBezTo>
                  <a:cubicBezTo>
                    <a:pt x="146" y="166"/>
                    <a:pt x="151" y="166"/>
                    <a:pt x="148" y="166"/>
                  </a:cubicBezTo>
                  <a:cubicBezTo>
                    <a:pt x="146" y="168"/>
                    <a:pt x="151" y="168"/>
                    <a:pt x="149" y="169"/>
                  </a:cubicBezTo>
                  <a:cubicBezTo>
                    <a:pt x="149" y="169"/>
                    <a:pt x="144" y="169"/>
                    <a:pt x="146" y="166"/>
                  </a:cubicBezTo>
                  <a:cubicBezTo>
                    <a:pt x="148" y="165"/>
                    <a:pt x="143" y="165"/>
                    <a:pt x="141" y="165"/>
                  </a:cubicBezTo>
                  <a:cubicBezTo>
                    <a:pt x="140" y="165"/>
                    <a:pt x="140" y="163"/>
                    <a:pt x="140" y="165"/>
                  </a:cubicBezTo>
                  <a:cubicBezTo>
                    <a:pt x="138" y="165"/>
                    <a:pt x="137" y="162"/>
                    <a:pt x="137" y="165"/>
                  </a:cubicBezTo>
                  <a:cubicBezTo>
                    <a:pt x="137" y="168"/>
                    <a:pt x="135" y="163"/>
                    <a:pt x="134" y="165"/>
                  </a:cubicBezTo>
                  <a:cubicBezTo>
                    <a:pt x="131" y="166"/>
                    <a:pt x="134" y="166"/>
                    <a:pt x="134" y="166"/>
                  </a:cubicBezTo>
                  <a:cubicBezTo>
                    <a:pt x="134" y="168"/>
                    <a:pt x="135" y="166"/>
                    <a:pt x="137" y="168"/>
                  </a:cubicBezTo>
                  <a:cubicBezTo>
                    <a:pt x="137" y="168"/>
                    <a:pt x="138" y="168"/>
                    <a:pt x="138" y="169"/>
                  </a:cubicBezTo>
                  <a:cubicBezTo>
                    <a:pt x="137" y="169"/>
                    <a:pt x="137" y="169"/>
                    <a:pt x="138" y="171"/>
                  </a:cubicBezTo>
                  <a:cubicBezTo>
                    <a:pt x="140" y="172"/>
                    <a:pt x="138" y="172"/>
                    <a:pt x="135" y="169"/>
                  </a:cubicBezTo>
                  <a:cubicBezTo>
                    <a:pt x="132" y="168"/>
                    <a:pt x="131" y="168"/>
                    <a:pt x="132" y="169"/>
                  </a:cubicBezTo>
                  <a:cubicBezTo>
                    <a:pt x="132" y="169"/>
                    <a:pt x="131" y="171"/>
                    <a:pt x="131" y="169"/>
                  </a:cubicBezTo>
                  <a:cubicBezTo>
                    <a:pt x="131" y="168"/>
                    <a:pt x="128" y="171"/>
                    <a:pt x="126" y="171"/>
                  </a:cubicBezTo>
                  <a:cubicBezTo>
                    <a:pt x="126" y="172"/>
                    <a:pt x="128" y="176"/>
                    <a:pt x="122" y="179"/>
                  </a:cubicBezTo>
                  <a:cubicBezTo>
                    <a:pt x="125" y="176"/>
                    <a:pt x="125" y="172"/>
                    <a:pt x="125" y="169"/>
                  </a:cubicBezTo>
                  <a:cubicBezTo>
                    <a:pt x="125" y="168"/>
                    <a:pt x="125" y="171"/>
                    <a:pt x="123" y="169"/>
                  </a:cubicBezTo>
                  <a:cubicBezTo>
                    <a:pt x="123" y="169"/>
                    <a:pt x="123" y="169"/>
                    <a:pt x="122" y="171"/>
                  </a:cubicBezTo>
                  <a:cubicBezTo>
                    <a:pt x="120" y="174"/>
                    <a:pt x="122" y="172"/>
                    <a:pt x="120" y="174"/>
                  </a:cubicBezTo>
                  <a:cubicBezTo>
                    <a:pt x="119" y="176"/>
                    <a:pt x="119" y="174"/>
                    <a:pt x="120" y="172"/>
                  </a:cubicBezTo>
                  <a:cubicBezTo>
                    <a:pt x="122" y="169"/>
                    <a:pt x="117" y="171"/>
                    <a:pt x="116" y="172"/>
                  </a:cubicBezTo>
                  <a:cubicBezTo>
                    <a:pt x="111" y="176"/>
                    <a:pt x="114" y="174"/>
                    <a:pt x="114" y="176"/>
                  </a:cubicBezTo>
                  <a:cubicBezTo>
                    <a:pt x="114" y="177"/>
                    <a:pt x="119" y="176"/>
                    <a:pt x="119" y="180"/>
                  </a:cubicBezTo>
                  <a:cubicBezTo>
                    <a:pt x="114" y="179"/>
                    <a:pt x="119" y="179"/>
                    <a:pt x="116" y="177"/>
                  </a:cubicBezTo>
                  <a:cubicBezTo>
                    <a:pt x="112" y="177"/>
                    <a:pt x="114" y="174"/>
                    <a:pt x="111" y="176"/>
                  </a:cubicBezTo>
                  <a:cubicBezTo>
                    <a:pt x="108" y="176"/>
                    <a:pt x="109" y="176"/>
                    <a:pt x="111" y="177"/>
                  </a:cubicBezTo>
                  <a:cubicBezTo>
                    <a:pt x="112" y="179"/>
                    <a:pt x="111" y="180"/>
                    <a:pt x="109" y="177"/>
                  </a:cubicBezTo>
                  <a:cubicBezTo>
                    <a:pt x="109" y="176"/>
                    <a:pt x="106" y="174"/>
                    <a:pt x="108" y="177"/>
                  </a:cubicBezTo>
                  <a:cubicBezTo>
                    <a:pt x="108" y="179"/>
                    <a:pt x="105" y="177"/>
                    <a:pt x="106" y="180"/>
                  </a:cubicBezTo>
                  <a:cubicBezTo>
                    <a:pt x="108" y="182"/>
                    <a:pt x="105" y="180"/>
                    <a:pt x="103" y="183"/>
                  </a:cubicBezTo>
                  <a:cubicBezTo>
                    <a:pt x="100" y="185"/>
                    <a:pt x="106" y="183"/>
                    <a:pt x="103" y="185"/>
                  </a:cubicBezTo>
                  <a:cubicBezTo>
                    <a:pt x="100" y="186"/>
                    <a:pt x="102" y="186"/>
                    <a:pt x="100" y="186"/>
                  </a:cubicBezTo>
                  <a:cubicBezTo>
                    <a:pt x="97" y="188"/>
                    <a:pt x="97" y="186"/>
                    <a:pt x="94" y="190"/>
                  </a:cubicBezTo>
                  <a:cubicBezTo>
                    <a:pt x="93" y="193"/>
                    <a:pt x="99" y="190"/>
                    <a:pt x="99" y="190"/>
                  </a:cubicBezTo>
                  <a:cubicBezTo>
                    <a:pt x="99" y="191"/>
                    <a:pt x="99" y="191"/>
                    <a:pt x="102" y="190"/>
                  </a:cubicBezTo>
                  <a:cubicBezTo>
                    <a:pt x="105" y="188"/>
                    <a:pt x="102" y="191"/>
                    <a:pt x="99" y="193"/>
                  </a:cubicBezTo>
                  <a:cubicBezTo>
                    <a:pt x="96" y="193"/>
                    <a:pt x="97" y="191"/>
                    <a:pt x="94" y="191"/>
                  </a:cubicBezTo>
                  <a:cubicBezTo>
                    <a:pt x="91" y="193"/>
                    <a:pt x="90" y="193"/>
                    <a:pt x="91" y="194"/>
                  </a:cubicBezTo>
                  <a:cubicBezTo>
                    <a:pt x="93" y="194"/>
                    <a:pt x="91" y="194"/>
                    <a:pt x="93" y="194"/>
                  </a:cubicBezTo>
                  <a:cubicBezTo>
                    <a:pt x="96" y="194"/>
                    <a:pt x="93" y="196"/>
                    <a:pt x="93" y="197"/>
                  </a:cubicBezTo>
                  <a:cubicBezTo>
                    <a:pt x="93" y="200"/>
                    <a:pt x="91" y="197"/>
                    <a:pt x="91" y="196"/>
                  </a:cubicBezTo>
                  <a:cubicBezTo>
                    <a:pt x="91" y="194"/>
                    <a:pt x="90" y="193"/>
                    <a:pt x="90" y="194"/>
                  </a:cubicBezTo>
                  <a:cubicBezTo>
                    <a:pt x="88" y="196"/>
                    <a:pt x="88" y="196"/>
                    <a:pt x="88" y="196"/>
                  </a:cubicBezTo>
                  <a:cubicBezTo>
                    <a:pt x="88" y="194"/>
                    <a:pt x="85" y="196"/>
                    <a:pt x="85" y="197"/>
                  </a:cubicBezTo>
                  <a:cubicBezTo>
                    <a:pt x="85" y="197"/>
                    <a:pt x="85" y="196"/>
                    <a:pt x="88" y="197"/>
                  </a:cubicBezTo>
                  <a:cubicBezTo>
                    <a:pt x="90" y="197"/>
                    <a:pt x="90" y="197"/>
                    <a:pt x="90" y="197"/>
                  </a:cubicBezTo>
                  <a:cubicBezTo>
                    <a:pt x="88" y="197"/>
                    <a:pt x="79" y="199"/>
                    <a:pt x="80" y="200"/>
                  </a:cubicBezTo>
                  <a:cubicBezTo>
                    <a:pt x="82" y="202"/>
                    <a:pt x="79" y="202"/>
                    <a:pt x="80" y="202"/>
                  </a:cubicBezTo>
                  <a:cubicBezTo>
                    <a:pt x="84" y="203"/>
                    <a:pt x="84" y="199"/>
                    <a:pt x="88" y="200"/>
                  </a:cubicBezTo>
                  <a:cubicBezTo>
                    <a:pt x="91" y="202"/>
                    <a:pt x="88" y="200"/>
                    <a:pt x="85" y="202"/>
                  </a:cubicBezTo>
                  <a:cubicBezTo>
                    <a:pt x="82" y="202"/>
                    <a:pt x="87" y="203"/>
                    <a:pt x="82" y="203"/>
                  </a:cubicBezTo>
                  <a:cubicBezTo>
                    <a:pt x="77" y="203"/>
                    <a:pt x="82" y="205"/>
                    <a:pt x="82" y="207"/>
                  </a:cubicBezTo>
                  <a:cubicBezTo>
                    <a:pt x="80" y="207"/>
                    <a:pt x="80" y="205"/>
                    <a:pt x="79" y="207"/>
                  </a:cubicBezTo>
                  <a:cubicBezTo>
                    <a:pt x="77" y="207"/>
                    <a:pt x="77" y="208"/>
                    <a:pt x="79" y="208"/>
                  </a:cubicBezTo>
                  <a:cubicBezTo>
                    <a:pt x="79" y="208"/>
                    <a:pt x="80" y="207"/>
                    <a:pt x="84" y="208"/>
                  </a:cubicBezTo>
                  <a:cubicBezTo>
                    <a:pt x="90" y="208"/>
                    <a:pt x="85" y="207"/>
                    <a:pt x="87" y="210"/>
                  </a:cubicBezTo>
                  <a:cubicBezTo>
                    <a:pt x="87" y="211"/>
                    <a:pt x="85" y="208"/>
                    <a:pt x="82" y="208"/>
                  </a:cubicBezTo>
                  <a:cubicBezTo>
                    <a:pt x="80" y="208"/>
                    <a:pt x="79" y="210"/>
                    <a:pt x="77" y="210"/>
                  </a:cubicBezTo>
                  <a:cubicBezTo>
                    <a:pt x="76" y="208"/>
                    <a:pt x="77" y="210"/>
                    <a:pt x="74" y="210"/>
                  </a:cubicBezTo>
                  <a:cubicBezTo>
                    <a:pt x="73" y="210"/>
                    <a:pt x="76" y="211"/>
                    <a:pt x="73" y="211"/>
                  </a:cubicBezTo>
                  <a:cubicBezTo>
                    <a:pt x="68" y="211"/>
                    <a:pt x="73" y="213"/>
                    <a:pt x="71" y="214"/>
                  </a:cubicBezTo>
                  <a:cubicBezTo>
                    <a:pt x="70" y="216"/>
                    <a:pt x="70" y="214"/>
                    <a:pt x="68" y="216"/>
                  </a:cubicBezTo>
                  <a:cubicBezTo>
                    <a:pt x="67" y="217"/>
                    <a:pt x="70" y="216"/>
                    <a:pt x="68" y="217"/>
                  </a:cubicBezTo>
                  <a:cubicBezTo>
                    <a:pt x="67" y="217"/>
                    <a:pt x="68" y="219"/>
                    <a:pt x="68" y="217"/>
                  </a:cubicBezTo>
                  <a:cubicBezTo>
                    <a:pt x="67" y="217"/>
                    <a:pt x="65" y="217"/>
                    <a:pt x="67" y="219"/>
                  </a:cubicBezTo>
                  <a:cubicBezTo>
                    <a:pt x="68" y="219"/>
                    <a:pt x="65" y="221"/>
                    <a:pt x="68" y="221"/>
                  </a:cubicBezTo>
                  <a:cubicBezTo>
                    <a:pt x="71" y="221"/>
                    <a:pt x="65" y="222"/>
                    <a:pt x="67" y="222"/>
                  </a:cubicBezTo>
                  <a:cubicBezTo>
                    <a:pt x="67" y="222"/>
                    <a:pt x="73" y="221"/>
                    <a:pt x="74" y="221"/>
                  </a:cubicBezTo>
                  <a:cubicBezTo>
                    <a:pt x="77" y="221"/>
                    <a:pt x="74" y="222"/>
                    <a:pt x="71" y="222"/>
                  </a:cubicBezTo>
                  <a:cubicBezTo>
                    <a:pt x="68" y="224"/>
                    <a:pt x="67" y="222"/>
                    <a:pt x="65" y="224"/>
                  </a:cubicBezTo>
                  <a:cubicBezTo>
                    <a:pt x="62" y="225"/>
                    <a:pt x="67" y="224"/>
                    <a:pt x="67" y="225"/>
                  </a:cubicBezTo>
                  <a:cubicBezTo>
                    <a:pt x="67" y="227"/>
                    <a:pt x="64" y="225"/>
                    <a:pt x="64" y="228"/>
                  </a:cubicBezTo>
                  <a:cubicBezTo>
                    <a:pt x="62" y="230"/>
                    <a:pt x="61" y="228"/>
                    <a:pt x="61" y="230"/>
                  </a:cubicBezTo>
                  <a:cubicBezTo>
                    <a:pt x="62" y="233"/>
                    <a:pt x="62" y="231"/>
                    <a:pt x="64" y="233"/>
                  </a:cubicBezTo>
                  <a:cubicBezTo>
                    <a:pt x="64" y="235"/>
                    <a:pt x="61" y="235"/>
                    <a:pt x="61" y="236"/>
                  </a:cubicBezTo>
                  <a:cubicBezTo>
                    <a:pt x="62" y="236"/>
                    <a:pt x="62" y="238"/>
                    <a:pt x="59" y="238"/>
                  </a:cubicBezTo>
                  <a:cubicBezTo>
                    <a:pt x="58" y="238"/>
                    <a:pt x="58" y="239"/>
                    <a:pt x="56" y="239"/>
                  </a:cubicBezTo>
                  <a:cubicBezTo>
                    <a:pt x="55" y="239"/>
                    <a:pt x="55" y="241"/>
                    <a:pt x="53" y="241"/>
                  </a:cubicBezTo>
                  <a:cubicBezTo>
                    <a:pt x="52" y="241"/>
                    <a:pt x="50" y="241"/>
                    <a:pt x="50" y="241"/>
                  </a:cubicBezTo>
                  <a:cubicBezTo>
                    <a:pt x="50" y="242"/>
                    <a:pt x="50" y="241"/>
                    <a:pt x="53" y="241"/>
                  </a:cubicBezTo>
                  <a:cubicBezTo>
                    <a:pt x="55" y="242"/>
                    <a:pt x="52" y="244"/>
                    <a:pt x="55" y="242"/>
                  </a:cubicBezTo>
                  <a:cubicBezTo>
                    <a:pt x="56" y="241"/>
                    <a:pt x="56" y="242"/>
                    <a:pt x="55" y="242"/>
                  </a:cubicBezTo>
                  <a:cubicBezTo>
                    <a:pt x="53" y="244"/>
                    <a:pt x="56" y="244"/>
                    <a:pt x="56" y="245"/>
                  </a:cubicBezTo>
                  <a:cubicBezTo>
                    <a:pt x="55" y="247"/>
                    <a:pt x="55" y="247"/>
                    <a:pt x="53" y="247"/>
                  </a:cubicBezTo>
                  <a:cubicBezTo>
                    <a:pt x="52" y="247"/>
                    <a:pt x="52" y="244"/>
                    <a:pt x="50" y="244"/>
                  </a:cubicBezTo>
                  <a:cubicBezTo>
                    <a:pt x="49" y="245"/>
                    <a:pt x="50" y="245"/>
                    <a:pt x="50" y="245"/>
                  </a:cubicBezTo>
                  <a:cubicBezTo>
                    <a:pt x="47" y="245"/>
                    <a:pt x="47" y="247"/>
                    <a:pt x="47" y="249"/>
                  </a:cubicBezTo>
                  <a:cubicBezTo>
                    <a:pt x="47" y="250"/>
                    <a:pt x="44" y="249"/>
                    <a:pt x="44" y="250"/>
                  </a:cubicBezTo>
                  <a:cubicBezTo>
                    <a:pt x="42" y="255"/>
                    <a:pt x="39" y="253"/>
                    <a:pt x="39" y="256"/>
                  </a:cubicBezTo>
                  <a:cubicBezTo>
                    <a:pt x="38" y="258"/>
                    <a:pt x="41" y="256"/>
                    <a:pt x="41" y="256"/>
                  </a:cubicBezTo>
                  <a:cubicBezTo>
                    <a:pt x="41" y="258"/>
                    <a:pt x="42" y="258"/>
                    <a:pt x="42" y="258"/>
                  </a:cubicBezTo>
                  <a:cubicBezTo>
                    <a:pt x="42" y="259"/>
                    <a:pt x="45" y="259"/>
                    <a:pt x="50" y="256"/>
                  </a:cubicBezTo>
                  <a:cubicBezTo>
                    <a:pt x="55" y="253"/>
                    <a:pt x="47" y="255"/>
                    <a:pt x="50" y="253"/>
                  </a:cubicBezTo>
                  <a:cubicBezTo>
                    <a:pt x="53" y="252"/>
                    <a:pt x="52" y="252"/>
                    <a:pt x="53" y="252"/>
                  </a:cubicBezTo>
                  <a:cubicBezTo>
                    <a:pt x="56" y="253"/>
                    <a:pt x="49" y="253"/>
                    <a:pt x="53" y="255"/>
                  </a:cubicBezTo>
                  <a:cubicBezTo>
                    <a:pt x="56" y="255"/>
                    <a:pt x="53" y="256"/>
                    <a:pt x="50" y="258"/>
                  </a:cubicBezTo>
                  <a:cubicBezTo>
                    <a:pt x="47" y="259"/>
                    <a:pt x="50" y="258"/>
                    <a:pt x="49" y="259"/>
                  </a:cubicBezTo>
                  <a:cubicBezTo>
                    <a:pt x="49" y="259"/>
                    <a:pt x="52" y="259"/>
                    <a:pt x="50" y="261"/>
                  </a:cubicBezTo>
                  <a:cubicBezTo>
                    <a:pt x="49" y="261"/>
                    <a:pt x="45" y="259"/>
                    <a:pt x="42" y="261"/>
                  </a:cubicBezTo>
                  <a:cubicBezTo>
                    <a:pt x="41" y="262"/>
                    <a:pt x="42" y="261"/>
                    <a:pt x="41" y="259"/>
                  </a:cubicBezTo>
                  <a:cubicBezTo>
                    <a:pt x="39" y="256"/>
                    <a:pt x="39" y="258"/>
                    <a:pt x="38" y="258"/>
                  </a:cubicBezTo>
                  <a:cubicBezTo>
                    <a:pt x="35" y="259"/>
                    <a:pt x="36" y="261"/>
                    <a:pt x="36" y="259"/>
                  </a:cubicBezTo>
                  <a:cubicBezTo>
                    <a:pt x="35" y="259"/>
                    <a:pt x="33" y="261"/>
                    <a:pt x="30" y="261"/>
                  </a:cubicBezTo>
                  <a:cubicBezTo>
                    <a:pt x="27" y="262"/>
                    <a:pt x="35" y="264"/>
                    <a:pt x="30" y="264"/>
                  </a:cubicBezTo>
                  <a:cubicBezTo>
                    <a:pt x="26" y="264"/>
                    <a:pt x="32" y="266"/>
                    <a:pt x="27" y="266"/>
                  </a:cubicBezTo>
                  <a:cubicBezTo>
                    <a:pt x="23" y="264"/>
                    <a:pt x="29" y="266"/>
                    <a:pt x="26" y="267"/>
                  </a:cubicBezTo>
                  <a:cubicBezTo>
                    <a:pt x="23" y="267"/>
                    <a:pt x="20" y="266"/>
                    <a:pt x="18" y="267"/>
                  </a:cubicBezTo>
                  <a:cubicBezTo>
                    <a:pt x="18" y="267"/>
                    <a:pt x="18" y="270"/>
                    <a:pt x="21" y="269"/>
                  </a:cubicBezTo>
                  <a:cubicBezTo>
                    <a:pt x="26" y="269"/>
                    <a:pt x="21" y="269"/>
                    <a:pt x="23" y="272"/>
                  </a:cubicBezTo>
                  <a:cubicBezTo>
                    <a:pt x="24" y="273"/>
                    <a:pt x="21" y="270"/>
                    <a:pt x="15" y="272"/>
                  </a:cubicBezTo>
                  <a:cubicBezTo>
                    <a:pt x="10" y="273"/>
                    <a:pt x="18" y="272"/>
                    <a:pt x="18" y="273"/>
                  </a:cubicBezTo>
                  <a:cubicBezTo>
                    <a:pt x="20" y="276"/>
                    <a:pt x="18" y="272"/>
                    <a:pt x="13" y="275"/>
                  </a:cubicBezTo>
                  <a:cubicBezTo>
                    <a:pt x="9" y="276"/>
                    <a:pt x="12" y="278"/>
                    <a:pt x="10" y="276"/>
                  </a:cubicBezTo>
                  <a:cubicBezTo>
                    <a:pt x="7" y="276"/>
                    <a:pt x="10" y="278"/>
                    <a:pt x="7" y="278"/>
                  </a:cubicBezTo>
                  <a:cubicBezTo>
                    <a:pt x="4" y="276"/>
                    <a:pt x="3" y="276"/>
                    <a:pt x="4" y="278"/>
                  </a:cubicBezTo>
                  <a:cubicBezTo>
                    <a:pt x="6" y="280"/>
                    <a:pt x="1" y="278"/>
                    <a:pt x="3" y="280"/>
                  </a:cubicBezTo>
                  <a:cubicBezTo>
                    <a:pt x="4" y="281"/>
                    <a:pt x="9" y="280"/>
                    <a:pt x="13" y="281"/>
                  </a:cubicBezTo>
                  <a:cubicBezTo>
                    <a:pt x="17" y="283"/>
                    <a:pt x="12" y="281"/>
                    <a:pt x="10" y="283"/>
                  </a:cubicBezTo>
                  <a:cubicBezTo>
                    <a:pt x="10" y="283"/>
                    <a:pt x="9" y="280"/>
                    <a:pt x="4" y="283"/>
                  </a:cubicBezTo>
                  <a:cubicBezTo>
                    <a:pt x="0" y="284"/>
                    <a:pt x="7" y="286"/>
                    <a:pt x="4" y="287"/>
                  </a:cubicBezTo>
                  <a:cubicBezTo>
                    <a:pt x="0" y="287"/>
                    <a:pt x="4" y="287"/>
                    <a:pt x="3" y="289"/>
                  </a:cubicBezTo>
                  <a:cubicBezTo>
                    <a:pt x="3" y="290"/>
                    <a:pt x="4" y="292"/>
                    <a:pt x="7" y="290"/>
                  </a:cubicBezTo>
                  <a:cubicBezTo>
                    <a:pt x="10" y="289"/>
                    <a:pt x="13" y="292"/>
                    <a:pt x="15" y="290"/>
                  </a:cubicBezTo>
                  <a:cubicBezTo>
                    <a:pt x="15" y="287"/>
                    <a:pt x="17" y="290"/>
                    <a:pt x="20" y="290"/>
                  </a:cubicBezTo>
                  <a:cubicBezTo>
                    <a:pt x="23" y="289"/>
                    <a:pt x="24" y="290"/>
                    <a:pt x="21" y="290"/>
                  </a:cubicBezTo>
                  <a:cubicBezTo>
                    <a:pt x="17" y="292"/>
                    <a:pt x="23" y="295"/>
                    <a:pt x="18" y="292"/>
                  </a:cubicBezTo>
                  <a:cubicBezTo>
                    <a:pt x="15" y="289"/>
                    <a:pt x="15" y="294"/>
                    <a:pt x="13" y="292"/>
                  </a:cubicBezTo>
                  <a:cubicBezTo>
                    <a:pt x="10" y="290"/>
                    <a:pt x="7" y="294"/>
                    <a:pt x="6" y="292"/>
                  </a:cubicBezTo>
                  <a:cubicBezTo>
                    <a:pt x="3" y="292"/>
                    <a:pt x="3" y="292"/>
                    <a:pt x="3" y="294"/>
                  </a:cubicBezTo>
                  <a:cubicBezTo>
                    <a:pt x="3" y="297"/>
                    <a:pt x="6" y="294"/>
                    <a:pt x="6" y="297"/>
                  </a:cubicBezTo>
                  <a:cubicBezTo>
                    <a:pt x="6" y="298"/>
                    <a:pt x="3" y="294"/>
                    <a:pt x="3" y="297"/>
                  </a:cubicBezTo>
                  <a:cubicBezTo>
                    <a:pt x="4" y="300"/>
                    <a:pt x="6" y="297"/>
                    <a:pt x="6" y="298"/>
                  </a:cubicBezTo>
                  <a:cubicBezTo>
                    <a:pt x="6" y="301"/>
                    <a:pt x="3" y="301"/>
                    <a:pt x="3" y="301"/>
                  </a:cubicBezTo>
                  <a:cubicBezTo>
                    <a:pt x="6" y="303"/>
                    <a:pt x="6" y="304"/>
                    <a:pt x="7" y="303"/>
                  </a:cubicBezTo>
                  <a:cubicBezTo>
                    <a:pt x="7" y="301"/>
                    <a:pt x="7" y="304"/>
                    <a:pt x="9" y="304"/>
                  </a:cubicBezTo>
                  <a:cubicBezTo>
                    <a:pt x="9" y="303"/>
                    <a:pt x="7" y="306"/>
                    <a:pt x="9" y="306"/>
                  </a:cubicBezTo>
                  <a:cubicBezTo>
                    <a:pt x="10" y="306"/>
                    <a:pt x="9" y="303"/>
                    <a:pt x="12" y="303"/>
                  </a:cubicBezTo>
                  <a:cubicBezTo>
                    <a:pt x="13" y="301"/>
                    <a:pt x="10" y="306"/>
                    <a:pt x="9" y="308"/>
                  </a:cubicBezTo>
                  <a:cubicBezTo>
                    <a:pt x="6" y="308"/>
                    <a:pt x="10" y="308"/>
                    <a:pt x="9" y="309"/>
                  </a:cubicBezTo>
                  <a:cubicBezTo>
                    <a:pt x="7" y="311"/>
                    <a:pt x="9" y="308"/>
                    <a:pt x="6" y="311"/>
                  </a:cubicBezTo>
                  <a:cubicBezTo>
                    <a:pt x="3" y="314"/>
                    <a:pt x="6" y="317"/>
                    <a:pt x="7" y="315"/>
                  </a:cubicBezTo>
                  <a:cubicBezTo>
                    <a:pt x="7" y="314"/>
                    <a:pt x="9" y="315"/>
                    <a:pt x="9" y="314"/>
                  </a:cubicBezTo>
                  <a:cubicBezTo>
                    <a:pt x="10" y="312"/>
                    <a:pt x="12" y="314"/>
                    <a:pt x="10" y="315"/>
                  </a:cubicBezTo>
                  <a:cubicBezTo>
                    <a:pt x="9" y="315"/>
                    <a:pt x="12" y="315"/>
                    <a:pt x="10" y="317"/>
                  </a:cubicBezTo>
                  <a:cubicBezTo>
                    <a:pt x="9" y="318"/>
                    <a:pt x="12" y="318"/>
                    <a:pt x="10" y="320"/>
                  </a:cubicBezTo>
                  <a:cubicBezTo>
                    <a:pt x="7" y="320"/>
                    <a:pt x="7" y="317"/>
                    <a:pt x="7" y="320"/>
                  </a:cubicBezTo>
                  <a:cubicBezTo>
                    <a:pt x="6" y="323"/>
                    <a:pt x="6" y="323"/>
                    <a:pt x="7" y="323"/>
                  </a:cubicBezTo>
                  <a:cubicBezTo>
                    <a:pt x="9" y="326"/>
                    <a:pt x="10" y="325"/>
                    <a:pt x="10" y="326"/>
                  </a:cubicBezTo>
                  <a:cubicBezTo>
                    <a:pt x="12" y="328"/>
                    <a:pt x="13" y="328"/>
                    <a:pt x="15" y="329"/>
                  </a:cubicBezTo>
                  <a:cubicBezTo>
                    <a:pt x="17" y="329"/>
                    <a:pt x="15" y="329"/>
                    <a:pt x="17" y="331"/>
                  </a:cubicBezTo>
                  <a:cubicBezTo>
                    <a:pt x="17" y="332"/>
                    <a:pt x="17" y="329"/>
                    <a:pt x="18" y="331"/>
                  </a:cubicBezTo>
                  <a:cubicBezTo>
                    <a:pt x="20" y="331"/>
                    <a:pt x="18" y="332"/>
                    <a:pt x="20" y="331"/>
                  </a:cubicBezTo>
                  <a:cubicBezTo>
                    <a:pt x="23" y="331"/>
                    <a:pt x="27" y="331"/>
                    <a:pt x="29" y="329"/>
                  </a:cubicBezTo>
                  <a:cubicBezTo>
                    <a:pt x="30" y="329"/>
                    <a:pt x="32" y="328"/>
                    <a:pt x="33" y="325"/>
                  </a:cubicBezTo>
                  <a:cubicBezTo>
                    <a:pt x="35" y="323"/>
                    <a:pt x="36" y="325"/>
                    <a:pt x="36" y="323"/>
                  </a:cubicBezTo>
                  <a:cubicBezTo>
                    <a:pt x="36" y="321"/>
                    <a:pt x="39" y="323"/>
                    <a:pt x="38" y="321"/>
                  </a:cubicBezTo>
                  <a:cubicBezTo>
                    <a:pt x="36" y="320"/>
                    <a:pt x="41" y="321"/>
                    <a:pt x="39" y="318"/>
                  </a:cubicBezTo>
                  <a:cubicBezTo>
                    <a:pt x="39" y="317"/>
                    <a:pt x="41" y="320"/>
                    <a:pt x="42" y="318"/>
                  </a:cubicBezTo>
                  <a:cubicBezTo>
                    <a:pt x="44" y="318"/>
                    <a:pt x="45" y="320"/>
                    <a:pt x="45" y="317"/>
                  </a:cubicBezTo>
                  <a:cubicBezTo>
                    <a:pt x="45" y="314"/>
                    <a:pt x="49" y="315"/>
                    <a:pt x="45" y="314"/>
                  </a:cubicBezTo>
                  <a:cubicBezTo>
                    <a:pt x="45" y="312"/>
                    <a:pt x="44" y="311"/>
                    <a:pt x="47" y="312"/>
                  </a:cubicBezTo>
                  <a:cubicBezTo>
                    <a:pt x="49" y="314"/>
                    <a:pt x="47" y="309"/>
                    <a:pt x="49" y="311"/>
                  </a:cubicBezTo>
                  <a:cubicBezTo>
                    <a:pt x="49" y="314"/>
                    <a:pt x="47" y="312"/>
                    <a:pt x="49" y="314"/>
                  </a:cubicBezTo>
                  <a:cubicBezTo>
                    <a:pt x="49" y="315"/>
                    <a:pt x="47" y="317"/>
                    <a:pt x="50" y="317"/>
                  </a:cubicBezTo>
                  <a:cubicBezTo>
                    <a:pt x="52" y="317"/>
                    <a:pt x="50" y="317"/>
                    <a:pt x="53" y="317"/>
                  </a:cubicBezTo>
                  <a:cubicBezTo>
                    <a:pt x="53" y="317"/>
                    <a:pt x="53" y="318"/>
                    <a:pt x="55" y="320"/>
                  </a:cubicBezTo>
                  <a:cubicBezTo>
                    <a:pt x="55" y="321"/>
                    <a:pt x="58" y="318"/>
                    <a:pt x="56" y="314"/>
                  </a:cubicBezTo>
                  <a:cubicBezTo>
                    <a:pt x="55" y="311"/>
                    <a:pt x="58" y="311"/>
                    <a:pt x="58" y="309"/>
                  </a:cubicBezTo>
                  <a:cubicBezTo>
                    <a:pt x="56" y="306"/>
                    <a:pt x="59" y="309"/>
                    <a:pt x="61" y="306"/>
                  </a:cubicBezTo>
                  <a:cubicBezTo>
                    <a:pt x="64" y="303"/>
                    <a:pt x="61" y="303"/>
                    <a:pt x="62" y="301"/>
                  </a:cubicBezTo>
                  <a:cubicBezTo>
                    <a:pt x="65" y="300"/>
                    <a:pt x="59" y="294"/>
                    <a:pt x="61" y="292"/>
                  </a:cubicBezTo>
                  <a:cubicBezTo>
                    <a:pt x="61" y="290"/>
                    <a:pt x="64" y="294"/>
                    <a:pt x="64" y="290"/>
                  </a:cubicBezTo>
                  <a:cubicBezTo>
                    <a:pt x="65" y="289"/>
                    <a:pt x="67" y="287"/>
                    <a:pt x="62" y="286"/>
                  </a:cubicBezTo>
                  <a:cubicBezTo>
                    <a:pt x="56" y="283"/>
                    <a:pt x="62" y="278"/>
                    <a:pt x="61" y="273"/>
                  </a:cubicBezTo>
                  <a:cubicBezTo>
                    <a:pt x="58" y="270"/>
                    <a:pt x="61" y="270"/>
                    <a:pt x="59" y="269"/>
                  </a:cubicBezTo>
                  <a:cubicBezTo>
                    <a:pt x="58" y="267"/>
                    <a:pt x="61" y="267"/>
                    <a:pt x="59" y="264"/>
                  </a:cubicBezTo>
                  <a:cubicBezTo>
                    <a:pt x="56" y="261"/>
                    <a:pt x="61" y="261"/>
                    <a:pt x="59" y="259"/>
                  </a:cubicBezTo>
                  <a:cubicBezTo>
                    <a:pt x="59" y="256"/>
                    <a:pt x="65" y="253"/>
                    <a:pt x="67" y="252"/>
                  </a:cubicBezTo>
                  <a:cubicBezTo>
                    <a:pt x="70" y="250"/>
                    <a:pt x="74" y="255"/>
                    <a:pt x="76" y="249"/>
                  </a:cubicBezTo>
                  <a:cubicBezTo>
                    <a:pt x="77" y="245"/>
                    <a:pt x="74" y="247"/>
                    <a:pt x="73" y="245"/>
                  </a:cubicBezTo>
                  <a:cubicBezTo>
                    <a:pt x="70" y="244"/>
                    <a:pt x="77" y="239"/>
                    <a:pt x="77" y="238"/>
                  </a:cubicBezTo>
                  <a:cubicBezTo>
                    <a:pt x="77" y="235"/>
                    <a:pt x="79" y="236"/>
                    <a:pt x="79" y="233"/>
                  </a:cubicBezTo>
                  <a:cubicBezTo>
                    <a:pt x="77" y="228"/>
                    <a:pt x="80" y="230"/>
                    <a:pt x="77" y="224"/>
                  </a:cubicBezTo>
                  <a:cubicBezTo>
                    <a:pt x="77" y="222"/>
                    <a:pt x="88" y="224"/>
                    <a:pt x="85" y="221"/>
                  </a:cubicBezTo>
                  <a:cubicBezTo>
                    <a:pt x="84" y="217"/>
                    <a:pt x="87" y="219"/>
                    <a:pt x="88" y="214"/>
                  </a:cubicBezTo>
                  <a:cubicBezTo>
                    <a:pt x="91" y="211"/>
                    <a:pt x="93" y="213"/>
                    <a:pt x="93" y="210"/>
                  </a:cubicBezTo>
                  <a:cubicBezTo>
                    <a:pt x="94" y="208"/>
                    <a:pt x="91" y="207"/>
                    <a:pt x="91" y="205"/>
                  </a:cubicBezTo>
                  <a:cubicBezTo>
                    <a:pt x="91" y="203"/>
                    <a:pt x="93" y="205"/>
                    <a:pt x="96" y="200"/>
                  </a:cubicBezTo>
                  <a:cubicBezTo>
                    <a:pt x="96" y="197"/>
                    <a:pt x="99" y="197"/>
                    <a:pt x="100" y="196"/>
                  </a:cubicBezTo>
                  <a:cubicBezTo>
                    <a:pt x="102" y="196"/>
                    <a:pt x="103" y="199"/>
                    <a:pt x="106" y="197"/>
                  </a:cubicBezTo>
                  <a:cubicBezTo>
                    <a:pt x="109" y="196"/>
                    <a:pt x="105" y="191"/>
                    <a:pt x="106" y="190"/>
                  </a:cubicBezTo>
                  <a:cubicBezTo>
                    <a:pt x="111" y="186"/>
                    <a:pt x="119" y="194"/>
                    <a:pt x="123" y="191"/>
                  </a:cubicBezTo>
                  <a:cubicBezTo>
                    <a:pt x="126" y="190"/>
                    <a:pt x="119" y="191"/>
                    <a:pt x="123" y="188"/>
                  </a:cubicBezTo>
                  <a:cubicBezTo>
                    <a:pt x="128" y="183"/>
                    <a:pt x="119" y="182"/>
                    <a:pt x="128" y="182"/>
                  </a:cubicBezTo>
                  <a:cubicBezTo>
                    <a:pt x="128" y="180"/>
                    <a:pt x="131" y="183"/>
                    <a:pt x="131" y="182"/>
                  </a:cubicBezTo>
                  <a:cubicBezTo>
                    <a:pt x="131" y="182"/>
                    <a:pt x="129" y="180"/>
                    <a:pt x="131" y="179"/>
                  </a:cubicBezTo>
                  <a:cubicBezTo>
                    <a:pt x="134" y="177"/>
                    <a:pt x="137" y="180"/>
                    <a:pt x="140" y="183"/>
                  </a:cubicBezTo>
                  <a:cubicBezTo>
                    <a:pt x="143" y="186"/>
                    <a:pt x="138" y="186"/>
                    <a:pt x="143" y="186"/>
                  </a:cubicBezTo>
                  <a:cubicBezTo>
                    <a:pt x="149" y="186"/>
                    <a:pt x="146" y="188"/>
                    <a:pt x="149" y="188"/>
                  </a:cubicBezTo>
                  <a:cubicBezTo>
                    <a:pt x="154" y="186"/>
                    <a:pt x="152" y="185"/>
                    <a:pt x="154" y="185"/>
                  </a:cubicBezTo>
                  <a:cubicBezTo>
                    <a:pt x="155" y="186"/>
                    <a:pt x="158" y="186"/>
                    <a:pt x="161" y="190"/>
                  </a:cubicBezTo>
                  <a:cubicBezTo>
                    <a:pt x="161" y="188"/>
                    <a:pt x="163" y="190"/>
                    <a:pt x="163" y="186"/>
                  </a:cubicBezTo>
                  <a:cubicBezTo>
                    <a:pt x="164" y="183"/>
                    <a:pt x="170" y="185"/>
                    <a:pt x="167" y="182"/>
                  </a:cubicBezTo>
                  <a:cubicBezTo>
                    <a:pt x="166" y="179"/>
                    <a:pt x="169" y="179"/>
                    <a:pt x="169" y="176"/>
                  </a:cubicBezTo>
                  <a:cubicBezTo>
                    <a:pt x="169" y="174"/>
                    <a:pt x="170" y="171"/>
                    <a:pt x="173" y="169"/>
                  </a:cubicBezTo>
                  <a:cubicBezTo>
                    <a:pt x="177" y="168"/>
                    <a:pt x="175" y="171"/>
                    <a:pt x="181" y="168"/>
                  </a:cubicBezTo>
                  <a:cubicBezTo>
                    <a:pt x="184" y="166"/>
                    <a:pt x="184" y="166"/>
                    <a:pt x="186" y="169"/>
                  </a:cubicBezTo>
                  <a:cubicBezTo>
                    <a:pt x="187" y="171"/>
                    <a:pt x="195" y="172"/>
                    <a:pt x="196" y="176"/>
                  </a:cubicBezTo>
                  <a:cubicBezTo>
                    <a:pt x="196" y="177"/>
                    <a:pt x="189" y="180"/>
                    <a:pt x="193" y="182"/>
                  </a:cubicBezTo>
                  <a:cubicBezTo>
                    <a:pt x="195" y="183"/>
                    <a:pt x="195" y="182"/>
                    <a:pt x="196" y="179"/>
                  </a:cubicBezTo>
                  <a:close/>
                  <a:moveTo>
                    <a:pt x="154" y="157"/>
                  </a:moveTo>
                  <a:cubicBezTo>
                    <a:pt x="157" y="159"/>
                    <a:pt x="155" y="160"/>
                    <a:pt x="154" y="160"/>
                  </a:cubicBezTo>
                  <a:cubicBezTo>
                    <a:pt x="152" y="162"/>
                    <a:pt x="151" y="157"/>
                    <a:pt x="154" y="157"/>
                  </a:cubicBezTo>
                  <a:close/>
                  <a:moveTo>
                    <a:pt x="149" y="163"/>
                  </a:moveTo>
                  <a:cubicBezTo>
                    <a:pt x="151" y="162"/>
                    <a:pt x="154" y="160"/>
                    <a:pt x="151" y="159"/>
                  </a:cubicBezTo>
                  <a:cubicBezTo>
                    <a:pt x="149" y="159"/>
                    <a:pt x="151" y="160"/>
                    <a:pt x="149" y="160"/>
                  </a:cubicBezTo>
                  <a:cubicBezTo>
                    <a:pt x="146" y="162"/>
                    <a:pt x="144" y="162"/>
                    <a:pt x="148" y="163"/>
                  </a:cubicBezTo>
                  <a:cubicBezTo>
                    <a:pt x="148" y="163"/>
                    <a:pt x="149" y="165"/>
                    <a:pt x="149" y="163"/>
                  </a:cubicBezTo>
                  <a:close/>
                  <a:moveTo>
                    <a:pt x="141" y="163"/>
                  </a:moveTo>
                  <a:cubicBezTo>
                    <a:pt x="144" y="162"/>
                    <a:pt x="146" y="163"/>
                    <a:pt x="146" y="163"/>
                  </a:cubicBezTo>
                  <a:cubicBezTo>
                    <a:pt x="148" y="165"/>
                    <a:pt x="140" y="165"/>
                    <a:pt x="141" y="163"/>
                  </a:cubicBezTo>
                  <a:close/>
                  <a:moveTo>
                    <a:pt x="144" y="160"/>
                  </a:moveTo>
                  <a:cubicBezTo>
                    <a:pt x="146" y="160"/>
                    <a:pt x="146" y="160"/>
                    <a:pt x="149" y="159"/>
                  </a:cubicBezTo>
                  <a:cubicBezTo>
                    <a:pt x="152" y="155"/>
                    <a:pt x="151" y="155"/>
                    <a:pt x="148" y="155"/>
                  </a:cubicBezTo>
                  <a:cubicBezTo>
                    <a:pt x="146" y="157"/>
                    <a:pt x="149" y="157"/>
                    <a:pt x="148" y="157"/>
                  </a:cubicBezTo>
                  <a:cubicBezTo>
                    <a:pt x="146" y="159"/>
                    <a:pt x="144" y="157"/>
                    <a:pt x="144" y="159"/>
                  </a:cubicBezTo>
                  <a:cubicBezTo>
                    <a:pt x="144" y="160"/>
                    <a:pt x="144" y="157"/>
                    <a:pt x="143" y="159"/>
                  </a:cubicBezTo>
                  <a:cubicBezTo>
                    <a:pt x="140" y="159"/>
                    <a:pt x="137" y="160"/>
                    <a:pt x="140" y="160"/>
                  </a:cubicBezTo>
                  <a:cubicBezTo>
                    <a:pt x="141" y="160"/>
                    <a:pt x="138" y="162"/>
                    <a:pt x="141" y="162"/>
                  </a:cubicBezTo>
                  <a:cubicBezTo>
                    <a:pt x="143" y="160"/>
                    <a:pt x="143" y="160"/>
                    <a:pt x="144" y="160"/>
                  </a:cubicBezTo>
                  <a:close/>
                  <a:moveTo>
                    <a:pt x="128" y="168"/>
                  </a:moveTo>
                  <a:cubicBezTo>
                    <a:pt x="129" y="168"/>
                    <a:pt x="129" y="168"/>
                    <a:pt x="129" y="166"/>
                  </a:cubicBezTo>
                  <a:cubicBezTo>
                    <a:pt x="129" y="165"/>
                    <a:pt x="129" y="163"/>
                    <a:pt x="126" y="165"/>
                  </a:cubicBezTo>
                  <a:cubicBezTo>
                    <a:pt x="125" y="166"/>
                    <a:pt x="125" y="166"/>
                    <a:pt x="128" y="168"/>
                  </a:cubicBezTo>
                  <a:close/>
                  <a:moveTo>
                    <a:pt x="122" y="165"/>
                  </a:moveTo>
                  <a:cubicBezTo>
                    <a:pt x="120" y="165"/>
                    <a:pt x="120" y="163"/>
                    <a:pt x="120" y="165"/>
                  </a:cubicBezTo>
                  <a:cubicBezTo>
                    <a:pt x="119" y="166"/>
                    <a:pt x="122" y="168"/>
                    <a:pt x="123" y="166"/>
                  </a:cubicBezTo>
                  <a:cubicBezTo>
                    <a:pt x="125" y="166"/>
                    <a:pt x="123" y="166"/>
                    <a:pt x="122" y="165"/>
                  </a:cubicBezTo>
                  <a:close/>
                  <a:moveTo>
                    <a:pt x="154" y="154"/>
                  </a:moveTo>
                  <a:cubicBezTo>
                    <a:pt x="155" y="154"/>
                    <a:pt x="155" y="154"/>
                    <a:pt x="155" y="154"/>
                  </a:cubicBezTo>
                  <a:cubicBezTo>
                    <a:pt x="157" y="155"/>
                    <a:pt x="155" y="155"/>
                    <a:pt x="154" y="154"/>
                  </a:cubicBezTo>
                  <a:close/>
                  <a:moveTo>
                    <a:pt x="128" y="169"/>
                  </a:moveTo>
                  <a:cubicBezTo>
                    <a:pt x="129" y="169"/>
                    <a:pt x="128" y="171"/>
                    <a:pt x="128" y="171"/>
                  </a:cubicBezTo>
                  <a:cubicBezTo>
                    <a:pt x="126" y="171"/>
                    <a:pt x="128" y="168"/>
                    <a:pt x="128" y="169"/>
                  </a:cubicBezTo>
                  <a:close/>
                  <a:moveTo>
                    <a:pt x="129" y="168"/>
                  </a:moveTo>
                  <a:cubicBezTo>
                    <a:pt x="129" y="166"/>
                    <a:pt x="132" y="168"/>
                    <a:pt x="131" y="169"/>
                  </a:cubicBezTo>
                  <a:cubicBezTo>
                    <a:pt x="129" y="169"/>
                    <a:pt x="129" y="169"/>
                    <a:pt x="129" y="168"/>
                  </a:cubicBezTo>
                  <a:close/>
                  <a:moveTo>
                    <a:pt x="119" y="169"/>
                  </a:moveTo>
                  <a:cubicBezTo>
                    <a:pt x="120" y="168"/>
                    <a:pt x="122" y="168"/>
                    <a:pt x="122" y="168"/>
                  </a:cubicBezTo>
                  <a:cubicBezTo>
                    <a:pt x="122" y="169"/>
                    <a:pt x="119" y="171"/>
                    <a:pt x="119" y="169"/>
                  </a:cubicBezTo>
                  <a:close/>
                  <a:moveTo>
                    <a:pt x="119" y="169"/>
                  </a:moveTo>
                  <a:cubicBezTo>
                    <a:pt x="120" y="168"/>
                    <a:pt x="120" y="168"/>
                    <a:pt x="120" y="168"/>
                  </a:cubicBezTo>
                  <a:cubicBezTo>
                    <a:pt x="119" y="168"/>
                    <a:pt x="119" y="168"/>
                    <a:pt x="117" y="168"/>
                  </a:cubicBezTo>
                  <a:cubicBezTo>
                    <a:pt x="116" y="166"/>
                    <a:pt x="116" y="168"/>
                    <a:pt x="116" y="168"/>
                  </a:cubicBezTo>
                  <a:cubicBezTo>
                    <a:pt x="114" y="168"/>
                    <a:pt x="114" y="168"/>
                    <a:pt x="112" y="169"/>
                  </a:cubicBezTo>
                  <a:cubicBezTo>
                    <a:pt x="112" y="169"/>
                    <a:pt x="114" y="169"/>
                    <a:pt x="116" y="171"/>
                  </a:cubicBezTo>
                  <a:cubicBezTo>
                    <a:pt x="117" y="171"/>
                    <a:pt x="117" y="171"/>
                    <a:pt x="119" y="169"/>
                  </a:cubicBezTo>
                  <a:close/>
                  <a:moveTo>
                    <a:pt x="116" y="166"/>
                  </a:moveTo>
                  <a:cubicBezTo>
                    <a:pt x="114" y="166"/>
                    <a:pt x="116" y="165"/>
                    <a:pt x="117" y="165"/>
                  </a:cubicBezTo>
                  <a:cubicBezTo>
                    <a:pt x="117" y="165"/>
                    <a:pt x="117" y="166"/>
                    <a:pt x="116" y="166"/>
                  </a:cubicBezTo>
                  <a:close/>
                  <a:moveTo>
                    <a:pt x="114" y="166"/>
                  </a:moveTo>
                  <a:cubicBezTo>
                    <a:pt x="114" y="166"/>
                    <a:pt x="114" y="166"/>
                    <a:pt x="112" y="166"/>
                  </a:cubicBezTo>
                  <a:cubicBezTo>
                    <a:pt x="112" y="166"/>
                    <a:pt x="112" y="166"/>
                    <a:pt x="112" y="168"/>
                  </a:cubicBezTo>
                  <a:cubicBezTo>
                    <a:pt x="112" y="169"/>
                    <a:pt x="114" y="166"/>
                    <a:pt x="114" y="166"/>
                  </a:cubicBezTo>
                  <a:close/>
                  <a:moveTo>
                    <a:pt x="112" y="174"/>
                  </a:moveTo>
                  <a:cubicBezTo>
                    <a:pt x="112" y="172"/>
                    <a:pt x="117" y="172"/>
                    <a:pt x="114" y="171"/>
                  </a:cubicBezTo>
                  <a:cubicBezTo>
                    <a:pt x="111" y="169"/>
                    <a:pt x="112" y="171"/>
                    <a:pt x="112" y="171"/>
                  </a:cubicBezTo>
                  <a:cubicBezTo>
                    <a:pt x="111" y="171"/>
                    <a:pt x="111" y="172"/>
                    <a:pt x="111" y="171"/>
                  </a:cubicBezTo>
                  <a:cubicBezTo>
                    <a:pt x="109" y="171"/>
                    <a:pt x="109" y="171"/>
                    <a:pt x="109" y="172"/>
                  </a:cubicBezTo>
                  <a:cubicBezTo>
                    <a:pt x="108" y="174"/>
                    <a:pt x="108" y="172"/>
                    <a:pt x="106" y="174"/>
                  </a:cubicBezTo>
                  <a:cubicBezTo>
                    <a:pt x="106" y="174"/>
                    <a:pt x="106" y="174"/>
                    <a:pt x="111" y="174"/>
                  </a:cubicBezTo>
                  <a:cubicBezTo>
                    <a:pt x="112" y="174"/>
                    <a:pt x="112" y="174"/>
                    <a:pt x="112" y="174"/>
                  </a:cubicBezTo>
                  <a:close/>
                  <a:moveTo>
                    <a:pt x="106" y="179"/>
                  </a:moveTo>
                  <a:cubicBezTo>
                    <a:pt x="105" y="177"/>
                    <a:pt x="106" y="177"/>
                    <a:pt x="106" y="177"/>
                  </a:cubicBezTo>
                  <a:cubicBezTo>
                    <a:pt x="106" y="176"/>
                    <a:pt x="108" y="174"/>
                    <a:pt x="106" y="176"/>
                  </a:cubicBezTo>
                  <a:cubicBezTo>
                    <a:pt x="106" y="176"/>
                    <a:pt x="106" y="174"/>
                    <a:pt x="105" y="174"/>
                  </a:cubicBezTo>
                  <a:cubicBezTo>
                    <a:pt x="105" y="176"/>
                    <a:pt x="105" y="172"/>
                    <a:pt x="103" y="174"/>
                  </a:cubicBezTo>
                  <a:cubicBezTo>
                    <a:pt x="103" y="176"/>
                    <a:pt x="102" y="174"/>
                    <a:pt x="102" y="174"/>
                  </a:cubicBezTo>
                  <a:cubicBezTo>
                    <a:pt x="102" y="176"/>
                    <a:pt x="102" y="174"/>
                    <a:pt x="100" y="176"/>
                  </a:cubicBezTo>
                  <a:cubicBezTo>
                    <a:pt x="99" y="176"/>
                    <a:pt x="102" y="176"/>
                    <a:pt x="102" y="177"/>
                  </a:cubicBezTo>
                  <a:cubicBezTo>
                    <a:pt x="102" y="177"/>
                    <a:pt x="97" y="177"/>
                    <a:pt x="99" y="177"/>
                  </a:cubicBezTo>
                  <a:cubicBezTo>
                    <a:pt x="100" y="179"/>
                    <a:pt x="97" y="177"/>
                    <a:pt x="99" y="179"/>
                  </a:cubicBezTo>
                  <a:cubicBezTo>
                    <a:pt x="99" y="179"/>
                    <a:pt x="97" y="179"/>
                    <a:pt x="99" y="180"/>
                  </a:cubicBezTo>
                  <a:cubicBezTo>
                    <a:pt x="99" y="180"/>
                    <a:pt x="96" y="182"/>
                    <a:pt x="99" y="182"/>
                  </a:cubicBezTo>
                  <a:cubicBezTo>
                    <a:pt x="100" y="182"/>
                    <a:pt x="99" y="183"/>
                    <a:pt x="100" y="182"/>
                  </a:cubicBezTo>
                  <a:cubicBezTo>
                    <a:pt x="102" y="182"/>
                    <a:pt x="102" y="180"/>
                    <a:pt x="102" y="180"/>
                  </a:cubicBezTo>
                  <a:cubicBezTo>
                    <a:pt x="103" y="180"/>
                    <a:pt x="102" y="182"/>
                    <a:pt x="105" y="180"/>
                  </a:cubicBezTo>
                  <a:cubicBezTo>
                    <a:pt x="106" y="180"/>
                    <a:pt x="106" y="180"/>
                    <a:pt x="106" y="179"/>
                  </a:cubicBezTo>
                  <a:close/>
                  <a:moveTo>
                    <a:pt x="100" y="185"/>
                  </a:moveTo>
                  <a:cubicBezTo>
                    <a:pt x="99" y="183"/>
                    <a:pt x="100" y="183"/>
                    <a:pt x="102" y="183"/>
                  </a:cubicBezTo>
                  <a:cubicBezTo>
                    <a:pt x="102" y="185"/>
                    <a:pt x="100" y="185"/>
                    <a:pt x="100" y="185"/>
                  </a:cubicBezTo>
                  <a:close/>
                  <a:moveTo>
                    <a:pt x="97" y="186"/>
                  </a:moveTo>
                  <a:cubicBezTo>
                    <a:pt x="97" y="185"/>
                    <a:pt x="100" y="186"/>
                    <a:pt x="99" y="186"/>
                  </a:cubicBezTo>
                  <a:cubicBezTo>
                    <a:pt x="97" y="186"/>
                    <a:pt x="96" y="186"/>
                    <a:pt x="97" y="186"/>
                  </a:cubicBezTo>
                  <a:close/>
                  <a:moveTo>
                    <a:pt x="82" y="199"/>
                  </a:moveTo>
                  <a:cubicBezTo>
                    <a:pt x="82" y="199"/>
                    <a:pt x="82" y="197"/>
                    <a:pt x="84" y="197"/>
                  </a:cubicBezTo>
                  <a:cubicBezTo>
                    <a:pt x="84" y="197"/>
                    <a:pt x="84" y="197"/>
                    <a:pt x="82" y="199"/>
                  </a:cubicBezTo>
                  <a:close/>
                  <a:moveTo>
                    <a:pt x="82" y="193"/>
                  </a:moveTo>
                  <a:cubicBezTo>
                    <a:pt x="84" y="191"/>
                    <a:pt x="82" y="191"/>
                    <a:pt x="82" y="191"/>
                  </a:cubicBezTo>
                  <a:cubicBezTo>
                    <a:pt x="82" y="191"/>
                    <a:pt x="80" y="191"/>
                    <a:pt x="79" y="191"/>
                  </a:cubicBezTo>
                  <a:cubicBezTo>
                    <a:pt x="77" y="191"/>
                    <a:pt x="79" y="193"/>
                    <a:pt x="77" y="193"/>
                  </a:cubicBezTo>
                  <a:cubicBezTo>
                    <a:pt x="76" y="193"/>
                    <a:pt x="77" y="193"/>
                    <a:pt x="76" y="194"/>
                  </a:cubicBezTo>
                  <a:cubicBezTo>
                    <a:pt x="76" y="194"/>
                    <a:pt x="76" y="196"/>
                    <a:pt x="79" y="194"/>
                  </a:cubicBezTo>
                  <a:cubicBezTo>
                    <a:pt x="79" y="194"/>
                    <a:pt x="80" y="194"/>
                    <a:pt x="82" y="193"/>
                  </a:cubicBezTo>
                  <a:close/>
                  <a:moveTo>
                    <a:pt x="85" y="188"/>
                  </a:moveTo>
                  <a:cubicBezTo>
                    <a:pt x="87" y="188"/>
                    <a:pt x="84" y="186"/>
                    <a:pt x="85" y="186"/>
                  </a:cubicBezTo>
                  <a:cubicBezTo>
                    <a:pt x="87" y="185"/>
                    <a:pt x="84" y="182"/>
                    <a:pt x="84" y="183"/>
                  </a:cubicBezTo>
                  <a:cubicBezTo>
                    <a:pt x="82" y="183"/>
                    <a:pt x="84" y="185"/>
                    <a:pt x="82" y="185"/>
                  </a:cubicBezTo>
                  <a:cubicBezTo>
                    <a:pt x="80" y="185"/>
                    <a:pt x="82" y="186"/>
                    <a:pt x="80" y="186"/>
                  </a:cubicBezTo>
                  <a:cubicBezTo>
                    <a:pt x="79" y="186"/>
                    <a:pt x="80" y="185"/>
                    <a:pt x="79" y="185"/>
                  </a:cubicBezTo>
                  <a:cubicBezTo>
                    <a:pt x="79" y="186"/>
                    <a:pt x="77" y="185"/>
                    <a:pt x="77" y="186"/>
                  </a:cubicBezTo>
                  <a:cubicBezTo>
                    <a:pt x="77" y="186"/>
                    <a:pt x="76" y="188"/>
                    <a:pt x="77" y="188"/>
                  </a:cubicBezTo>
                  <a:cubicBezTo>
                    <a:pt x="79" y="190"/>
                    <a:pt x="79" y="188"/>
                    <a:pt x="82" y="186"/>
                  </a:cubicBezTo>
                  <a:cubicBezTo>
                    <a:pt x="85" y="186"/>
                    <a:pt x="79" y="188"/>
                    <a:pt x="80" y="190"/>
                  </a:cubicBezTo>
                  <a:cubicBezTo>
                    <a:pt x="82" y="190"/>
                    <a:pt x="84" y="188"/>
                    <a:pt x="85" y="188"/>
                  </a:cubicBezTo>
                  <a:close/>
                  <a:moveTo>
                    <a:pt x="87" y="185"/>
                  </a:moveTo>
                  <a:cubicBezTo>
                    <a:pt x="87" y="185"/>
                    <a:pt x="87" y="183"/>
                    <a:pt x="88" y="183"/>
                  </a:cubicBezTo>
                  <a:cubicBezTo>
                    <a:pt x="90" y="183"/>
                    <a:pt x="90" y="182"/>
                    <a:pt x="91" y="180"/>
                  </a:cubicBezTo>
                  <a:cubicBezTo>
                    <a:pt x="91" y="179"/>
                    <a:pt x="91" y="177"/>
                    <a:pt x="90" y="179"/>
                  </a:cubicBezTo>
                  <a:cubicBezTo>
                    <a:pt x="88" y="180"/>
                    <a:pt x="87" y="180"/>
                    <a:pt x="87" y="183"/>
                  </a:cubicBezTo>
                  <a:cubicBezTo>
                    <a:pt x="85" y="183"/>
                    <a:pt x="85" y="183"/>
                    <a:pt x="87" y="185"/>
                  </a:cubicBezTo>
                  <a:close/>
                  <a:moveTo>
                    <a:pt x="93" y="183"/>
                  </a:moveTo>
                  <a:cubicBezTo>
                    <a:pt x="96" y="183"/>
                    <a:pt x="96" y="183"/>
                    <a:pt x="96" y="183"/>
                  </a:cubicBezTo>
                  <a:cubicBezTo>
                    <a:pt x="94" y="185"/>
                    <a:pt x="93" y="183"/>
                    <a:pt x="93" y="183"/>
                  </a:cubicBezTo>
                  <a:close/>
                  <a:moveTo>
                    <a:pt x="91" y="185"/>
                  </a:moveTo>
                  <a:cubicBezTo>
                    <a:pt x="91" y="185"/>
                    <a:pt x="93" y="186"/>
                    <a:pt x="90" y="188"/>
                  </a:cubicBezTo>
                  <a:cubicBezTo>
                    <a:pt x="88" y="190"/>
                    <a:pt x="91" y="186"/>
                    <a:pt x="90" y="186"/>
                  </a:cubicBezTo>
                  <a:cubicBezTo>
                    <a:pt x="88" y="186"/>
                    <a:pt x="91" y="185"/>
                    <a:pt x="90" y="183"/>
                  </a:cubicBezTo>
                  <a:cubicBezTo>
                    <a:pt x="88" y="183"/>
                    <a:pt x="87" y="185"/>
                    <a:pt x="87" y="186"/>
                  </a:cubicBezTo>
                  <a:cubicBezTo>
                    <a:pt x="85" y="188"/>
                    <a:pt x="88" y="190"/>
                    <a:pt x="85" y="190"/>
                  </a:cubicBezTo>
                  <a:cubicBezTo>
                    <a:pt x="84" y="190"/>
                    <a:pt x="85" y="190"/>
                    <a:pt x="84" y="193"/>
                  </a:cubicBezTo>
                  <a:cubicBezTo>
                    <a:pt x="82" y="194"/>
                    <a:pt x="85" y="191"/>
                    <a:pt x="87" y="193"/>
                  </a:cubicBezTo>
                  <a:cubicBezTo>
                    <a:pt x="88" y="194"/>
                    <a:pt x="88" y="191"/>
                    <a:pt x="88" y="191"/>
                  </a:cubicBezTo>
                  <a:cubicBezTo>
                    <a:pt x="90" y="193"/>
                    <a:pt x="90" y="193"/>
                    <a:pt x="90" y="191"/>
                  </a:cubicBezTo>
                  <a:cubicBezTo>
                    <a:pt x="91" y="190"/>
                    <a:pt x="91" y="190"/>
                    <a:pt x="93" y="190"/>
                  </a:cubicBezTo>
                  <a:cubicBezTo>
                    <a:pt x="96" y="188"/>
                    <a:pt x="94" y="185"/>
                    <a:pt x="93" y="185"/>
                  </a:cubicBezTo>
                  <a:cubicBezTo>
                    <a:pt x="93" y="183"/>
                    <a:pt x="93" y="183"/>
                    <a:pt x="91" y="185"/>
                  </a:cubicBezTo>
                  <a:close/>
                  <a:moveTo>
                    <a:pt x="91" y="191"/>
                  </a:moveTo>
                  <a:cubicBezTo>
                    <a:pt x="93" y="190"/>
                    <a:pt x="94" y="190"/>
                    <a:pt x="94" y="190"/>
                  </a:cubicBezTo>
                  <a:cubicBezTo>
                    <a:pt x="93" y="191"/>
                    <a:pt x="91" y="193"/>
                    <a:pt x="91" y="191"/>
                  </a:cubicBezTo>
                  <a:close/>
                  <a:moveTo>
                    <a:pt x="117" y="166"/>
                  </a:moveTo>
                  <a:cubicBezTo>
                    <a:pt x="119" y="165"/>
                    <a:pt x="120" y="166"/>
                    <a:pt x="120" y="166"/>
                  </a:cubicBezTo>
                  <a:cubicBezTo>
                    <a:pt x="119" y="166"/>
                    <a:pt x="117" y="166"/>
                    <a:pt x="117" y="166"/>
                  </a:cubicBezTo>
                  <a:close/>
                  <a:moveTo>
                    <a:pt x="74" y="193"/>
                  </a:moveTo>
                  <a:cubicBezTo>
                    <a:pt x="76" y="193"/>
                    <a:pt x="76" y="193"/>
                    <a:pt x="76" y="193"/>
                  </a:cubicBezTo>
                  <a:cubicBezTo>
                    <a:pt x="76" y="194"/>
                    <a:pt x="74" y="193"/>
                    <a:pt x="74" y="193"/>
                  </a:cubicBezTo>
                  <a:close/>
                  <a:moveTo>
                    <a:pt x="70" y="196"/>
                  </a:moveTo>
                  <a:cubicBezTo>
                    <a:pt x="70" y="196"/>
                    <a:pt x="70" y="197"/>
                    <a:pt x="71" y="196"/>
                  </a:cubicBezTo>
                  <a:cubicBezTo>
                    <a:pt x="71" y="196"/>
                    <a:pt x="71" y="196"/>
                    <a:pt x="73" y="196"/>
                  </a:cubicBezTo>
                  <a:cubicBezTo>
                    <a:pt x="73" y="196"/>
                    <a:pt x="73" y="194"/>
                    <a:pt x="74" y="194"/>
                  </a:cubicBezTo>
                  <a:cubicBezTo>
                    <a:pt x="76" y="194"/>
                    <a:pt x="74" y="194"/>
                    <a:pt x="73" y="193"/>
                  </a:cubicBezTo>
                  <a:cubicBezTo>
                    <a:pt x="71" y="193"/>
                    <a:pt x="71" y="193"/>
                    <a:pt x="70" y="194"/>
                  </a:cubicBezTo>
                  <a:cubicBezTo>
                    <a:pt x="70" y="196"/>
                    <a:pt x="71" y="196"/>
                    <a:pt x="70" y="196"/>
                  </a:cubicBezTo>
                  <a:close/>
                  <a:moveTo>
                    <a:pt x="70" y="196"/>
                  </a:moveTo>
                  <a:cubicBezTo>
                    <a:pt x="71" y="196"/>
                    <a:pt x="68" y="194"/>
                    <a:pt x="68" y="196"/>
                  </a:cubicBezTo>
                  <a:cubicBezTo>
                    <a:pt x="68" y="197"/>
                    <a:pt x="68" y="196"/>
                    <a:pt x="68" y="197"/>
                  </a:cubicBezTo>
                  <a:cubicBezTo>
                    <a:pt x="68" y="197"/>
                    <a:pt x="68" y="197"/>
                    <a:pt x="70" y="196"/>
                  </a:cubicBezTo>
                  <a:close/>
                  <a:moveTo>
                    <a:pt x="65" y="197"/>
                  </a:moveTo>
                  <a:cubicBezTo>
                    <a:pt x="65" y="200"/>
                    <a:pt x="65" y="200"/>
                    <a:pt x="67" y="199"/>
                  </a:cubicBezTo>
                  <a:cubicBezTo>
                    <a:pt x="67" y="197"/>
                    <a:pt x="67" y="197"/>
                    <a:pt x="67" y="196"/>
                  </a:cubicBezTo>
                  <a:cubicBezTo>
                    <a:pt x="67" y="196"/>
                    <a:pt x="67" y="196"/>
                    <a:pt x="65" y="197"/>
                  </a:cubicBezTo>
                  <a:close/>
                  <a:moveTo>
                    <a:pt x="87" y="197"/>
                  </a:moveTo>
                  <a:cubicBezTo>
                    <a:pt x="88" y="197"/>
                    <a:pt x="88" y="197"/>
                    <a:pt x="88" y="197"/>
                  </a:cubicBezTo>
                  <a:cubicBezTo>
                    <a:pt x="90" y="197"/>
                    <a:pt x="87" y="197"/>
                    <a:pt x="87" y="197"/>
                  </a:cubicBezTo>
                  <a:close/>
                  <a:moveTo>
                    <a:pt x="64" y="224"/>
                  </a:moveTo>
                  <a:cubicBezTo>
                    <a:pt x="64" y="222"/>
                    <a:pt x="62" y="222"/>
                    <a:pt x="62" y="222"/>
                  </a:cubicBezTo>
                  <a:cubicBezTo>
                    <a:pt x="62" y="224"/>
                    <a:pt x="61" y="225"/>
                    <a:pt x="62" y="225"/>
                  </a:cubicBezTo>
                  <a:cubicBezTo>
                    <a:pt x="62" y="224"/>
                    <a:pt x="64" y="225"/>
                    <a:pt x="64" y="224"/>
                  </a:cubicBezTo>
                  <a:close/>
                  <a:moveTo>
                    <a:pt x="64" y="227"/>
                  </a:moveTo>
                  <a:cubicBezTo>
                    <a:pt x="65" y="225"/>
                    <a:pt x="65" y="225"/>
                    <a:pt x="64" y="225"/>
                  </a:cubicBezTo>
                  <a:cubicBezTo>
                    <a:pt x="64" y="225"/>
                    <a:pt x="62" y="225"/>
                    <a:pt x="62" y="227"/>
                  </a:cubicBezTo>
                  <a:cubicBezTo>
                    <a:pt x="62" y="227"/>
                    <a:pt x="62" y="227"/>
                    <a:pt x="64" y="227"/>
                  </a:cubicBezTo>
                  <a:close/>
                  <a:moveTo>
                    <a:pt x="59" y="235"/>
                  </a:moveTo>
                  <a:cubicBezTo>
                    <a:pt x="59" y="236"/>
                    <a:pt x="58" y="236"/>
                    <a:pt x="59" y="236"/>
                  </a:cubicBezTo>
                  <a:cubicBezTo>
                    <a:pt x="61" y="236"/>
                    <a:pt x="59" y="235"/>
                    <a:pt x="61" y="235"/>
                  </a:cubicBezTo>
                  <a:cubicBezTo>
                    <a:pt x="62" y="235"/>
                    <a:pt x="62" y="235"/>
                    <a:pt x="62" y="233"/>
                  </a:cubicBezTo>
                  <a:cubicBezTo>
                    <a:pt x="61" y="231"/>
                    <a:pt x="61" y="231"/>
                    <a:pt x="61" y="233"/>
                  </a:cubicBezTo>
                  <a:cubicBezTo>
                    <a:pt x="61" y="233"/>
                    <a:pt x="59" y="233"/>
                    <a:pt x="59" y="235"/>
                  </a:cubicBezTo>
                  <a:close/>
                  <a:moveTo>
                    <a:pt x="56" y="230"/>
                  </a:moveTo>
                  <a:cubicBezTo>
                    <a:pt x="56" y="230"/>
                    <a:pt x="58" y="228"/>
                    <a:pt x="59" y="230"/>
                  </a:cubicBezTo>
                  <a:cubicBezTo>
                    <a:pt x="59" y="230"/>
                    <a:pt x="56" y="231"/>
                    <a:pt x="56" y="230"/>
                  </a:cubicBezTo>
                  <a:close/>
                  <a:moveTo>
                    <a:pt x="59" y="238"/>
                  </a:moveTo>
                  <a:cubicBezTo>
                    <a:pt x="58" y="238"/>
                    <a:pt x="59" y="238"/>
                    <a:pt x="61" y="238"/>
                  </a:cubicBezTo>
                  <a:cubicBezTo>
                    <a:pt x="62" y="236"/>
                    <a:pt x="61" y="236"/>
                    <a:pt x="59" y="236"/>
                  </a:cubicBezTo>
                  <a:cubicBezTo>
                    <a:pt x="59" y="238"/>
                    <a:pt x="59" y="236"/>
                    <a:pt x="59" y="238"/>
                  </a:cubicBezTo>
                  <a:close/>
                  <a:moveTo>
                    <a:pt x="55" y="238"/>
                  </a:moveTo>
                  <a:cubicBezTo>
                    <a:pt x="56" y="238"/>
                    <a:pt x="58" y="238"/>
                    <a:pt x="58" y="238"/>
                  </a:cubicBezTo>
                  <a:cubicBezTo>
                    <a:pt x="56" y="238"/>
                    <a:pt x="55" y="238"/>
                    <a:pt x="55" y="238"/>
                  </a:cubicBezTo>
                  <a:close/>
                  <a:moveTo>
                    <a:pt x="53" y="245"/>
                  </a:moveTo>
                  <a:cubicBezTo>
                    <a:pt x="55" y="245"/>
                    <a:pt x="55" y="245"/>
                    <a:pt x="53" y="245"/>
                  </a:cubicBezTo>
                  <a:cubicBezTo>
                    <a:pt x="53" y="245"/>
                    <a:pt x="53" y="244"/>
                    <a:pt x="52" y="244"/>
                  </a:cubicBezTo>
                  <a:cubicBezTo>
                    <a:pt x="52" y="245"/>
                    <a:pt x="52" y="245"/>
                    <a:pt x="53" y="245"/>
                  </a:cubicBezTo>
                  <a:close/>
                  <a:moveTo>
                    <a:pt x="53" y="244"/>
                  </a:moveTo>
                  <a:cubicBezTo>
                    <a:pt x="53" y="244"/>
                    <a:pt x="55" y="244"/>
                    <a:pt x="53" y="244"/>
                  </a:cubicBezTo>
                  <a:cubicBezTo>
                    <a:pt x="53" y="244"/>
                    <a:pt x="52" y="242"/>
                    <a:pt x="53" y="244"/>
                  </a:cubicBezTo>
                  <a:close/>
                  <a:moveTo>
                    <a:pt x="50" y="244"/>
                  </a:moveTo>
                  <a:cubicBezTo>
                    <a:pt x="52" y="242"/>
                    <a:pt x="52" y="244"/>
                    <a:pt x="52" y="244"/>
                  </a:cubicBezTo>
                  <a:cubicBezTo>
                    <a:pt x="50" y="244"/>
                    <a:pt x="50" y="244"/>
                    <a:pt x="50" y="244"/>
                  </a:cubicBezTo>
                  <a:close/>
                  <a:moveTo>
                    <a:pt x="64" y="222"/>
                  </a:moveTo>
                  <a:cubicBezTo>
                    <a:pt x="65" y="221"/>
                    <a:pt x="65" y="221"/>
                    <a:pt x="65" y="221"/>
                  </a:cubicBezTo>
                  <a:cubicBezTo>
                    <a:pt x="67" y="222"/>
                    <a:pt x="65" y="222"/>
                    <a:pt x="64" y="222"/>
                  </a:cubicBezTo>
                  <a:close/>
                  <a:moveTo>
                    <a:pt x="26" y="261"/>
                  </a:moveTo>
                  <a:cubicBezTo>
                    <a:pt x="24" y="261"/>
                    <a:pt x="29" y="259"/>
                    <a:pt x="29" y="261"/>
                  </a:cubicBezTo>
                  <a:cubicBezTo>
                    <a:pt x="29" y="261"/>
                    <a:pt x="27" y="262"/>
                    <a:pt x="26" y="261"/>
                  </a:cubicBezTo>
                  <a:close/>
                  <a:moveTo>
                    <a:pt x="33" y="256"/>
                  </a:moveTo>
                  <a:cubicBezTo>
                    <a:pt x="35" y="256"/>
                    <a:pt x="33" y="255"/>
                    <a:pt x="33" y="255"/>
                  </a:cubicBezTo>
                  <a:cubicBezTo>
                    <a:pt x="32" y="256"/>
                    <a:pt x="29" y="256"/>
                    <a:pt x="29" y="258"/>
                  </a:cubicBezTo>
                  <a:cubicBezTo>
                    <a:pt x="30" y="258"/>
                    <a:pt x="32" y="258"/>
                    <a:pt x="33" y="256"/>
                  </a:cubicBezTo>
                  <a:close/>
                  <a:moveTo>
                    <a:pt x="32" y="259"/>
                  </a:moveTo>
                  <a:cubicBezTo>
                    <a:pt x="35" y="259"/>
                    <a:pt x="36" y="259"/>
                    <a:pt x="36" y="259"/>
                  </a:cubicBezTo>
                  <a:cubicBezTo>
                    <a:pt x="36" y="258"/>
                    <a:pt x="35" y="259"/>
                    <a:pt x="35" y="258"/>
                  </a:cubicBezTo>
                  <a:cubicBezTo>
                    <a:pt x="35" y="256"/>
                    <a:pt x="32" y="258"/>
                    <a:pt x="32" y="258"/>
                  </a:cubicBezTo>
                  <a:cubicBezTo>
                    <a:pt x="30" y="259"/>
                    <a:pt x="29" y="259"/>
                    <a:pt x="29" y="259"/>
                  </a:cubicBezTo>
                  <a:cubicBezTo>
                    <a:pt x="29" y="261"/>
                    <a:pt x="30" y="261"/>
                    <a:pt x="32" y="259"/>
                  </a:cubicBezTo>
                  <a:close/>
                  <a:moveTo>
                    <a:pt x="27" y="264"/>
                  </a:moveTo>
                  <a:cubicBezTo>
                    <a:pt x="26" y="262"/>
                    <a:pt x="27" y="262"/>
                    <a:pt x="29" y="264"/>
                  </a:cubicBezTo>
                  <a:cubicBezTo>
                    <a:pt x="27" y="264"/>
                    <a:pt x="27" y="264"/>
                    <a:pt x="27" y="264"/>
                  </a:cubicBezTo>
                  <a:close/>
                  <a:moveTo>
                    <a:pt x="24" y="266"/>
                  </a:moveTo>
                  <a:cubicBezTo>
                    <a:pt x="26" y="266"/>
                    <a:pt x="24" y="264"/>
                    <a:pt x="24" y="266"/>
                  </a:cubicBezTo>
                  <a:cubicBezTo>
                    <a:pt x="23" y="266"/>
                    <a:pt x="23" y="264"/>
                    <a:pt x="23" y="266"/>
                  </a:cubicBezTo>
                  <a:cubicBezTo>
                    <a:pt x="21" y="267"/>
                    <a:pt x="24" y="267"/>
                    <a:pt x="24" y="266"/>
                  </a:cubicBezTo>
                  <a:close/>
                  <a:moveTo>
                    <a:pt x="17" y="270"/>
                  </a:moveTo>
                  <a:cubicBezTo>
                    <a:pt x="15" y="270"/>
                    <a:pt x="18" y="269"/>
                    <a:pt x="18" y="270"/>
                  </a:cubicBezTo>
                  <a:cubicBezTo>
                    <a:pt x="17" y="270"/>
                    <a:pt x="17" y="270"/>
                    <a:pt x="17" y="270"/>
                  </a:cubicBezTo>
                  <a:close/>
                  <a:moveTo>
                    <a:pt x="10" y="273"/>
                  </a:moveTo>
                  <a:cubicBezTo>
                    <a:pt x="12" y="275"/>
                    <a:pt x="10" y="276"/>
                    <a:pt x="9" y="276"/>
                  </a:cubicBezTo>
                  <a:cubicBezTo>
                    <a:pt x="9" y="275"/>
                    <a:pt x="10" y="273"/>
                    <a:pt x="10" y="273"/>
                  </a:cubicBezTo>
                  <a:close/>
                  <a:moveTo>
                    <a:pt x="7" y="276"/>
                  </a:moveTo>
                  <a:cubicBezTo>
                    <a:pt x="7" y="275"/>
                    <a:pt x="9" y="275"/>
                    <a:pt x="9" y="276"/>
                  </a:cubicBezTo>
                  <a:cubicBezTo>
                    <a:pt x="7" y="276"/>
                    <a:pt x="7" y="276"/>
                    <a:pt x="7" y="276"/>
                  </a:cubicBezTo>
                  <a:close/>
                  <a:moveTo>
                    <a:pt x="1" y="283"/>
                  </a:moveTo>
                  <a:cubicBezTo>
                    <a:pt x="1" y="281"/>
                    <a:pt x="3" y="281"/>
                    <a:pt x="4" y="281"/>
                  </a:cubicBezTo>
                  <a:cubicBezTo>
                    <a:pt x="4" y="281"/>
                    <a:pt x="3" y="283"/>
                    <a:pt x="1" y="283"/>
                  </a:cubicBezTo>
                  <a:close/>
                  <a:moveTo>
                    <a:pt x="1" y="292"/>
                  </a:moveTo>
                  <a:cubicBezTo>
                    <a:pt x="1" y="292"/>
                    <a:pt x="1" y="290"/>
                    <a:pt x="3" y="290"/>
                  </a:cubicBezTo>
                  <a:cubicBezTo>
                    <a:pt x="3" y="290"/>
                    <a:pt x="3" y="292"/>
                    <a:pt x="1" y="292"/>
                  </a:cubicBezTo>
                  <a:close/>
                  <a:moveTo>
                    <a:pt x="6" y="308"/>
                  </a:moveTo>
                  <a:cubicBezTo>
                    <a:pt x="6" y="306"/>
                    <a:pt x="6" y="306"/>
                    <a:pt x="7" y="308"/>
                  </a:cubicBezTo>
                  <a:cubicBezTo>
                    <a:pt x="7" y="308"/>
                    <a:pt x="7" y="306"/>
                    <a:pt x="9" y="306"/>
                  </a:cubicBezTo>
                  <a:cubicBezTo>
                    <a:pt x="9" y="304"/>
                    <a:pt x="6" y="304"/>
                    <a:pt x="6" y="306"/>
                  </a:cubicBezTo>
                  <a:cubicBezTo>
                    <a:pt x="4" y="308"/>
                    <a:pt x="6" y="309"/>
                    <a:pt x="7" y="309"/>
                  </a:cubicBezTo>
                  <a:cubicBezTo>
                    <a:pt x="7" y="309"/>
                    <a:pt x="7" y="308"/>
                    <a:pt x="6" y="308"/>
                  </a:cubicBezTo>
                  <a:close/>
                  <a:moveTo>
                    <a:pt x="4" y="317"/>
                  </a:moveTo>
                  <a:cubicBezTo>
                    <a:pt x="6" y="317"/>
                    <a:pt x="4" y="312"/>
                    <a:pt x="4" y="314"/>
                  </a:cubicBezTo>
                  <a:cubicBezTo>
                    <a:pt x="4" y="315"/>
                    <a:pt x="3" y="317"/>
                    <a:pt x="4" y="317"/>
                  </a:cubicBezTo>
                  <a:close/>
                  <a:moveTo>
                    <a:pt x="4" y="311"/>
                  </a:moveTo>
                  <a:cubicBezTo>
                    <a:pt x="4" y="312"/>
                    <a:pt x="4" y="309"/>
                    <a:pt x="4" y="309"/>
                  </a:cubicBezTo>
                  <a:cubicBezTo>
                    <a:pt x="6" y="309"/>
                    <a:pt x="6" y="311"/>
                    <a:pt x="6" y="309"/>
                  </a:cubicBezTo>
                  <a:cubicBezTo>
                    <a:pt x="6" y="309"/>
                    <a:pt x="6" y="309"/>
                    <a:pt x="4" y="308"/>
                  </a:cubicBezTo>
                  <a:cubicBezTo>
                    <a:pt x="4" y="308"/>
                    <a:pt x="4" y="309"/>
                    <a:pt x="4" y="311"/>
                  </a:cubicBezTo>
                  <a:close/>
                  <a:moveTo>
                    <a:pt x="3" y="303"/>
                  </a:moveTo>
                  <a:cubicBezTo>
                    <a:pt x="3" y="300"/>
                    <a:pt x="3" y="300"/>
                    <a:pt x="3" y="300"/>
                  </a:cubicBezTo>
                  <a:cubicBezTo>
                    <a:pt x="3" y="301"/>
                    <a:pt x="4" y="304"/>
                    <a:pt x="3" y="303"/>
                  </a:cubicBezTo>
                  <a:close/>
                  <a:moveTo>
                    <a:pt x="4" y="300"/>
                  </a:moveTo>
                  <a:cubicBezTo>
                    <a:pt x="4" y="301"/>
                    <a:pt x="3" y="300"/>
                    <a:pt x="3" y="298"/>
                  </a:cubicBezTo>
                  <a:cubicBezTo>
                    <a:pt x="4" y="300"/>
                    <a:pt x="4" y="300"/>
                    <a:pt x="4" y="300"/>
                  </a:cubicBezTo>
                  <a:close/>
                  <a:moveTo>
                    <a:pt x="3" y="298"/>
                  </a:moveTo>
                  <a:cubicBezTo>
                    <a:pt x="4" y="298"/>
                    <a:pt x="3" y="297"/>
                    <a:pt x="3" y="297"/>
                  </a:cubicBezTo>
                  <a:cubicBezTo>
                    <a:pt x="1" y="295"/>
                    <a:pt x="1" y="297"/>
                    <a:pt x="3" y="298"/>
                  </a:cubicBezTo>
                  <a:close/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80" name="Freeform 201">
              <a:extLst>
                <a:ext uri="{FF2B5EF4-FFF2-40B4-BE49-F238E27FC236}">
                  <a16:creationId xmlns:a16="http://schemas.microsoft.com/office/drawing/2014/main" id="{E87D5CB3-335F-FB64-69C4-1602BF325A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223694" y="2702178"/>
              <a:ext cx="257085" cy="420969"/>
            </a:xfrm>
            <a:custGeom>
              <a:avLst/>
              <a:gdLst/>
              <a:ahLst/>
              <a:cxnLst>
                <a:cxn ang="0">
                  <a:pos x="32" y="78"/>
                </a:cxn>
                <a:cxn ang="0">
                  <a:pos x="29" y="67"/>
                </a:cxn>
                <a:cxn ang="0">
                  <a:pos x="25" y="62"/>
                </a:cxn>
                <a:cxn ang="0">
                  <a:pos x="23" y="64"/>
                </a:cxn>
                <a:cxn ang="0">
                  <a:pos x="23" y="55"/>
                </a:cxn>
                <a:cxn ang="0">
                  <a:pos x="20" y="52"/>
                </a:cxn>
                <a:cxn ang="0">
                  <a:pos x="22" y="44"/>
                </a:cxn>
                <a:cxn ang="0">
                  <a:pos x="25" y="34"/>
                </a:cxn>
                <a:cxn ang="0">
                  <a:pos x="32" y="30"/>
                </a:cxn>
                <a:cxn ang="0">
                  <a:pos x="35" y="39"/>
                </a:cxn>
                <a:cxn ang="0">
                  <a:pos x="52" y="42"/>
                </a:cxn>
                <a:cxn ang="0">
                  <a:pos x="46" y="59"/>
                </a:cxn>
                <a:cxn ang="0">
                  <a:pos x="53" y="67"/>
                </a:cxn>
                <a:cxn ang="0">
                  <a:pos x="67" y="89"/>
                </a:cxn>
                <a:cxn ang="0">
                  <a:pos x="69" y="101"/>
                </a:cxn>
                <a:cxn ang="0">
                  <a:pos x="75" y="114"/>
                </a:cxn>
                <a:cxn ang="0">
                  <a:pos x="79" y="118"/>
                </a:cxn>
                <a:cxn ang="0">
                  <a:pos x="60" y="126"/>
                </a:cxn>
                <a:cxn ang="0">
                  <a:pos x="46" y="128"/>
                </a:cxn>
                <a:cxn ang="0">
                  <a:pos x="28" y="134"/>
                </a:cxn>
                <a:cxn ang="0">
                  <a:pos x="29" y="128"/>
                </a:cxn>
                <a:cxn ang="0">
                  <a:pos x="43" y="121"/>
                </a:cxn>
                <a:cxn ang="0">
                  <a:pos x="38" y="118"/>
                </a:cxn>
                <a:cxn ang="0">
                  <a:pos x="26" y="112"/>
                </a:cxn>
                <a:cxn ang="0">
                  <a:pos x="31" y="101"/>
                </a:cxn>
                <a:cxn ang="0">
                  <a:pos x="40" y="95"/>
                </a:cxn>
                <a:cxn ang="0">
                  <a:pos x="44" y="90"/>
                </a:cxn>
                <a:cxn ang="0">
                  <a:pos x="40" y="78"/>
                </a:cxn>
                <a:cxn ang="0">
                  <a:pos x="23" y="83"/>
                </a:cxn>
                <a:cxn ang="0">
                  <a:pos x="23" y="78"/>
                </a:cxn>
                <a:cxn ang="0">
                  <a:pos x="14" y="72"/>
                </a:cxn>
                <a:cxn ang="0">
                  <a:pos x="11" y="84"/>
                </a:cxn>
                <a:cxn ang="0">
                  <a:pos x="22" y="84"/>
                </a:cxn>
                <a:cxn ang="0">
                  <a:pos x="31" y="95"/>
                </a:cxn>
                <a:cxn ang="0">
                  <a:pos x="25" y="66"/>
                </a:cxn>
                <a:cxn ang="0">
                  <a:pos x="55" y="128"/>
                </a:cxn>
                <a:cxn ang="0">
                  <a:pos x="13" y="38"/>
                </a:cxn>
                <a:cxn ang="0">
                  <a:pos x="16" y="38"/>
                </a:cxn>
                <a:cxn ang="0">
                  <a:pos x="17" y="33"/>
                </a:cxn>
                <a:cxn ang="0">
                  <a:pos x="11" y="42"/>
                </a:cxn>
                <a:cxn ang="0">
                  <a:pos x="9" y="48"/>
                </a:cxn>
                <a:cxn ang="0">
                  <a:pos x="16" y="45"/>
                </a:cxn>
                <a:cxn ang="0">
                  <a:pos x="22" y="47"/>
                </a:cxn>
                <a:cxn ang="0">
                  <a:pos x="16" y="42"/>
                </a:cxn>
                <a:cxn ang="0">
                  <a:pos x="19" y="58"/>
                </a:cxn>
                <a:cxn ang="0">
                  <a:pos x="17" y="55"/>
                </a:cxn>
                <a:cxn ang="0">
                  <a:pos x="17" y="67"/>
                </a:cxn>
                <a:cxn ang="0">
                  <a:pos x="16" y="66"/>
                </a:cxn>
                <a:cxn ang="0">
                  <a:pos x="20" y="64"/>
                </a:cxn>
                <a:cxn ang="0">
                  <a:pos x="44" y="25"/>
                </a:cxn>
                <a:cxn ang="0">
                  <a:pos x="43" y="22"/>
                </a:cxn>
                <a:cxn ang="0">
                  <a:pos x="44" y="27"/>
                </a:cxn>
                <a:cxn ang="0">
                  <a:pos x="46" y="21"/>
                </a:cxn>
                <a:cxn ang="0">
                  <a:pos x="46" y="22"/>
                </a:cxn>
                <a:cxn ang="0">
                  <a:pos x="58" y="11"/>
                </a:cxn>
                <a:cxn ang="0">
                  <a:pos x="58" y="5"/>
                </a:cxn>
                <a:cxn ang="0">
                  <a:pos x="53" y="8"/>
                </a:cxn>
                <a:cxn ang="0">
                  <a:pos x="58" y="11"/>
                </a:cxn>
                <a:cxn ang="0">
                  <a:pos x="58" y="3"/>
                </a:cxn>
                <a:cxn ang="0">
                  <a:pos x="60" y="2"/>
                </a:cxn>
              </a:cxnLst>
              <a:rect l="0" t="0" r="r" b="b"/>
              <a:pathLst>
                <a:path w="82" h="135">
                  <a:moveTo>
                    <a:pt x="40" y="75"/>
                  </a:moveTo>
                  <a:cubicBezTo>
                    <a:pt x="38" y="78"/>
                    <a:pt x="38" y="75"/>
                    <a:pt x="37" y="76"/>
                  </a:cubicBezTo>
                  <a:cubicBezTo>
                    <a:pt x="35" y="80"/>
                    <a:pt x="32" y="75"/>
                    <a:pt x="32" y="76"/>
                  </a:cubicBezTo>
                  <a:cubicBezTo>
                    <a:pt x="34" y="78"/>
                    <a:pt x="32" y="80"/>
                    <a:pt x="32" y="78"/>
                  </a:cubicBezTo>
                  <a:cubicBezTo>
                    <a:pt x="31" y="76"/>
                    <a:pt x="28" y="75"/>
                    <a:pt x="28" y="78"/>
                  </a:cubicBezTo>
                  <a:cubicBezTo>
                    <a:pt x="29" y="81"/>
                    <a:pt x="26" y="76"/>
                    <a:pt x="26" y="75"/>
                  </a:cubicBezTo>
                  <a:cubicBezTo>
                    <a:pt x="28" y="73"/>
                    <a:pt x="28" y="76"/>
                    <a:pt x="28" y="73"/>
                  </a:cubicBezTo>
                  <a:cubicBezTo>
                    <a:pt x="28" y="70"/>
                    <a:pt x="32" y="70"/>
                    <a:pt x="29" y="67"/>
                  </a:cubicBezTo>
                  <a:cubicBezTo>
                    <a:pt x="28" y="64"/>
                    <a:pt x="29" y="64"/>
                    <a:pt x="31" y="62"/>
                  </a:cubicBezTo>
                  <a:cubicBezTo>
                    <a:pt x="28" y="59"/>
                    <a:pt x="29" y="64"/>
                    <a:pt x="28" y="64"/>
                  </a:cubicBezTo>
                  <a:cubicBezTo>
                    <a:pt x="26" y="62"/>
                    <a:pt x="28" y="64"/>
                    <a:pt x="26" y="64"/>
                  </a:cubicBezTo>
                  <a:cubicBezTo>
                    <a:pt x="25" y="62"/>
                    <a:pt x="26" y="61"/>
                    <a:pt x="25" y="62"/>
                  </a:cubicBezTo>
                  <a:cubicBezTo>
                    <a:pt x="23" y="62"/>
                    <a:pt x="26" y="64"/>
                    <a:pt x="25" y="66"/>
                  </a:cubicBezTo>
                  <a:cubicBezTo>
                    <a:pt x="23" y="67"/>
                    <a:pt x="23" y="72"/>
                    <a:pt x="22" y="72"/>
                  </a:cubicBezTo>
                  <a:cubicBezTo>
                    <a:pt x="20" y="70"/>
                    <a:pt x="25" y="64"/>
                    <a:pt x="23" y="66"/>
                  </a:cubicBezTo>
                  <a:cubicBezTo>
                    <a:pt x="23" y="66"/>
                    <a:pt x="23" y="66"/>
                    <a:pt x="23" y="64"/>
                  </a:cubicBezTo>
                  <a:cubicBezTo>
                    <a:pt x="23" y="62"/>
                    <a:pt x="22" y="62"/>
                    <a:pt x="23" y="61"/>
                  </a:cubicBezTo>
                  <a:cubicBezTo>
                    <a:pt x="23" y="59"/>
                    <a:pt x="22" y="59"/>
                    <a:pt x="23" y="58"/>
                  </a:cubicBezTo>
                  <a:cubicBezTo>
                    <a:pt x="25" y="58"/>
                    <a:pt x="23" y="56"/>
                    <a:pt x="25" y="55"/>
                  </a:cubicBezTo>
                  <a:cubicBezTo>
                    <a:pt x="26" y="53"/>
                    <a:pt x="26" y="53"/>
                    <a:pt x="23" y="55"/>
                  </a:cubicBezTo>
                  <a:cubicBezTo>
                    <a:pt x="22" y="56"/>
                    <a:pt x="23" y="55"/>
                    <a:pt x="22" y="55"/>
                  </a:cubicBezTo>
                  <a:cubicBezTo>
                    <a:pt x="20" y="55"/>
                    <a:pt x="19" y="55"/>
                    <a:pt x="20" y="55"/>
                  </a:cubicBezTo>
                  <a:cubicBezTo>
                    <a:pt x="22" y="53"/>
                    <a:pt x="23" y="53"/>
                    <a:pt x="20" y="53"/>
                  </a:cubicBezTo>
                  <a:cubicBezTo>
                    <a:pt x="17" y="53"/>
                    <a:pt x="19" y="52"/>
                    <a:pt x="20" y="52"/>
                  </a:cubicBezTo>
                  <a:cubicBezTo>
                    <a:pt x="20" y="53"/>
                    <a:pt x="22" y="52"/>
                    <a:pt x="22" y="52"/>
                  </a:cubicBezTo>
                  <a:cubicBezTo>
                    <a:pt x="19" y="50"/>
                    <a:pt x="23" y="50"/>
                    <a:pt x="22" y="48"/>
                  </a:cubicBezTo>
                  <a:cubicBezTo>
                    <a:pt x="22" y="48"/>
                    <a:pt x="22" y="48"/>
                    <a:pt x="23" y="47"/>
                  </a:cubicBezTo>
                  <a:cubicBezTo>
                    <a:pt x="23" y="45"/>
                    <a:pt x="22" y="47"/>
                    <a:pt x="22" y="44"/>
                  </a:cubicBezTo>
                  <a:cubicBezTo>
                    <a:pt x="20" y="41"/>
                    <a:pt x="23" y="42"/>
                    <a:pt x="22" y="39"/>
                  </a:cubicBezTo>
                  <a:cubicBezTo>
                    <a:pt x="20" y="38"/>
                    <a:pt x="23" y="38"/>
                    <a:pt x="25" y="39"/>
                  </a:cubicBezTo>
                  <a:cubicBezTo>
                    <a:pt x="25" y="39"/>
                    <a:pt x="25" y="38"/>
                    <a:pt x="25" y="36"/>
                  </a:cubicBezTo>
                  <a:cubicBezTo>
                    <a:pt x="23" y="34"/>
                    <a:pt x="28" y="36"/>
                    <a:pt x="25" y="34"/>
                  </a:cubicBezTo>
                  <a:cubicBezTo>
                    <a:pt x="23" y="31"/>
                    <a:pt x="29" y="36"/>
                    <a:pt x="26" y="33"/>
                  </a:cubicBezTo>
                  <a:cubicBezTo>
                    <a:pt x="25" y="31"/>
                    <a:pt x="28" y="33"/>
                    <a:pt x="28" y="30"/>
                  </a:cubicBezTo>
                  <a:cubicBezTo>
                    <a:pt x="26" y="28"/>
                    <a:pt x="28" y="28"/>
                    <a:pt x="29" y="30"/>
                  </a:cubicBezTo>
                  <a:cubicBezTo>
                    <a:pt x="31" y="30"/>
                    <a:pt x="31" y="28"/>
                    <a:pt x="32" y="30"/>
                  </a:cubicBezTo>
                  <a:cubicBezTo>
                    <a:pt x="34" y="30"/>
                    <a:pt x="37" y="28"/>
                    <a:pt x="40" y="28"/>
                  </a:cubicBezTo>
                  <a:cubicBezTo>
                    <a:pt x="41" y="30"/>
                    <a:pt x="38" y="28"/>
                    <a:pt x="41" y="28"/>
                  </a:cubicBezTo>
                  <a:cubicBezTo>
                    <a:pt x="44" y="28"/>
                    <a:pt x="43" y="30"/>
                    <a:pt x="43" y="30"/>
                  </a:cubicBezTo>
                  <a:cubicBezTo>
                    <a:pt x="44" y="31"/>
                    <a:pt x="37" y="38"/>
                    <a:pt x="35" y="39"/>
                  </a:cubicBezTo>
                  <a:cubicBezTo>
                    <a:pt x="34" y="39"/>
                    <a:pt x="38" y="38"/>
                    <a:pt x="37" y="39"/>
                  </a:cubicBezTo>
                  <a:cubicBezTo>
                    <a:pt x="35" y="41"/>
                    <a:pt x="34" y="42"/>
                    <a:pt x="35" y="42"/>
                  </a:cubicBezTo>
                  <a:cubicBezTo>
                    <a:pt x="38" y="42"/>
                    <a:pt x="38" y="39"/>
                    <a:pt x="43" y="41"/>
                  </a:cubicBezTo>
                  <a:cubicBezTo>
                    <a:pt x="49" y="41"/>
                    <a:pt x="52" y="39"/>
                    <a:pt x="52" y="42"/>
                  </a:cubicBezTo>
                  <a:cubicBezTo>
                    <a:pt x="53" y="44"/>
                    <a:pt x="52" y="44"/>
                    <a:pt x="50" y="50"/>
                  </a:cubicBezTo>
                  <a:cubicBezTo>
                    <a:pt x="47" y="56"/>
                    <a:pt x="46" y="56"/>
                    <a:pt x="44" y="56"/>
                  </a:cubicBezTo>
                  <a:cubicBezTo>
                    <a:pt x="43" y="56"/>
                    <a:pt x="46" y="56"/>
                    <a:pt x="44" y="58"/>
                  </a:cubicBezTo>
                  <a:cubicBezTo>
                    <a:pt x="44" y="58"/>
                    <a:pt x="49" y="58"/>
                    <a:pt x="46" y="59"/>
                  </a:cubicBezTo>
                  <a:cubicBezTo>
                    <a:pt x="44" y="61"/>
                    <a:pt x="44" y="59"/>
                    <a:pt x="43" y="61"/>
                  </a:cubicBezTo>
                  <a:cubicBezTo>
                    <a:pt x="43" y="62"/>
                    <a:pt x="38" y="62"/>
                    <a:pt x="41" y="62"/>
                  </a:cubicBezTo>
                  <a:cubicBezTo>
                    <a:pt x="46" y="64"/>
                    <a:pt x="43" y="59"/>
                    <a:pt x="47" y="62"/>
                  </a:cubicBezTo>
                  <a:cubicBezTo>
                    <a:pt x="52" y="64"/>
                    <a:pt x="50" y="66"/>
                    <a:pt x="53" y="67"/>
                  </a:cubicBezTo>
                  <a:cubicBezTo>
                    <a:pt x="55" y="69"/>
                    <a:pt x="53" y="70"/>
                    <a:pt x="57" y="75"/>
                  </a:cubicBezTo>
                  <a:cubicBezTo>
                    <a:pt x="58" y="81"/>
                    <a:pt x="58" y="80"/>
                    <a:pt x="61" y="80"/>
                  </a:cubicBezTo>
                  <a:cubicBezTo>
                    <a:pt x="64" y="81"/>
                    <a:pt x="63" y="84"/>
                    <a:pt x="66" y="84"/>
                  </a:cubicBezTo>
                  <a:cubicBezTo>
                    <a:pt x="67" y="86"/>
                    <a:pt x="64" y="86"/>
                    <a:pt x="67" y="89"/>
                  </a:cubicBezTo>
                  <a:cubicBezTo>
                    <a:pt x="70" y="92"/>
                    <a:pt x="69" y="92"/>
                    <a:pt x="66" y="90"/>
                  </a:cubicBezTo>
                  <a:cubicBezTo>
                    <a:pt x="64" y="89"/>
                    <a:pt x="64" y="90"/>
                    <a:pt x="67" y="92"/>
                  </a:cubicBezTo>
                  <a:cubicBezTo>
                    <a:pt x="69" y="94"/>
                    <a:pt x="72" y="98"/>
                    <a:pt x="70" y="98"/>
                  </a:cubicBezTo>
                  <a:cubicBezTo>
                    <a:pt x="69" y="100"/>
                    <a:pt x="67" y="101"/>
                    <a:pt x="69" y="101"/>
                  </a:cubicBezTo>
                  <a:cubicBezTo>
                    <a:pt x="70" y="101"/>
                    <a:pt x="70" y="103"/>
                    <a:pt x="72" y="100"/>
                  </a:cubicBezTo>
                  <a:cubicBezTo>
                    <a:pt x="72" y="98"/>
                    <a:pt x="81" y="100"/>
                    <a:pt x="81" y="104"/>
                  </a:cubicBezTo>
                  <a:cubicBezTo>
                    <a:pt x="82" y="112"/>
                    <a:pt x="76" y="112"/>
                    <a:pt x="78" y="114"/>
                  </a:cubicBezTo>
                  <a:cubicBezTo>
                    <a:pt x="79" y="114"/>
                    <a:pt x="76" y="112"/>
                    <a:pt x="75" y="114"/>
                  </a:cubicBezTo>
                  <a:cubicBezTo>
                    <a:pt x="73" y="115"/>
                    <a:pt x="76" y="114"/>
                    <a:pt x="75" y="117"/>
                  </a:cubicBezTo>
                  <a:cubicBezTo>
                    <a:pt x="75" y="117"/>
                    <a:pt x="70" y="117"/>
                    <a:pt x="72" y="117"/>
                  </a:cubicBezTo>
                  <a:cubicBezTo>
                    <a:pt x="73" y="118"/>
                    <a:pt x="72" y="118"/>
                    <a:pt x="73" y="118"/>
                  </a:cubicBezTo>
                  <a:cubicBezTo>
                    <a:pt x="75" y="120"/>
                    <a:pt x="79" y="117"/>
                    <a:pt x="79" y="118"/>
                  </a:cubicBezTo>
                  <a:cubicBezTo>
                    <a:pt x="78" y="120"/>
                    <a:pt x="79" y="121"/>
                    <a:pt x="76" y="123"/>
                  </a:cubicBezTo>
                  <a:cubicBezTo>
                    <a:pt x="73" y="123"/>
                    <a:pt x="76" y="125"/>
                    <a:pt x="73" y="125"/>
                  </a:cubicBezTo>
                  <a:cubicBezTo>
                    <a:pt x="72" y="125"/>
                    <a:pt x="70" y="128"/>
                    <a:pt x="67" y="126"/>
                  </a:cubicBezTo>
                  <a:cubicBezTo>
                    <a:pt x="64" y="125"/>
                    <a:pt x="61" y="128"/>
                    <a:pt x="60" y="126"/>
                  </a:cubicBezTo>
                  <a:cubicBezTo>
                    <a:pt x="60" y="125"/>
                    <a:pt x="60" y="126"/>
                    <a:pt x="58" y="126"/>
                  </a:cubicBezTo>
                  <a:cubicBezTo>
                    <a:pt x="55" y="125"/>
                    <a:pt x="58" y="126"/>
                    <a:pt x="53" y="126"/>
                  </a:cubicBezTo>
                  <a:cubicBezTo>
                    <a:pt x="50" y="128"/>
                    <a:pt x="53" y="129"/>
                    <a:pt x="50" y="128"/>
                  </a:cubicBezTo>
                  <a:cubicBezTo>
                    <a:pt x="47" y="128"/>
                    <a:pt x="49" y="131"/>
                    <a:pt x="46" y="128"/>
                  </a:cubicBezTo>
                  <a:cubicBezTo>
                    <a:pt x="44" y="125"/>
                    <a:pt x="41" y="129"/>
                    <a:pt x="40" y="128"/>
                  </a:cubicBezTo>
                  <a:cubicBezTo>
                    <a:pt x="40" y="128"/>
                    <a:pt x="40" y="134"/>
                    <a:pt x="37" y="132"/>
                  </a:cubicBezTo>
                  <a:cubicBezTo>
                    <a:pt x="35" y="131"/>
                    <a:pt x="35" y="131"/>
                    <a:pt x="32" y="131"/>
                  </a:cubicBezTo>
                  <a:cubicBezTo>
                    <a:pt x="29" y="131"/>
                    <a:pt x="29" y="132"/>
                    <a:pt x="28" y="134"/>
                  </a:cubicBezTo>
                  <a:cubicBezTo>
                    <a:pt x="26" y="134"/>
                    <a:pt x="28" y="135"/>
                    <a:pt x="26" y="135"/>
                  </a:cubicBezTo>
                  <a:cubicBezTo>
                    <a:pt x="25" y="135"/>
                    <a:pt x="25" y="134"/>
                    <a:pt x="23" y="134"/>
                  </a:cubicBezTo>
                  <a:cubicBezTo>
                    <a:pt x="22" y="135"/>
                    <a:pt x="22" y="132"/>
                    <a:pt x="25" y="132"/>
                  </a:cubicBezTo>
                  <a:cubicBezTo>
                    <a:pt x="26" y="132"/>
                    <a:pt x="26" y="129"/>
                    <a:pt x="29" y="128"/>
                  </a:cubicBezTo>
                  <a:cubicBezTo>
                    <a:pt x="31" y="128"/>
                    <a:pt x="29" y="128"/>
                    <a:pt x="31" y="126"/>
                  </a:cubicBezTo>
                  <a:cubicBezTo>
                    <a:pt x="32" y="125"/>
                    <a:pt x="29" y="123"/>
                    <a:pt x="32" y="123"/>
                  </a:cubicBezTo>
                  <a:cubicBezTo>
                    <a:pt x="35" y="123"/>
                    <a:pt x="32" y="120"/>
                    <a:pt x="35" y="120"/>
                  </a:cubicBezTo>
                  <a:cubicBezTo>
                    <a:pt x="40" y="120"/>
                    <a:pt x="38" y="121"/>
                    <a:pt x="43" y="121"/>
                  </a:cubicBezTo>
                  <a:cubicBezTo>
                    <a:pt x="46" y="120"/>
                    <a:pt x="41" y="120"/>
                    <a:pt x="47" y="117"/>
                  </a:cubicBezTo>
                  <a:cubicBezTo>
                    <a:pt x="47" y="115"/>
                    <a:pt x="47" y="115"/>
                    <a:pt x="49" y="114"/>
                  </a:cubicBezTo>
                  <a:cubicBezTo>
                    <a:pt x="46" y="115"/>
                    <a:pt x="46" y="117"/>
                    <a:pt x="44" y="117"/>
                  </a:cubicBezTo>
                  <a:cubicBezTo>
                    <a:pt x="43" y="117"/>
                    <a:pt x="41" y="121"/>
                    <a:pt x="38" y="118"/>
                  </a:cubicBezTo>
                  <a:cubicBezTo>
                    <a:pt x="35" y="115"/>
                    <a:pt x="32" y="118"/>
                    <a:pt x="34" y="117"/>
                  </a:cubicBezTo>
                  <a:cubicBezTo>
                    <a:pt x="34" y="115"/>
                    <a:pt x="32" y="114"/>
                    <a:pt x="29" y="115"/>
                  </a:cubicBezTo>
                  <a:cubicBezTo>
                    <a:pt x="28" y="117"/>
                    <a:pt x="26" y="115"/>
                    <a:pt x="26" y="114"/>
                  </a:cubicBezTo>
                  <a:cubicBezTo>
                    <a:pt x="28" y="112"/>
                    <a:pt x="25" y="114"/>
                    <a:pt x="26" y="112"/>
                  </a:cubicBezTo>
                  <a:cubicBezTo>
                    <a:pt x="28" y="109"/>
                    <a:pt x="28" y="112"/>
                    <a:pt x="32" y="109"/>
                  </a:cubicBezTo>
                  <a:cubicBezTo>
                    <a:pt x="37" y="106"/>
                    <a:pt x="34" y="104"/>
                    <a:pt x="35" y="103"/>
                  </a:cubicBezTo>
                  <a:cubicBezTo>
                    <a:pt x="37" y="101"/>
                    <a:pt x="34" y="103"/>
                    <a:pt x="35" y="101"/>
                  </a:cubicBezTo>
                  <a:cubicBezTo>
                    <a:pt x="35" y="98"/>
                    <a:pt x="32" y="103"/>
                    <a:pt x="31" y="101"/>
                  </a:cubicBezTo>
                  <a:cubicBezTo>
                    <a:pt x="31" y="101"/>
                    <a:pt x="29" y="103"/>
                    <a:pt x="31" y="101"/>
                  </a:cubicBezTo>
                  <a:cubicBezTo>
                    <a:pt x="31" y="100"/>
                    <a:pt x="32" y="100"/>
                    <a:pt x="34" y="97"/>
                  </a:cubicBezTo>
                  <a:cubicBezTo>
                    <a:pt x="35" y="95"/>
                    <a:pt x="35" y="97"/>
                    <a:pt x="37" y="95"/>
                  </a:cubicBezTo>
                  <a:cubicBezTo>
                    <a:pt x="37" y="95"/>
                    <a:pt x="37" y="97"/>
                    <a:pt x="40" y="95"/>
                  </a:cubicBezTo>
                  <a:cubicBezTo>
                    <a:pt x="41" y="94"/>
                    <a:pt x="43" y="97"/>
                    <a:pt x="43" y="95"/>
                  </a:cubicBezTo>
                  <a:cubicBezTo>
                    <a:pt x="41" y="94"/>
                    <a:pt x="43" y="94"/>
                    <a:pt x="44" y="95"/>
                  </a:cubicBezTo>
                  <a:cubicBezTo>
                    <a:pt x="44" y="97"/>
                    <a:pt x="44" y="95"/>
                    <a:pt x="44" y="94"/>
                  </a:cubicBezTo>
                  <a:cubicBezTo>
                    <a:pt x="41" y="90"/>
                    <a:pt x="44" y="90"/>
                    <a:pt x="44" y="90"/>
                  </a:cubicBezTo>
                  <a:cubicBezTo>
                    <a:pt x="41" y="89"/>
                    <a:pt x="46" y="87"/>
                    <a:pt x="44" y="87"/>
                  </a:cubicBezTo>
                  <a:cubicBezTo>
                    <a:pt x="44" y="86"/>
                    <a:pt x="46" y="84"/>
                    <a:pt x="44" y="84"/>
                  </a:cubicBezTo>
                  <a:cubicBezTo>
                    <a:pt x="43" y="84"/>
                    <a:pt x="43" y="87"/>
                    <a:pt x="41" y="86"/>
                  </a:cubicBezTo>
                  <a:cubicBezTo>
                    <a:pt x="40" y="83"/>
                    <a:pt x="37" y="83"/>
                    <a:pt x="40" y="78"/>
                  </a:cubicBezTo>
                  <a:cubicBezTo>
                    <a:pt x="43" y="73"/>
                    <a:pt x="40" y="78"/>
                    <a:pt x="41" y="75"/>
                  </a:cubicBezTo>
                  <a:cubicBezTo>
                    <a:pt x="43" y="75"/>
                    <a:pt x="40" y="75"/>
                    <a:pt x="40" y="75"/>
                  </a:cubicBezTo>
                  <a:close/>
                  <a:moveTo>
                    <a:pt x="22" y="84"/>
                  </a:moveTo>
                  <a:cubicBezTo>
                    <a:pt x="22" y="83"/>
                    <a:pt x="23" y="84"/>
                    <a:pt x="23" y="83"/>
                  </a:cubicBezTo>
                  <a:cubicBezTo>
                    <a:pt x="22" y="83"/>
                    <a:pt x="22" y="83"/>
                    <a:pt x="22" y="83"/>
                  </a:cubicBezTo>
                  <a:cubicBezTo>
                    <a:pt x="23" y="81"/>
                    <a:pt x="23" y="80"/>
                    <a:pt x="23" y="81"/>
                  </a:cubicBezTo>
                  <a:cubicBezTo>
                    <a:pt x="23" y="83"/>
                    <a:pt x="25" y="83"/>
                    <a:pt x="25" y="81"/>
                  </a:cubicBezTo>
                  <a:cubicBezTo>
                    <a:pt x="23" y="78"/>
                    <a:pt x="23" y="78"/>
                    <a:pt x="23" y="78"/>
                  </a:cubicBezTo>
                  <a:cubicBezTo>
                    <a:pt x="22" y="80"/>
                    <a:pt x="20" y="80"/>
                    <a:pt x="22" y="78"/>
                  </a:cubicBezTo>
                  <a:cubicBezTo>
                    <a:pt x="23" y="78"/>
                    <a:pt x="23" y="76"/>
                    <a:pt x="22" y="76"/>
                  </a:cubicBezTo>
                  <a:cubicBezTo>
                    <a:pt x="20" y="76"/>
                    <a:pt x="20" y="73"/>
                    <a:pt x="19" y="72"/>
                  </a:cubicBezTo>
                  <a:cubicBezTo>
                    <a:pt x="19" y="70"/>
                    <a:pt x="16" y="72"/>
                    <a:pt x="14" y="72"/>
                  </a:cubicBezTo>
                  <a:cubicBezTo>
                    <a:pt x="11" y="72"/>
                    <a:pt x="13" y="73"/>
                    <a:pt x="9" y="73"/>
                  </a:cubicBezTo>
                  <a:cubicBezTo>
                    <a:pt x="6" y="75"/>
                    <a:pt x="9" y="78"/>
                    <a:pt x="6" y="78"/>
                  </a:cubicBezTo>
                  <a:cubicBezTo>
                    <a:pt x="3" y="78"/>
                    <a:pt x="8" y="80"/>
                    <a:pt x="5" y="81"/>
                  </a:cubicBezTo>
                  <a:cubicBezTo>
                    <a:pt x="0" y="83"/>
                    <a:pt x="11" y="87"/>
                    <a:pt x="11" y="84"/>
                  </a:cubicBezTo>
                  <a:cubicBezTo>
                    <a:pt x="11" y="83"/>
                    <a:pt x="13" y="81"/>
                    <a:pt x="13" y="83"/>
                  </a:cubicBezTo>
                  <a:cubicBezTo>
                    <a:pt x="14" y="86"/>
                    <a:pt x="14" y="84"/>
                    <a:pt x="14" y="86"/>
                  </a:cubicBezTo>
                  <a:cubicBezTo>
                    <a:pt x="16" y="87"/>
                    <a:pt x="16" y="86"/>
                    <a:pt x="17" y="86"/>
                  </a:cubicBezTo>
                  <a:cubicBezTo>
                    <a:pt x="20" y="86"/>
                    <a:pt x="19" y="89"/>
                    <a:pt x="22" y="84"/>
                  </a:cubicBezTo>
                  <a:close/>
                  <a:moveTo>
                    <a:pt x="32" y="83"/>
                  </a:moveTo>
                  <a:cubicBezTo>
                    <a:pt x="34" y="83"/>
                    <a:pt x="32" y="87"/>
                    <a:pt x="31" y="86"/>
                  </a:cubicBezTo>
                  <a:cubicBezTo>
                    <a:pt x="28" y="86"/>
                    <a:pt x="32" y="81"/>
                    <a:pt x="32" y="83"/>
                  </a:cubicBezTo>
                  <a:close/>
                  <a:moveTo>
                    <a:pt x="31" y="95"/>
                  </a:moveTo>
                  <a:cubicBezTo>
                    <a:pt x="32" y="92"/>
                    <a:pt x="35" y="95"/>
                    <a:pt x="34" y="97"/>
                  </a:cubicBezTo>
                  <a:cubicBezTo>
                    <a:pt x="32" y="98"/>
                    <a:pt x="31" y="97"/>
                    <a:pt x="31" y="95"/>
                  </a:cubicBezTo>
                  <a:close/>
                  <a:moveTo>
                    <a:pt x="26" y="69"/>
                  </a:moveTo>
                  <a:cubicBezTo>
                    <a:pt x="25" y="69"/>
                    <a:pt x="25" y="67"/>
                    <a:pt x="25" y="66"/>
                  </a:cubicBezTo>
                  <a:cubicBezTo>
                    <a:pt x="26" y="64"/>
                    <a:pt x="28" y="69"/>
                    <a:pt x="26" y="69"/>
                  </a:cubicBezTo>
                  <a:close/>
                  <a:moveTo>
                    <a:pt x="55" y="128"/>
                  </a:moveTo>
                  <a:cubicBezTo>
                    <a:pt x="57" y="126"/>
                    <a:pt x="58" y="126"/>
                    <a:pt x="58" y="128"/>
                  </a:cubicBezTo>
                  <a:cubicBezTo>
                    <a:pt x="60" y="128"/>
                    <a:pt x="58" y="129"/>
                    <a:pt x="55" y="128"/>
                  </a:cubicBezTo>
                  <a:close/>
                  <a:moveTo>
                    <a:pt x="14" y="34"/>
                  </a:moveTo>
                  <a:cubicBezTo>
                    <a:pt x="13" y="36"/>
                    <a:pt x="13" y="33"/>
                    <a:pt x="13" y="34"/>
                  </a:cubicBezTo>
                  <a:cubicBezTo>
                    <a:pt x="11" y="34"/>
                    <a:pt x="11" y="36"/>
                    <a:pt x="11" y="36"/>
                  </a:cubicBezTo>
                  <a:cubicBezTo>
                    <a:pt x="13" y="38"/>
                    <a:pt x="9" y="36"/>
                    <a:pt x="13" y="38"/>
                  </a:cubicBezTo>
                  <a:cubicBezTo>
                    <a:pt x="14" y="38"/>
                    <a:pt x="9" y="38"/>
                    <a:pt x="11" y="39"/>
                  </a:cubicBezTo>
                  <a:cubicBezTo>
                    <a:pt x="13" y="41"/>
                    <a:pt x="13" y="39"/>
                    <a:pt x="14" y="39"/>
                  </a:cubicBezTo>
                  <a:cubicBezTo>
                    <a:pt x="14" y="39"/>
                    <a:pt x="14" y="39"/>
                    <a:pt x="14" y="38"/>
                  </a:cubicBezTo>
                  <a:cubicBezTo>
                    <a:pt x="16" y="38"/>
                    <a:pt x="17" y="38"/>
                    <a:pt x="16" y="38"/>
                  </a:cubicBezTo>
                  <a:cubicBezTo>
                    <a:pt x="16" y="36"/>
                    <a:pt x="17" y="36"/>
                    <a:pt x="17" y="36"/>
                  </a:cubicBezTo>
                  <a:cubicBezTo>
                    <a:pt x="16" y="36"/>
                    <a:pt x="17" y="36"/>
                    <a:pt x="17" y="34"/>
                  </a:cubicBezTo>
                  <a:cubicBezTo>
                    <a:pt x="17" y="33"/>
                    <a:pt x="17" y="34"/>
                    <a:pt x="19" y="34"/>
                  </a:cubicBezTo>
                  <a:cubicBezTo>
                    <a:pt x="20" y="33"/>
                    <a:pt x="17" y="34"/>
                    <a:pt x="17" y="33"/>
                  </a:cubicBezTo>
                  <a:cubicBezTo>
                    <a:pt x="19" y="33"/>
                    <a:pt x="19" y="31"/>
                    <a:pt x="19" y="30"/>
                  </a:cubicBezTo>
                  <a:cubicBezTo>
                    <a:pt x="19" y="30"/>
                    <a:pt x="16" y="31"/>
                    <a:pt x="14" y="33"/>
                  </a:cubicBezTo>
                  <a:cubicBezTo>
                    <a:pt x="13" y="33"/>
                    <a:pt x="14" y="34"/>
                    <a:pt x="14" y="34"/>
                  </a:cubicBezTo>
                  <a:close/>
                  <a:moveTo>
                    <a:pt x="11" y="42"/>
                  </a:moveTo>
                  <a:cubicBezTo>
                    <a:pt x="13" y="41"/>
                    <a:pt x="11" y="41"/>
                    <a:pt x="11" y="41"/>
                  </a:cubicBezTo>
                  <a:cubicBezTo>
                    <a:pt x="9" y="41"/>
                    <a:pt x="9" y="41"/>
                    <a:pt x="8" y="41"/>
                  </a:cubicBezTo>
                  <a:cubicBezTo>
                    <a:pt x="8" y="42"/>
                    <a:pt x="11" y="44"/>
                    <a:pt x="11" y="42"/>
                  </a:cubicBezTo>
                  <a:close/>
                  <a:moveTo>
                    <a:pt x="9" y="48"/>
                  </a:moveTo>
                  <a:cubicBezTo>
                    <a:pt x="11" y="48"/>
                    <a:pt x="9" y="47"/>
                    <a:pt x="9" y="47"/>
                  </a:cubicBezTo>
                  <a:cubicBezTo>
                    <a:pt x="11" y="45"/>
                    <a:pt x="11" y="45"/>
                    <a:pt x="9" y="45"/>
                  </a:cubicBezTo>
                  <a:cubicBezTo>
                    <a:pt x="8" y="44"/>
                    <a:pt x="8" y="48"/>
                    <a:pt x="9" y="48"/>
                  </a:cubicBezTo>
                  <a:close/>
                  <a:moveTo>
                    <a:pt x="16" y="45"/>
                  </a:moveTo>
                  <a:cubicBezTo>
                    <a:pt x="17" y="45"/>
                    <a:pt x="16" y="45"/>
                    <a:pt x="17" y="47"/>
                  </a:cubicBezTo>
                  <a:cubicBezTo>
                    <a:pt x="17" y="48"/>
                    <a:pt x="19" y="47"/>
                    <a:pt x="20" y="47"/>
                  </a:cubicBezTo>
                  <a:cubicBezTo>
                    <a:pt x="22" y="47"/>
                    <a:pt x="19" y="48"/>
                    <a:pt x="20" y="50"/>
                  </a:cubicBezTo>
                  <a:cubicBezTo>
                    <a:pt x="22" y="47"/>
                    <a:pt x="22" y="47"/>
                    <a:pt x="22" y="47"/>
                  </a:cubicBezTo>
                  <a:cubicBezTo>
                    <a:pt x="23" y="45"/>
                    <a:pt x="22" y="47"/>
                    <a:pt x="20" y="45"/>
                  </a:cubicBezTo>
                  <a:cubicBezTo>
                    <a:pt x="19" y="45"/>
                    <a:pt x="19" y="41"/>
                    <a:pt x="17" y="41"/>
                  </a:cubicBezTo>
                  <a:cubicBezTo>
                    <a:pt x="17" y="41"/>
                    <a:pt x="17" y="42"/>
                    <a:pt x="17" y="44"/>
                  </a:cubicBezTo>
                  <a:cubicBezTo>
                    <a:pt x="16" y="42"/>
                    <a:pt x="16" y="42"/>
                    <a:pt x="16" y="42"/>
                  </a:cubicBezTo>
                  <a:cubicBezTo>
                    <a:pt x="14" y="42"/>
                    <a:pt x="16" y="44"/>
                    <a:pt x="16" y="44"/>
                  </a:cubicBezTo>
                  <a:cubicBezTo>
                    <a:pt x="16" y="44"/>
                    <a:pt x="13" y="44"/>
                    <a:pt x="14" y="45"/>
                  </a:cubicBezTo>
                  <a:cubicBezTo>
                    <a:pt x="16" y="45"/>
                    <a:pt x="16" y="44"/>
                    <a:pt x="16" y="45"/>
                  </a:cubicBezTo>
                  <a:close/>
                  <a:moveTo>
                    <a:pt x="19" y="58"/>
                  </a:moveTo>
                  <a:cubicBezTo>
                    <a:pt x="19" y="58"/>
                    <a:pt x="17" y="58"/>
                    <a:pt x="17" y="59"/>
                  </a:cubicBezTo>
                  <a:cubicBezTo>
                    <a:pt x="17" y="59"/>
                    <a:pt x="20" y="58"/>
                    <a:pt x="22" y="58"/>
                  </a:cubicBezTo>
                  <a:cubicBezTo>
                    <a:pt x="23" y="58"/>
                    <a:pt x="22" y="56"/>
                    <a:pt x="20" y="56"/>
                  </a:cubicBezTo>
                  <a:cubicBezTo>
                    <a:pt x="19" y="55"/>
                    <a:pt x="19" y="53"/>
                    <a:pt x="17" y="55"/>
                  </a:cubicBezTo>
                  <a:cubicBezTo>
                    <a:pt x="17" y="56"/>
                    <a:pt x="17" y="56"/>
                    <a:pt x="19" y="56"/>
                  </a:cubicBezTo>
                  <a:cubicBezTo>
                    <a:pt x="20" y="56"/>
                    <a:pt x="19" y="56"/>
                    <a:pt x="19" y="58"/>
                  </a:cubicBezTo>
                  <a:close/>
                  <a:moveTo>
                    <a:pt x="17" y="66"/>
                  </a:moveTo>
                  <a:cubicBezTo>
                    <a:pt x="19" y="67"/>
                    <a:pt x="17" y="67"/>
                    <a:pt x="17" y="67"/>
                  </a:cubicBezTo>
                  <a:cubicBezTo>
                    <a:pt x="17" y="69"/>
                    <a:pt x="19" y="67"/>
                    <a:pt x="19" y="67"/>
                  </a:cubicBezTo>
                  <a:cubicBezTo>
                    <a:pt x="20" y="66"/>
                    <a:pt x="19" y="66"/>
                    <a:pt x="19" y="64"/>
                  </a:cubicBezTo>
                  <a:cubicBezTo>
                    <a:pt x="19" y="62"/>
                    <a:pt x="17" y="64"/>
                    <a:pt x="17" y="64"/>
                  </a:cubicBezTo>
                  <a:cubicBezTo>
                    <a:pt x="17" y="62"/>
                    <a:pt x="14" y="66"/>
                    <a:pt x="16" y="66"/>
                  </a:cubicBezTo>
                  <a:cubicBezTo>
                    <a:pt x="17" y="67"/>
                    <a:pt x="17" y="64"/>
                    <a:pt x="17" y="66"/>
                  </a:cubicBezTo>
                  <a:close/>
                  <a:moveTo>
                    <a:pt x="20" y="64"/>
                  </a:moveTo>
                  <a:cubicBezTo>
                    <a:pt x="19" y="62"/>
                    <a:pt x="20" y="61"/>
                    <a:pt x="22" y="61"/>
                  </a:cubicBezTo>
                  <a:cubicBezTo>
                    <a:pt x="23" y="59"/>
                    <a:pt x="20" y="66"/>
                    <a:pt x="20" y="64"/>
                  </a:cubicBezTo>
                  <a:close/>
                  <a:moveTo>
                    <a:pt x="41" y="27"/>
                  </a:moveTo>
                  <a:cubicBezTo>
                    <a:pt x="41" y="27"/>
                    <a:pt x="40" y="25"/>
                    <a:pt x="41" y="25"/>
                  </a:cubicBezTo>
                  <a:cubicBezTo>
                    <a:pt x="41" y="25"/>
                    <a:pt x="43" y="27"/>
                    <a:pt x="41" y="27"/>
                  </a:cubicBezTo>
                  <a:close/>
                  <a:moveTo>
                    <a:pt x="44" y="25"/>
                  </a:moveTo>
                  <a:cubicBezTo>
                    <a:pt x="44" y="27"/>
                    <a:pt x="46" y="25"/>
                    <a:pt x="46" y="24"/>
                  </a:cubicBezTo>
                  <a:cubicBezTo>
                    <a:pt x="46" y="24"/>
                    <a:pt x="44" y="25"/>
                    <a:pt x="44" y="24"/>
                  </a:cubicBezTo>
                  <a:cubicBezTo>
                    <a:pt x="44" y="24"/>
                    <a:pt x="43" y="25"/>
                    <a:pt x="43" y="24"/>
                  </a:cubicBezTo>
                  <a:cubicBezTo>
                    <a:pt x="44" y="22"/>
                    <a:pt x="43" y="22"/>
                    <a:pt x="43" y="22"/>
                  </a:cubicBezTo>
                  <a:cubicBezTo>
                    <a:pt x="41" y="22"/>
                    <a:pt x="40" y="24"/>
                    <a:pt x="41" y="24"/>
                  </a:cubicBezTo>
                  <a:cubicBezTo>
                    <a:pt x="43" y="25"/>
                    <a:pt x="43" y="24"/>
                    <a:pt x="44" y="25"/>
                  </a:cubicBezTo>
                  <a:close/>
                  <a:moveTo>
                    <a:pt x="44" y="27"/>
                  </a:moveTo>
                  <a:cubicBezTo>
                    <a:pt x="44" y="25"/>
                    <a:pt x="44" y="27"/>
                    <a:pt x="44" y="27"/>
                  </a:cubicBezTo>
                  <a:cubicBezTo>
                    <a:pt x="43" y="27"/>
                    <a:pt x="43" y="27"/>
                    <a:pt x="44" y="27"/>
                  </a:cubicBezTo>
                  <a:close/>
                  <a:moveTo>
                    <a:pt x="46" y="21"/>
                  </a:moveTo>
                  <a:cubicBezTo>
                    <a:pt x="47" y="21"/>
                    <a:pt x="47" y="19"/>
                    <a:pt x="47" y="21"/>
                  </a:cubicBezTo>
                  <a:cubicBezTo>
                    <a:pt x="46" y="21"/>
                    <a:pt x="46" y="19"/>
                    <a:pt x="46" y="21"/>
                  </a:cubicBezTo>
                  <a:cubicBezTo>
                    <a:pt x="46" y="22"/>
                    <a:pt x="46" y="21"/>
                    <a:pt x="46" y="21"/>
                  </a:cubicBezTo>
                  <a:close/>
                  <a:moveTo>
                    <a:pt x="46" y="22"/>
                  </a:moveTo>
                  <a:cubicBezTo>
                    <a:pt x="46" y="21"/>
                    <a:pt x="47" y="22"/>
                    <a:pt x="47" y="22"/>
                  </a:cubicBezTo>
                  <a:cubicBezTo>
                    <a:pt x="46" y="24"/>
                    <a:pt x="46" y="24"/>
                    <a:pt x="46" y="22"/>
                  </a:cubicBezTo>
                  <a:close/>
                  <a:moveTo>
                    <a:pt x="43" y="19"/>
                  </a:moveTo>
                  <a:cubicBezTo>
                    <a:pt x="44" y="19"/>
                    <a:pt x="44" y="21"/>
                    <a:pt x="44" y="21"/>
                  </a:cubicBezTo>
                  <a:cubicBezTo>
                    <a:pt x="44" y="21"/>
                    <a:pt x="43" y="21"/>
                    <a:pt x="43" y="19"/>
                  </a:cubicBezTo>
                  <a:close/>
                  <a:moveTo>
                    <a:pt x="58" y="11"/>
                  </a:moveTo>
                  <a:cubicBezTo>
                    <a:pt x="58" y="10"/>
                    <a:pt x="58" y="10"/>
                    <a:pt x="58" y="8"/>
                  </a:cubicBezTo>
                  <a:cubicBezTo>
                    <a:pt x="58" y="8"/>
                    <a:pt x="58" y="8"/>
                    <a:pt x="60" y="5"/>
                  </a:cubicBezTo>
                  <a:cubicBezTo>
                    <a:pt x="60" y="3"/>
                    <a:pt x="58" y="7"/>
                    <a:pt x="58" y="5"/>
                  </a:cubicBezTo>
                  <a:cubicBezTo>
                    <a:pt x="58" y="5"/>
                    <a:pt x="58" y="3"/>
                    <a:pt x="58" y="5"/>
                  </a:cubicBezTo>
                  <a:cubicBezTo>
                    <a:pt x="57" y="7"/>
                    <a:pt x="57" y="5"/>
                    <a:pt x="57" y="3"/>
                  </a:cubicBezTo>
                  <a:cubicBezTo>
                    <a:pt x="58" y="2"/>
                    <a:pt x="53" y="5"/>
                    <a:pt x="55" y="5"/>
                  </a:cubicBezTo>
                  <a:cubicBezTo>
                    <a:pt x="55" y="5"/>
                    <a:pt x="57" y="5"/>
                    <a:pt x="57" y="7"/>
                  </a:cubicBezTo>
                  <a:cubicBezTo>
                    <a:pt x="57" y="7"/>
                    <a:pt x="53" y="7"/>
                    <a:pt x="53" y="8"/>
                  </a:cubicBezTo>
                  <a:cubicBezTo>
                    <a:pt x="53" y="10"/>
                    <a:pt x="55" y="8"/>
                    <a:pt x="55" y="8"/>
                  </a:cubicBezTo>
                  <a:cubicBezTo>
                    <a:pt x="57" y="10"/>
                    <a:pt x="57" y="8"/>
                    <a:pt x="57" y="8"/>
                  </a:cubicBezTo>
                  <a:cubicBezTo>
                    <a:pt x="58" y="10"/>
                    <a:pt x="55" y="11"/>
                    <a:pt x="57" y="13"/>
                  </a:cubicBezTo>
                  <a:cubicBezTo>
                    <a:pt x="58" y="14"/>
                    <a:pt x="58" y="11"/>
                    <a:pt x="58" y="11"/>
                  </a:cubicBezTo>
                  <a:close/>
                  <a:moveTo>
                    <a:pt x="60" y="3"/>
                  </a:moveTo>
                  <a:cubicBezTo>
                    <a:pt x="60" y="2"/>
                    <a:pt x="60" y="2"/>
                    <a:pt x="60" y="2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60" y="5"/>
                    <a:pt x="58" y="3"/>
                    <a:pt x="60" y="3"/>
                  </a:cubicBezTo>
                  <a:close/>
                  <a:moveTo>
                    <a:pt x="60" y="2"/>
                  </a:moveTo>
                  <a:cubicBezTo>
                    <a:pt x="60" y="0"/>
                    <a:pt x="60" y="0"/>
                    <a:pt x="61" y="0"/>
                  </a:cubicBezTo>
                  <a:cubicBezTo>
                    <a:pt x="61" y="0"/>
                    <a:pt x="61" y="2"/>
                    <a:pt x="60" y="2"/>
                  </a:cubicBezTo>
                  <a:close/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81" name="Freeform 202">
              <a:extLst>
                <a:ext uri="{FF2B5EF4-FFF2-40B4-BE49-F238E27FC236}">
                  <a16:creationId xmlns:a16="http://schemas.microsoft.com/office/drawing/2014/main" id="{F664C019-61B7-AFBB-265C-D781F7FE2D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49402" y="2645941"/>
              <a:ext cx="12854" cy="9640"/>
            </a:xfrm>
            <a:custGeom>
              <a:avLst/>
              <a:gdLst/>
              <a:ahLst/>
              <a:cxnLst>
                <a:cxn ang="0">
                  <a:pos x="1" y="3"/>
                </a:cxn>
                <a:cxn ang="0">
                  <a:pos x="1" y="0"/>
                </a:cxn>
                <a:cxn ang="0">
                  <a:pos x="3" y="1"/>
                </a:cxn>
                <a:cxn ang="0">
                  <a:pos x="1" y="3"/>
                </a:cxn>
              </a:cxnLst>
              <a:rect l="0" t="0" r="r" b="b"/>
              <a:pathLst>
                <a:path w="4" h="3">
                  <a:moveTo>
                    <a:pt x="1" y="3"/>
                  </a:moveTo>
                  <a:cubicBezTo>
                    <a:pt x="1" y="1"/>
                    <a:pt x="0" y="0"/>
                    <a:pt x="1" y="0"/>
                  </a:cubicBezTo>
                  <a:cubicBezTo>
                    <a:pt x="1" y="0"/>
                    <a:pt x="1" y="0"/>
                    <a:pt x="3" y="1"/>
                  </a:cubicBezTo>
                  <a:cubicBezTo>
                    <a:pt x="4" y="1"/>
                    <a:pt x="3" y="3"/>
                    <a:pt x="1" y="3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82" name="Freeform 203">
              <a:extLst>
                <a:ext uri="{FF2B5EF4-FFF2-40B4-BE49-F238E27FC236}">
                  <a16:creationId xmlns:a16="http://schemas.microsoft.com/office/drawing/2014/main" id="{1328A3CA-DD73-F0E6-C7DA-EB66A198B8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65470" y="2655582"/>
              <a:ext cx="6427" cy="9640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2" y="3"/>
                </a:cxn>
                <a:cxn ang="0">
                  <a:pos x="0" y="3"/>
                </a:cxn>
                <a:cxn ang="0">
                  <a:pos x="0" y="1"/>
                </a:cxn>
              </a:cxnLst>
              <a:rect l="0" t="0" r="r" b="b"/>
              <a:pathLst>
                <a:path w="2" h="3">
                  <a:moveTo>
                    <a:pt x="0" y="1"/>
                  </a:moveTo>
                  <a:cubicBezTo>
                    <a:pt x="0" y="0"/>
                    <a:pt x="2" y="1"/>
                    <a:pt x="2" y="3"/>
                  </a:cubicBezTo>
                  <a:cubicBezTo>
                    <a:pt x="2" y="3"/>
                    <a:pt x="2" y="3"/>
                    <a:pt x="0" y="3"/>
                  </a:cubicBezTo>
                  <a:cubicBezTo>
                    <a:pt x="0" y="1"/>
                    <a:pt x="0" y="1"/>
                    <a:pt x="0" y="1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83" name="Freeform 204">
              <a:extLst>
                <a:ext uri="{FF2B5EF4-FFF2-40B4-BE49-F238E27FC236}">
                  <a16:creationId xmlns:a16="http://schemas.microsoft.com/office/drawing/2014/main" id="{6E8B28C6-5E2F-9310-EA97-2ECE3EB0D1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62257" y="2671650"/>
              <a:ext cx="9641" cy="1124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0"/>
                </a:cxn>
                <a:cxn ang="0">
                  <a:pos x="3" y="3"/>
                </a:cxn>
                <a:cxn ang="0">
                  <a:pos x="1" y="3"/>
                </a:cxn>
                <a:cxn ang="0">
                  <a:pos x="0" y="0"/>
                </a:cxn>
              </a:cxnLst>
              <a:rect l="0" t="0" r="r" b="b"/>
              <a:pathLst>
                <a:path w="3" h="4">
                  <a:moveTo>
                    <a:pt x="0" y="0"/>
                  </a:moveTo>
                  <a:cubicBezTo>
                    <a:pt x="1" y="0"/>
                    <a:pt x="0" y="0"/>
                    <a:pt x="1" y="0"/>
                  </a:cubicBezTo>
                  <a:cubicBezTo>
                    <a:pt x="3" y="1"/>
                    <a:pt x="1" y="3"/>
                    <a:pt x="3" y="3"/>
                  </a:cubicBezTo>
                  <a:cubicBezTo>
                    <a:pt x="3" y="3"/>
                    <a:pt x="3" y="4"/>
                    <a:pt x="1" y="3"/>
                  </a:cubicBezTo>
                  <a:cubicBezTo>
                    <a:pt x="1" y="1"/>
                    <a:pt x="0" y="0"/>
                    <a:pt x="0" y="0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84" name="Freeform 205">
              <a:extLst>
                <a:ext uri="{FF2B5EF4-FFF2-40B4-BE49-F238E27FC236}">
                  <a16:creationId xmlns:a16="http://schemas.microsoft.com/office/drawing/2014/main" id="{51051CF6-D3A2-0531-3DC8-11801F6B40C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59043" y="2639515"/>
              <a:ext cx="12854" cy="19281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0"/>
                </a:cxn>
                <a:cxn ang="0">
                  <a:pos x="1" y="2"/>
                </a:cxn>
                <a:cxn ang="0">
                  <a:pos x="3" y="3"/>
                </a:cxn>
                <a:cxn ang="0">
                  <a:pos x="3" y="5"/>
                </a:cxn>
                <a:cxn ang="0">
                  <a:pos x="0" y="2"/>
                </a:cxn>
              </a:cxnLst>
              <a:rect l="0" t="0" r="r" b="b"/>
              <a:pathLst>
                <a:path w="4" h="6">
                  <a:moveTo>
                    <a:pt x="0" y="2"/>
                  </a:moveTo>
                  <a:cubicBezTo>
                    <a:pt x="0" y="2"/>
                    <a:pt x="0" y="2"/>
                    <a:pt x="0" y="0"/>
                  </a:cubicBezTo>
                  <a:cubicBezTo>
                    <a:pt x="0" y="0"/>
                    <a:pt x="0" y="0"/>
                    <a:pt x="1" y="2"/>
                  </a:cubicBezTo>
                  <a:cubicBezTo>
                    <a:pt x="1" y="3"/>
                    <a:pt x="1" y="2"/>
                    <a:pt x="3" y="3"/>
                  </a:cubicBezTo>
                  <a:cubicBezTo>
                    <a:pt x="4" y="5"/>
                    <a:pt x="4" y="6"/>
                    <a:pt x="3" y="5"/>
                  </a:cubicBezTo>
                  <a:cubicBezTo>
                    <a:pt x="1" y="2"/>
                    <a:pt x="1" y="3"/>
                    <a:pt x="0" y="2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85" name="Freeform 206">
              <a:extLst>
                <a:ext uri="{FF2B5EF4-FFF2-40B4-BE49-F238E27FC236}">
                  <a16:creationId xmlns:a16="http://schemas.microsoft.com/office/drawing/2014/main" id="{4A925A70-6E84-ED02-833F-570E10B3A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62257" y="2639515"/>
              <a:ext cx="12854" cy="9640"/>
            </a:xfrm>
            <a:custGeom>
              <a:avLst/>
              <a:gdLst/>
              <a:ahLst/>
              <a:cxnLst>
                <a:cxn ang="0">
                  <a:pos x="1" y="3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1" y="3"/>
                </a:cxn>
              </a:cxnLst>
              <a:rect l="0" t="0" r="r" b="b"/>
              <a:pathLst>
                <a:path w="4" h="3">
                  <a:moveTo>
                    <a:pt x="1" y="3"/>
                  </a:moveTo>
                  <a:cubicBezTo>
                    <a:pt x="1" y="2"/>
                    <a:pt x="0" y="2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0" y="0"/>
                    <a:pt x="1" y="0"/>
                  </a:cubicBezTo>
                  <a:cubicBezTo>
                    <a:pt x="3" y="0"/>
                    <a:pt x="1" y="2"/>
                    <a:pt x="3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4" y="3"/>
                    <a:pt x="3" y="3"/>
                    <a:pt x="1" y="3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86" name="Freeform 207">
              <a:extLst>
                <a:ext uri="{FF2B5EF4-FFF2-40B4-BE49-F238E27FC236}">
                  <a16:creationId xmlns:a16="http://schemas.microsoft.com/office/drawing/2014/main" id="{275F99E1-2A97-D89D-1AAC-2CA60D3B68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71898" y="2636301"/>
              <a:ext cx="8034" cy="9640"/>
            </a:xfrm>
            <a:custGeom>
              <a:avLst/>
              <a:gdLst/>
              <a:ahLst/>
              <a:cxnLst>
                <a:cxn ang="0">
                  <a:pos x="1" y="3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3"/>
                </a:cxn>
                <a:cxn ang="0">
                  <a:pos x="1" y="3"/>
                </a:cxn>
              </a:cxnLst>
              <a:rect l="0" t="0" r="r" b="b"/>
              <a:pathLst>
                <a:path w="3" h="3">
                  <a:moveTo>
                    <a:pt x="1" y="3"/>
                  </a:moveTo>
                  <a:cubicBezTo>
                    <a:pt x="0" y="3"/>
                    <a:pt x="1" y="1"/>
                    <a:pt x="1" y="1"/>
                  </a:cubicBezTo>
                  <a:cubicBezTo>
                    <a:pt x="0" y="0"/>
                    <a:pt x="1" y="1"/>
                    <a:pt x="1" y="1"/>
                  </a:cubicBezTo>
                  <a:cubicBezTo>
                    <a:pt x="1" y="3"/>
                    <a:pt x="3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87" name="Freeform 208">
              <a:extLst>
                <a:ext uri="{FF2B5EF4-FFF2-40B4-BE49-F238E27FC236}">
                  <a16:creationId xmlns:a16="http://schemas.microsoft.com/office/drawing/2014/main" id="{8232F100-7949-B632-F011-D926FE3DE6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71898" y="2636301"/>
              <a:ext cx="3213" cy="9640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0" y="0"/>
                </a:cxn>
                <a:cxn ang="0">
                  <a:pos x="0" y="1"/>
                </a:cxn>
              </a:cxnLst>
              <a:rect l="0" t="0" r="r" b="b"/>
              <a:pathLst>
                <a:path w="1" h="3">
                  <a:moveTo>
                    <a:pt x="0" y="1"/>
                  </a:moveTo>
                  <a:cubicBezTo>
                    <a:pt x="0" y="3"/>
                    <a:pt x="0" y="1"/>
                    <a:pt x="0" y="0"/>
                  </a:cubicBezTo>
                  <a:cubicBezTo>
                    <a:pt x="0" y="0"/>
                    <a:pt x="1" y="1"/>
                    <a:pt x="0" y="1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88" name="Freeform 209">
              <a:extLst>
                <a:ext uri="{FF2B5EF4-FFF2-40B4-BE49-F238E27FC236}">
                  <a16:creationId xmlns:a16="http://schemas.microsoft.com/office/drawing/2014/main" id="{1C04BEE4-ED7E-E0DF-4331-4335D453C0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199593" y="3348092"/>
              <a:ext cx="342245" cy="273148"/>
            </a:xfrm>
            <a:custGeom>
              <a:avLst/>
              <a:gdLst/>
              <a:ahLst/>
              <a:cxnLst>
                <a:cxn ang="0">
                  <a:pos x="3" y="16"/>
                </a:cxn>
                <a:cxn ang="0">
                  <a:pos x="2" y="11"/>
                </a:cxn>
                <a:cxn ang="0">
                  <a:pos x="8" y="6"/>
                </a:cxn>
                <a:cxn ang="0">
                  <a:pos x="11" y="2"/>
                </a:cxn>
                <a:cxn ang="0">
                  <a:pos x="22" y="3"/>
                </a:cxn>
                <a:cxn ang="0">
                  <a:pos x="32" y="3"/>
                </a:cxn>
                <a:cxn ang="0">
                  <a:pos x="49" y="5"/>
                </a:cxn>
                <a:cxn ang="0">
                  <a:pos x="57" y="5"/>
                </a:cxn>
                <a:cxn ang="0">
                  <a:pos x="61" y="5"/>
                </a:cxn>
                <a:cxn ang="0">
                  <a:pos x="64" y="8"/>
                </a:cxn>
                <a:cxn ang="0">
                  <a:pos x="71" y="11"/>
                </a:cxn>
                <a:cxn ang="0">
                  <a:pos x="75" y="12"/>
                </a:cxn>
                <a:cxn ang="0">
                  <a:pos x="80" y="12"/>
                </a:cxn>
                <a:cxn ang="0">
                  <a:pos x="87" y="14"/>
                </a:cxn>
                <a:cxn ang="0">
                  <a:pos x="89" y="16"/>
                </a:cxn>
                <a:cxn ang="0">
                  <a:pos x="95" y="16"/>
                </a:cxn>
                <a:cxn ang="0">
                  <a:pos x="100" y="16"/>
                </a:cxn>
                <a:cxn ang="0">
                  <a:pos x="101" y="20"/>
                </a:cxn>
                <a:cxn ang="0">
                  <a:pos x="93" y="28"/>
                </a:cxn>
                <a:cxn ang="0">
                  <a:pos x="81" y="33"/>
                </a:cxn>
                <a:cxn ang="0">
                  <a:pos x="81" y="37"/>
                </a:cxn>
                <a:cxn ang="0">
                  <a:pos x="74" y="52"/>
                </a:cxn>
                <a:cxn ang="0">
                  <a:pos x="77" y="58"/>
                </a:cxn>
                <a:cxn ang="0">
                  <a:pos x="69" y="69"/>
                </a:cxn>
                <a:cxn ang="0">
                  <a:pos x="66" y="70"/>
                </a:cxn>
                <a:cxn ang="0">
                  <a:pos x="57" y="78"/>
                </a:cxn>
                <a:cxn ang="0">
                  <a:pos x="46" y="80"/>
                </a:cxn>
                <a:cxn ang="0">
                  <a:pos x="40" y="81"/>
                </a:cxn>
                <a:cxn ang="0">
                  <a:pos x="34" y="83"/>
                </a:cxn>
                <a:cxn ang="0">
                  <a:pos x="31" y="86"/>
                </a:cxn>
                <a:cxn ang="0">
                  <a:pos x="28" y="86"/>
                </a:cxn>
                <a:cxn ang="0">
                  <a:pos x="23" y="78"/>
                </a:cxn>
                <a:cxn ang="0">
                  <a:pos x="16" y="73"/>
                </a:cxn>
                <a:cxn ang="0">
                  <a:pos x="19" y="66"/>
                </a:cxn>
                <a:cxn ang="0">
                  <a:pos x="19" y="62"/>
                </a:cxn>
                <a:cxn ang="0">
                  <a:pos x="19" y="56"/>
                </a:cxn>
                <a:cxn ang="0">
                  <a:pos x="17" y="52"/>
                </a:cxn>
                <a:cxn ang="0">
                  <a:pos x="17" y="47"/>
                </a:cxn>
                <a:cxn ang="0">
                  <a:pos x="20" y="42"/>
                </a:cxn>
                <a:cxn ang="0">
                  <a:pos x="20" y="33"/>
                </a:cxn>
                <a:cxn ang="0">
                  <a:pos x="25" y="25"/>
                </a:cxn>
                <a:cxn ang="0">
                  <a:pos x="20" y="20"/>
                </a:cxn>
                <a:cxn ang="0">
                  <a:pos x="14" y="22"/>
                </a:cxn>
                <a:cxn ang="0">
                  <a:pos x="10" y="22"/>
                </a:cxn>
                <a:cxn ang="0">
                  <a:pos x="11" y="19"/>
                </a:cxn>
                <a:cxn ang="0">
                  <a:pos x="5" y="22"/>
                </a:cxn>
                <a:cxn ang="0">
                  <a:pos x="3" y="16"/>
                </a:cxn>
                <a:cxn ang="0">
                  <a:pos x="97" y="48"/>
                </a:cxn>
                <a:cxn ang="0">
                  <a:pos x="98" y="52"/>
                </a:cxn>
                <a:cxn ang="0">
                  <a:pos x="103" y="47"/>
                </a:cxn>
                <a:cxn ang="0">
                  <a:pos x="101" y="45"/>
                </a:cxn>
                <a:cxn ang="0">
                  <a:pos x="95" y="48"/>
                </a:cxn>
                <a:cxn ang="0">
                  <a:pos x="97" y="48"/>
                </a:cxn>
                <a:cxn ang="0">
                  <a:pos x="109" y="44"/>
                </a:cxn>
                <a:cxn ang="0">
                  <a:pos x="109" y="44"/>
                </a:cxn>
                <a:cxn ang="0">
                  <a:pos x="106" y="44"/>
                </a:cxn>
                <a:cxn ang="0">
                  <a:pos x="109" y="44"/>
                </a:cxn>
                <a:cxn ang="0">
                  <a:pos x="87" y="53"/>
                </a:cxn>
                <a:cxn ang="0">
                  <a:pos x="84" y="56"/>
                </a:cxn>
                <a:cxn ang="0">
                  <a:pos x="87" y="53"/>
                </a:cxn>
              </a:cxnLst>
              <a:rect l="0" t="0" r="r" b="b"/>
              <a:pathLst>
                <a:path w="110" h="88">
                  <a:moveTo>
                    <a:pt x="3" y="16"/>
                  </a:moveTo>
                  <a:cubicBezTo>
                    <a:pt x="2" y="12"/>
                    <a:pt x="3" y="11"/>
                    <a:pt x="2" y="11"/>
                  </a:cubicBezTo>
                  <a:cubicBezTo>
                    <a:pt x="0" y="9"/>
                    <a:pt x="3" y="6"/>
                    <a:pt x="8" y="6"/>
                  </a:cubicBezTo>
                  <a:cubicBezTo>
                    <a:pt x="11" y="6"/>
                    <a:pt x="8" y="3"/>
                    <a:pt x="11" y="2"/>
                  </a:cubicBezTo>
                  <a:cubicBezTo>
                    <a:pt x="16" y="0"/>
                    <a:pt x="16" y="3"/>
                    <a:pt x="22" y="3"/>
                  </a:cubicBezTo>
                  <a:cubicBezTo>
                    <a:pt x="28" y="3"/>
                    <a:pt x="28" y="2"/>
                    <a:pt x="32" y="3"/>
                  </a:cubicBezTo>
                  <a:cubicBezTo>
                    <a:pt x="40" y="6"/>
                    <a:pt x="43" y="3"/>
                    <a:pt x="49" y="5"/>
                  </a:cubicBezTo>
                  <a:cubicBezTo>
                    <a:pt x="54" y="6"/>
                    <a:pt x="52" y="3"/>
                    <a:pt x="57" y="5"/>
                  </a:cubicBezTo>
                  <a:cubicBezTo>
                    <a:pt x="58" y="6"/>
                    <a:pt x="60" y="5"/>
                    <a:pt x="61" y="5"/>
                  </a:cubicBezTo>
                  <a:cubicBezTo>
                    <a:pt x="63" y="6"/>
                    <a:pt x="64" y="5"/>
                    <a:pt x="64" y="8"/>
                  </a:cubicBezTo>
                  <a:cubicBezTo>
                    <a:pt x="64" y="9"/>
                    <a:pt x="69" y="8"/>
                    <a:pt x="71" y="11"/>
                  </a:cubicBezTo>
                  <a:cubicBezTo>
                    <a:pt x="71" y="12"/>
                    <a:pt x="74" y="11"/>
                    <a:pt x="75" y="12"/>
                  </a:cubicBezTo>
                  <a:cubicBezTo>
                    <a:pt x="77" y="14"/>
                    <a:pt x="77" y="11"/>
                    <a:pt x="80" y="12"/>
                  </a:cubicBezTo>
                  <a:cubicBezTo>
                    <a:pt x="83" y="12"/>
                    <a:pt x="78" y="8"/>
                    <a:pt x="87" y="14"/>
                  </a:cubicBezTo>
                  <a:cubicBezTo>
                    <a:pt x="87" y="16"/>
                    <a:pt x="89" y="16"/>
                    <a:pt x="89" y="16"/>
                  </a:cubicBezTo>
                  <a:cubicBezTo>
                    <a:pt x="93" y="17"/>
                    <a:pt x="93" y="16"/>
                    <a:pt x="95" y="16"/>
                  </a:cubicBezTo>
                  <a:cubicBezTo>
                    <a:pt x="98" y="17"/>
                    <a:pt x="97" y="16"/>
                    <a:pt x="100" y="16"/>
                  </a:cubicBezTo>
                  <a:cubicBezTo>
                    <a:pt x="104" y="19"/>
                    <a:pt x="100" y="17"/>
                    <a:pt x="101" y="20"/>
                  </a:cubicBezTo>
                  <a:cubicBezTo>
                    <a:pt x="103" y="23"/>
                    <a:pt x="93" y="25"/>
                    <a:pt x="93" y="28"/>
                  </a:cubicBezTo>
                  <a:cubicBezTo>
                    <a:pt x="92" y="30"/>
                    <a:pt x="83" y="30"/>
                    <a:pt x="81" y="33"/>
                  </a:cubicBezTo>
                  <a:cubicBezTo>
                    <a:pt x="81" y="36"/>
                    <a:pt x="86" y="34"/>
                    <a:pt x="81" y="37"/>
                  </a:cubicBezTo>
                  <a:cubicBezTo>
                    <a:pt x="78" y="37"/>
                    <a:pt x="72" y="47"/>
                    <a:pt x="74" y="52"/>
                  </a:cubicBezTo>
                  <a:cubicBezTo>
                    <a:pt x="74" y="56"/>
                    <a:pt x="77" y="56"/>
                    <a:pt x="77" y="58"/>
                  </a:cubicBezTo>
                  <a:cubicBezTo>
                    <a:pt x="77" y="58"/>
                    <a:pt x="68" y="62"/>
                    <a:pt x="69" y="69"/>
                  </a:cubicBezTo>
                  <a:cubicBezTo>
                    <a:pt x="69" y="70"/>
                    <a:pt x="69" y="70"/>
                    <a:pt x="66" y="70"/>
                  </a:cubicBezTo>
                  <a:cubicBezTo>
                    <a:pt x="60" y="70"/>
                    <a:pt x="60" y="81"/>
                    <a:pt x="57" y="78"/>
                  </a:cubicBezTo>
                  <a:cubicBezTo>
                    <a:pt x="55" y="77"/>
                    <a:pt x="51" y="81"/>
                    <a:pt x="46" y="80"/>
                  </a:cubicBezTo>
                  <a:cubicBezTo>
                    <a:pt x="43" y="78"/>
                    <a:pt x="40" y="80"/>
                    <a:pt x="40" y="81"/>
                  </a:cubicBezTo>
                  <a:cubicBezTo>
                    <a:pt x="38" y="83"/>
                    <a:pt x="35" y="81"/>
                    <a:pt x="34" y="83"/>
                  </a:cubicBezTo>
                  <a:cubicBezTo>
                    <a:pt x="32" y="86"/>
                    <a:pt x="32" y="86"/>
                    <a:pt x="31" y="86"/>
                  </a:cubicBezTo>
                  <a:cubicBezTo>
                    <a:pt x="31" y="88"/>
                    <a:pt x="31" y="88"/>
                    <a:pt x="28" y="86"/>
                  </a:cubicBezTo>
                  <a:cubicBezTo>
                    <a:pt x="25" y="83"/>
                    <a:pt x="23" y="81"/>
                    <a:pt x="23" y="78"/>
                  </a:cubicBezTo>
                  <a:cubicBezTo>
                    <a:pt x="23" y="77"/>
                    <a:pt x="20" y="72"/>
                    <a:pt x="16" y="73"/>
                  </a:cubicBezTo>
                  <a:cubicBezTo>
                    <a:pt x="16" y="72"/>
                    <a:pt x="16" y="67"/>
                    <a:pt x="19" y="66"/>
                  </a:cubicBezTo>
                  <a:cubicBezTo>
                    <a:pt x="22" y="62"/>
                    <a:pt x="20" y="62"/>
                    <a:pt x="19" y="62"/>
                  </a:cubicBezTo>
                  <a:cubicBezTo>
                    <a:pt x="17" y="62"/>
                    <a:pt x="16" y="61"/>
                    <a:pt x="19" y="56"/>
                  </a:cubicBezTo>
                  <a:cubicBezTo>
                    <a:pt x="22" y="52"/>
                    <a:pt x="19" y="55"/>
                    <a:pt x="17" y="52"/>
                  </a:cubicBezTo>
                  <a:cubicBezTo>
                    <a:pt x="17" y="47"/>
                    <a:pt x="14" y="47"/>
                    <a:pt x="17" y="47"/>
                  </a:cubicBezTo>
                  <a:cubicBezTo>
                    <a:pt x="20" y="47"/>
                    <a:pt x="20" y="45"/>
                    <a:pt x="20" y="42"/>
                  </a:cubicBezTo>
                  <a:cubicBezTo>
                    <a:pt x="19" y="41"/>
                    <a:pt x="22" y="41"/>
                    <a:pt x="20" y="33"/>
                  </a:cubicBezTo>
                  <a:cubicBezTo>
                    <a:pt x="20" y="31"/>
                    <a:pt x="29" y="25"/>
                    <a:pt x="25" y="25"/>
                  </a:cubicBezTo>
                  <a:cubicBezTo>
                    <a:pt x="22" y="23"/>
                    <a:pt x="25" y="22"/>
                    <a:pt x="20" y="20"/>
                  </a:cubicBezTo>
                  <a:cubicBezTo>
                    <a:pt x="16" y="20"/>
                    <a:pt x="19" y="23"/>
                    <a:pt x="14" y="22"/>
                  </a:cubicBezTo>
                  <a:cubicBezTo>
                    <a:pt x="11" y="20"/>
                    <a:pt x="11" y="23"/>
                    <a:pt x="10" y="22"/>
                  </a:cubicBezTo>
                  <a:cubicBezTo>
                    <a:pt x="8" y="22"/>
                    <a:pt x="13" y="20"/>
                    <a:pt x="11" y="19"/>
                  </a:cubicBezTo>
                  <a:cubicBezTo>
                    <a:pt x="10" y="19"/>
                    <a:pt x="10" y="19"/>
                    <a:pt x="5" y="22"/>
                  </a:cubicBezTo>
                  <a:cubicBezTo>
                    <a:pt x="3" y="20"/>
                    <a:pt x="5" y="17"/>
                    <a:pt x="3" y="16"/>
                  </a:cubicBezTo>
                  <a:close/>
                  <a:moveTo>
                    <a:pt x="97" y="48"/>
                  </a:moveTo>
                  <a:cubicBezTo>
                    <a:pt x="98" y="48"/>
                    <a:pt x="97" y="50"/>
                    <a:pt x="98" y="52"/>
                  </a:cubicBezTo>
                  <a:cubicBezTo>
                    <a:pt x="101" y="52"/>
                    <a:pt x="101" y="48"/>
                    <a:pt x="103" y="47"/>
                  </a:cubicBezTo>
                  <a:cubicBezTo>
                    <a:pt x="104" y="44"/>
                    <a:pt x="101" y="47"/>
                    <a:pt x="101" y="45"/>
                  </a:cubicBezTo>
                  <a:cubicBezTo>
                    <a:pt x="100" y="42"/>
                    <a:pt x="93" y="47"/>
                    <a:pt x="95" y="48"/>
                  </a:cubicBezTo>
                  <a:cubicBezTo>
                    <a:pt x="95" y="48"/>
                    <a:pt x="93" y="48"/>
                    <a:pt x="97" y="48"/>
                  </a:cubicBezTo>
                  <a:close/>
                  <a:moveTo>
                    <a:pt x="109" y="44"/>
                  </a:moveTo>
                  <a:cubicBezTo>
                    <a:pt x="109" y="45"/>
                    <a:pt x="110" y="45"/>
                    <a:pt x="109" y="44"/>
                  </a:cubicBezTo>
                  <a:cubicBezTo>
                    <a:pt x="109" y="42"/>
                    <a:pt x="106" y="42"/>
                    <a:pt x="106" y="44"/>
                  </a:cubicBezTo>
                  <a:cubicBezTo>
                    <a:pt x="106" y="44"/>
                    <a:pt x="107" y="44"/>
                    <a:pt x="109" y="44"/>
                  </a:cubicBezTo>
                  <a:close/>
                  <a:moveTo>
                    <a:pt x="87" y="53"/>
                  </a:moveTo>
                  <a:cubicBezTo>
                    <a:pt x="89" y="55"/>
                    <a:pt x="86" y="56"/>
                    <a:pt x="84" y="56"/>
                  </a:cubicBezTo>
                  <a:cubicBezTo>
                    <a:pt x="84" y="55"/>
                    <a:pt x="86" y="52"/>
                    <a:pt x="87" y="53"/>
                  </a:cubicBezTo>
                  <a:close/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89" name="Freeform 210">
              <a:extLst>
                <a:ext uri="{FF2B5EF4-FFF2-40B4-BE49-F238E27FC236}">
                  <a16:creationId xmlns:a16="http://schemas.microsoft.com/office/drawing/2014/main" id="{0069BAD6-E392-86BC-0B13-AF946CC1FA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327997" y="4177177"/>
              <a:ext cx="241017" cy="457924"/>
            </a:xfrm>
            <a:custGeom>
              <a:avLst/>
              <a:gdLst/>
              <a:ahLst/>
              <a:cxnLst>
                <a:cxn ang="0">
                  <a:pos x="38" y="38"/>
                </a:cxn>
                <a:cxn ang="0">
                  <a:pos x="56" y="52"/>
                </a:cxn>
                <a:cxn ang="0">
                  <a:pos x="59" y="78"/>
                </a:cxn>
                <a:cxn ang="0">
                  <a:pos x="62" y="84"/>
                </a:cxn>
                <a:cxn ang="0">
                  <a:pos x="64" y="81"/>
                </a:cxn>
                <a:cxn ang="0">
                  <a:pos x="58" y="72"/>
                </a:cxn>
                <a:cxn ang="0">
                  <a:pos x="48" y="95"/>
                </a:cxn>
                <a:cxn ang="0">
                  <a:pos x="47" y="78"/>
                </a:cxn>
                <a:cxn ang="0">
                  <a:pos x="42" y="91"/>
                </a:cxn>
                <a:cxn ang="0">
                  <a:pos x="45" y="80"/>
                </a:cxn>
                <a:cxn ang="0">
                  <a:pos x="53" y="66"/>
                </a:cxn>
                <a:cxn ang="0">
                  <a:pos x="50" y="66"/>
                </a:cxn>
                <a:cxn ang="0">
                  <a:pos x="68" y="80"/>
                </a:cxn>
                <a:cxn ang="0">
                  <a:pos x="53" y="77"/>
                </a:cxn>
                <a:cxn ang="0">
                  <a:pos x="55" y="81"/>
                </a:cxn>
                <a:cxn ang="0">
                  <a:pos x="50" y="87"/>
                </a:cxn>
                <a:cxn ang="0">
                  <a:pos x="59" y="89"/>
                </a:cxn>
                <a:cxn ang="0">
                  <a:pos x="55" y="87"/>
                </a:cxn>
                <a:cxn ang="0">
                  <a:pos x="41" y="114"/>
                </a:cxn>
                <a:cxn ang="0">
                  <a:pos x="47" y="111"/>
                </a:cxn>
                <a:cxn ang="0">
                  <a:pos x="53" y="109"/>
                </a:cxn>
                <a:cxn ang="0">
                  <a:pos x="56" y="123"/>
                </a:cxn>
                <a:cxn ang="0">
                  <a:pos x="67" y="130"/>
                </a:cxn>
                <a:cxn ang="0">
                  <a:pos x="68" y="114"/>
                </a:cxn>
                <a:cxn ang="0">
                  <a:pos x="71" y="119"/>
                </a:cxn>
                <a:cxn ang="0">
                  <a:pos x="74" y="109"/>
                </a:cxn>
                <a:cxn ang="0">
                  <a:pos x="73" y="97"/>
                </a:cxn>
                <a:cxn ang="0">
                  <a:pos x="67" y="94"/>
                </a:cxn>
                <a:cxn ang="0">
                  <a:pos x="58" y="103"/>
                </a:cxn>
                <a:cxn ang="0">
                  <a:pos x="50" y="100"/>
                </a:cxn>
                <a:cxn ang="0">
                  <a:pos x="42" y="106"/>
                </a:cxn>
                <a:cxn ang="0">
                  <a:pos x="41" y="122"/>
                </a:cxn>
                <a:cxn ang="0">
                  <a:pos x="33" y="126"/>
                </a:cxn>
                <a:cxn ang="0">
                  <a:pos x="52" y="97"/>
                </a:cxn>
                <a:cxn ang="0">
                  <a:pos x="61" y="97"/>
                </a:cxn>
                <a:cxn ang="0">
                  <a:pos x="39" y="61"/>
                </a:cxn>
                <a:cxn ang="0">
                  <a:pos x="38" y="53"/>
                </a:cxn>
                <a:cxn ang="0">
                  <a:pos x="42" y="63"/>
                </a:cxn>
                <a:cxn ang="0">
                  <a:pos x="50" y="61"/>
                </a:cxn>
                <a:cxn ang="0">
                  <a:pos x="52" y="61"/>
                </a:cxn>
                <a:cxn ang="0">
                  <a:pos x="23" y="81"/>
                </a:cxn>
                <a:cxn ang="0">
                  <a:pos x="67" y="73"/>
                </a:cxn>
                <a:cxn ang="0">
                  <a:pos x="59" y="67"/>
                </a:cxn>
                <a:cxn ang="0">
                  <a:pos x="68" y="77"/>
                </a:cxn>
                <a:cxn ang="0">
                  <a:pos x="70" y="87"/>
                </a:cxn>
                <a:cxn ang="0">
                  <a:pos x="47" y="77"/>
                </a:cxn>
                <a:cxn ang="0">
                  <a:pos x="39" y="70"/>
                </a:cxn>
                <a:cxn ang="0">
                  <a:pos x="35" y="63"/>
                </a:cxn>
                <a:cxn ang="0">
                  <a:pos x="27" y="56"/>
                </a:cxn>
                <a:cxn ang="0">
                  <a:pos x="11" y="94"/>
                </a:cxn>
                <a:cxn ang="0">
                  <a:pos x="20" y="73"/>
                </a:cxn>
                <a:cxn ang="0">
                  <a:pos x="7" y="94"/>
                </a:cxn>
                <a:cxn ang="0">
                  <a:pos x="53" y="56"/>
                </a:cxn>
                <a:cxn ang="0">
                  <a:pos x="47" y="50"/>
                </a:cxn>
                <a:cxn ang="0">
                  <a:pos x="36" y="41"/>
                </a:cxn>
                <a:cxn ang="0">
                  <a:pos x="42" y="19"/>
                </a:cxn>
                <a:cxn ang="0">
                  <a:pos x="26" y="8"/>
                </a:cxn>
                <a:cxn ang="0">
                  <a:pos x="21" y="28"/>
                </a:cxn>
                <a:cxn ang="0">
                  <a:pos x="29" y="41"/>
                </a:cxn>
                <a:cxn ang="0">
                  <a:pos x="35" y="49"/>
                </a:cxn>
                <a:cxn ang="0">
                  <a:pos x="45" y="52"/>
                </a:cxn>
                <a:cxn ang="0">
                  <a:pos x="56" y="59"/>
                </a:cxn>
                <a:cxn ang="0">
                  <a:pos x="77" y="142"/>
                </a:cxn>
              </a:cxnLst>
              <a:rect l="0" t="0" r="r" b="b"/>
              <a:pathLst>
                <a:path w="77" h="147">
                  <a:moveTo>
                    <a:pt x="38" y="38"/>
                  </a:moveTo>
                  <a:cubicBezTo>
                    <a:pt x="38" y="36"/>
                    <a:pt x="38" y="38"/>
                    <a:pt x="39" y="39"/>
                  </a:cubicBezTo>
                  <a:cubicBezTo>
                    <a:pt x="39" y="41"/>
                    <a:pt x="38" y="42"/>
                    <a:pt x="38" y="41"/>
                  </a:cubicBezTo>
                  <a:cubicBezTo>
                    <a:pt x="38" y="38"/>
                    <a:pt x="36" y="38"/>
                    <a:pt x="38" y="38"/>
                  </a:cubicBezTo>
                  <a:close/>
                  <a:moveTo>
                    <a:pt x="58" y="50"/>
                  </a:moveTo>
                  <a:cubicBezTo>
                    <a:pt x="58" y="49"/>
                    <a:pt x="58" y="49"/>
                    <a:pt x="58" y="49"/>
                  </a:cubicBezTo>
                  <a:cubicBezTo>
                    <a:pt x="56" y="47"/>
                    <a:pt x="55" y="45"/>
                    <a:pt x="56" y="49"/>
                  </a:cubicBezTo>
                  <a:cubicBezTo>
                    <a:pt x="56" y="52"/>
                    <a:pt x="55" y="50"/>
                    <a:pt x="56" y="52"/>
                  </a:cubicBezTo>
                  <a:cubicBezTo>
                    <a:pt x="56" y="53"/>
                    <a:pt x="58" y="52"/>
                    <a:pt x="58" y="50"/>
                  </a:cubicBezTo>
                  <a:close/>
                  <a:moveTo>
                    <a:pt x="58" y="75"/>
                  </a:moveTo>
                  <a:cubicBezTo>
                    <a:pt x="58" y="77"/>
                    <a:pt x="59" y="77"/>
                    <a:pt x="58" y="78"/>
                  </a:cubicBezTo>
                  <a:cubicBezTo>
                    <a:pt x="56" y="78"/>
                    <a:pt x="59" y="80"/>
                    <a:pt x="59" y="78"/>
                  </a:cubicBezTo>
                  <a:cubicBezTo>
                    <a:pt x="59" y="77"/>
                    <a:pt x="62" y="80"/>
                    <a:pt x="61" y="81"/>
                  </a:cubicBezTo>
                  <a:cubicBezTo>
                    <a:pt x="59" y="83"/>
                    <a:pt x="61" y="83"/>
                    <a:pt x="61" y="84"/>
                  </a:cubicBezTo>
                  <a:cubicBezTo>
                    <a:pt x="61" y="86"/>
                    <a:pt x="61" y="86"/>
                    <a:pt x="62" y="86"/>
                  </a:cubicBezTo>
                  <a:cubicBezTo>
                    <a:pt x="64" y="87"/>
                    <a:pt x="62" y="84"/>
                    <a:pt x="62" y="84"/>
                  </a:cubicBezTo>
                  <a:cubicBezTo>
                    <a:pt x="64" y="84"/>
                    <a:pt x="64" y="86"/>
                    <a:pt x="64" y="87"/>
                  </a:cubicBezTo>
                  <a:cubicBezTo>
                    <a:pt x="65" y="89"/>
                    <a:pt x="65" y="87"/>
                    <a:pt x="64" y="86"/>
                  </a:cubicBezTo>
                  <a:cubicBezTo>
                    <a:pt x="64" y="84"/>
                    <a:pt x="67" y="84"/>
                    <a:pt x="65" y="83"/>
                  </a:cubicBezTo>
                  <a:cubicBezTo>
                    <a:pt x="64" y="83"/>
                    <a:pt x="65" y="81"/>
                    <a:pt x="64" y="81"/>
                  </a:cubicBezTo>
                  <a:cubicBezTo>
                    <a:pt x="62" y="80"/>
                    <a:pt x="64" y="75"/>
                    <a:pt x="62" y="75"/>
                  </a:cubicBezTo>
                  <a:cubicBezTo>
                    <a:pt x="62" y="75"/>
                    <a:pt x="64" y="73"/>
                    <a:pt x="62" y="73"/>
                  </a:cubicBezTo>
                  <a:cubicBezTo>
                    <a:pt x="61" y="73"/>
                    <a:pt x="61" y="75"/>
                    <a:pt x="59" y="73"/>
                  </a:cubicBezTo>
                  <a:cubicBezTo>
                    <a:pt x="58" y="72"/>
                    <a:pt x="58" y="72"/>
                    <a:pt x="58" y="72"/>
                  </a:cubicBezTo>
                  <a:cubicBezTo>
                    <a:pt x="56" y="73"/>
                    <a:pt x="58" y="75"/>
                    <a:pt x="58" y="75"/>
                  </a:cubicBezTo>
                  <a:close/>
                  <a:moveTo>
                    <a:pt x="42" y="91"/>
                  </a:moveTo>
                  <a:cubicBezTo>
                    <a:pt x="44" y="94"/>
                    <a:pt x="45" y="92"/>
                    <a:pt x="45" y="95"/>
                  </a:cubicBezTo>
                  <a:cubicBezTo>
                    <a:pt x="47" y="98"/>
                    <a:pt x="48" y="97"/>
                    <a:pt x="48" y="95"/>
                  </a:cubicBezTo>
                  <a:cubicBezTo>
                    <a:pt x="50" y="94"/>
                    <a:pt x="47" y="91"/>
                    <a:pt x="48" y="87"/>
                  </a:cubicBezTo>
                  <a:cubicBezTo>
                    <a:pt x="50" y="86"/>
                    <a:pt x="48" y="86"/>
                    <a:pt x="50" y="83"/>
                  </a:cubicBezTo>
                  <a:cubicBezTo>
                    <a:pt x="52" y="81"/>
                    <a:pt x="52" y="78"/>
                    <a:pt x="50" y="78"/>
                  </a:cubicBezTo>
                  <a:cubicBezTo>
                    <a:pt x="48" y="78"/>
                    <a:pt x="48" y="77"/>
                    <a:pt x="47" y="78"/>
                  </a:cubicBezTo>
                  <a:cubicBezTo>
                    <a:pt x="45" y="80"/>
                    <a:pt x="47" y="81"/>
                    <a:pt x="45" y="81"/>
                  </a:cubicBezTo>
                  <a:cubicBezTo>
                    <a:pt x="44" y="83"/>
                    <a:pt x="47" y="86"/>
                    <a:pt x="45" y="87"/>
                  </a:cubicBezTo>
                  <a:cubicBezTo>
                    <a:pt x="42" y="89"/>
                    <a:pt x="42" y="86"/>
                    <a:pt x="42" y="89"/>
                  </a:cubicBezTo>
                  <a:cubicBezTo>
                    <a:pt x="42" y="91"/>
                    <a:pt x="42" y="91"/>
                    <a:pt x="42" y="91"/>
                  </a:cubicBezTo>
                  <a:close/>
                  <a:moveTo>
                    <a:pt x="45" y="80"/>
                  </a:moveTo>
                  <a:cubicBezTo>
                    <a:pt x="44" y="80"/>
                    <a:pt x="42" y="81"/>
                    <a:pt x="44" y="81"/>
                  </a:cubicBezTo>
                  <a:cubicBezTo>
                    <a:pt x="44" y="83"/>
                    <a:pt x="42" y="83"/>
                    <a:pt x="44" y="83"/>
                  </a:cubicBezTo>
                  <a:cubicBezTo>
                    <a:pt x="44" y="84"/>
                    <a:pt x="45" y="81"/>
                    <a:pt x="45" y="80"/>
                  </a:cubicBezTo>
                  <a:close/>
                  <a:moveTo>
                    <a:pt x="50" y="66"/>
                  </a:moveTo>
                  <a:cubicBezTo>
                    <a:pt x="52" y="64"/>
                    <a:pt x="52" y="69"/>
                    <a:pt x="53" y="69"/>
                  </a:cubicBezTo>
                  <a:cubicBezTo>
                    <a:pt x="55" y="69"/>
                    <a:pt x="56" y="72"/>
                    <a:pt x="56" y="70"/>
                  </a:cubicBezTo>
                  <a:cubicBezTo>
                    <a:pt x="55" y="67"/>
                    <a:pt x="55" y="66"/>
                    <a:pt x="53" y="66"/>
                  </a:cubicBezTo>
                  <a:cubicBezTo>
                    <a:pt x="52" y="64"/>
                    <a:pt x="52" y="63"/>
                    <a:pt x="50" y="63"/>
                  </a:cubicBezTo>
                  <a:cubicBezTo>
                    <a:pt x="50" y="63"/>
                    <a:pt x="48" y="61"/>
                    <a:pt x="48" y="63"/>
                  </a:cubicBezTo>
                  <a:cubicBezTo>
                    <a:pt x="48" y="64"/>
                    <a:pt x="48" y="66"/>
                    <a:pt x="48" y="69"/>
                  </a:cubicBezTo>
                  <a:cubicBezTo>
                    <a:pt x="47" y="69"/>
                    <a:pt x="50" y="67"/>
                    <a:pt x="50" y="66"/>
                  </a:cubicBezTo>
                  <a:close/>
                  <a:moveTo>
                    <a:pt x="59" y="70"/>
                  </a:moveTo>
                  <a:cubicBezTo>
                    <a:pt x="59" y="70"/>
                    <a:pt x="61" y="73"/>
                    <a:pt x="59" y="72"/>
                  </a:cubicBezTo>
                  <a:cubicBezTo>
                    <a:pt x="58" y="72"/>
                    <a:pt x="58" y="70"/>
                    <a:pt x="59" y="70"/>
                  </a:cubicBezTo>
                  <a:close/>
                  <a:moveTo>
                    <a:pt x="68" y="80"/>
                  </a:moveTo>
                  <a:cubicBezTo>
                    <a:pt x="68" y="80"/>
                    <a:pt x="70" y="80"/>
                    <a:pt x="68" y="80"/>
                  </a:cubicBezTo>
                  <a:cubicBezTo>
                    <a:pt x="68" y="81"/>
                    <a:pt x="68" y="80"/>
                    <a:pt x="68" y="80"/>
                  </a:cubicBezTo>
                  <a:close/>
                  <a:moveTo>
                    <a:pt x="53" y="75"/>
                  </a:moveTo>
                  <a:cubicBezTo>
                    <a:pt x="53" y="73"/>
                    <a:pt x="53" y="77"/>
                    <a:pt x="53" y="77"/>
                  </a:cubicBezTo>
                  <a:cubicBezTo>
                    <a:pt x="53" y="77"/>
                    <a:pt x="52" y="75"/>
                    <a:pt x="53" y="75"/>
                  </a:cubicBezTo>
                  <a:close/>
                  <a:moveTo>
                    <a:pt x="52" y="91"/>
                  </a:moveTo>
                  <a:cubicBezTo>
                    <a:pt x="52" y="87"/>
                    <a:pt x="52" y="89"/>
                    <a:pt x="52" y="87"/>
                  </a:cubicBezTo>
                  <a:cubicBezTo>
                    <a:pt x="52" y="84"/>
                    <a:pt x="56" y="84"/>
                    <a:pt x="55" y="81"/>
                  </a:cubicBezTo>
                  <a:cubicBezTo>
                    <a:pt x="55" y="80"/>
                    <a:pt x="56" y="80"/>
                    <a:pt x="56" y="78"/>
                  </a:cubicBezTo>
                  <a:cubicBezTo>
                    <a:pt x="55" y="77"/>
                    <a:pt x="56" y="72"/>
                    <a:pt x="55" y="77"/>
                  </a:cubicBezTo>
                  <a:cubicBezTo>
                    <a:pt x="53" y="80"/>
                    <a:pt x="53" y="78"/>
                    <a:pt x="53" y="81"/>
                  </a:cubicBezTo>
                  <a:cubicBezTo>
                    <a:pt x="52" y="84"/>
                    <a:pt x="50" y="86"/>
                    <a:pt x="50" y="87"/>
                  </a:cubicBezTo>
                  <a:cubicBezTo>
                    <a:pt x="50" y="89"/>
                    <a:pt x="50" y="89"/>
                    <a:pt x="50" y="92"/>
                  </a:cubicBezTo>
                  <a:cubicBezTo>
                    <a:pt x="50" y="94"/>
                    <a:pt x="50" y="92"/>
                    <a:pt x="52" y="91"/>
                  </a:cubicBezTo>
                  <a:close/>
                  <a:moveTo>
                    <a:pt x="58" y="91"/>
                  </a:moveTo>
                  <a:cubicBezTo>
                    <a:pt x="59" y="89"/>
                    <a:pt x="59" y="91"/>
                    <a:pt x="59" y="89"/>
                  </a:cubicBezTo>
                  <a:cubicBezTo>
                    <a:pt x="59" y="87"/>
                    <a:pt x="61" y="86"/>
                    <a:pt x="59" y="86"/>
                  </a:cubicBezTo>
                  <a:cubicBezTo>
                    <a:pt x="59" y="86"/>
                    <a:pt x="59" y="87"/>
                    <a:pt x="58" y="86"/>
                  </a:cubicBezTo>
                  <a:cubicBezTo>
                    <a:pt x="58" y="86"/>
                    <a:pt x="56" y="84"/>
                    <a:pt x="56" y="86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3" y="87"/>
                    <a:pt x="53" y="89"/>
                    <a:pt x="53" y="91"/>
                  </a:cubicBezTo>
                  <a:cubicBezTo>
                    <a:pt x="55" y="92"/>
                    <a:pt x="58" y="91"/>
                    <a:pt x="58" y="91"/>
                  </a:cubicBezTo>
                  <a:close/>
                  <a:moveTo>
                    <a:pt x="39" y="117"/>
                  </a:moveTo>
                  <a:cubicBezTo>
                    <a:pt x="41" y="119"/>
                    <a:pt x="41" y="116"/>
                    <a:pt x="41" y="114"/>
                  </a:cubicBezTo>
                  <a:cubicBezTo>
                    <a:pt x="42" y="112"/>
                    <a:pt x="41" y="112"/>
                    <a:pt x="42" y="112"/>
                  </a:cubicBezTo>
                  <a:cubicBezTo>
                    <a:pt x="44" y="111"/>
                    <a:pt x="42" y="111"/>
                    <a:pt x="44" y="109"/>
                  </a:cubicBezTo>
                  <a:cubicBezTo>
                    <a:pt x="45" y="108"/>
                    <a:pt x="45" y="109"/>
                    <a:pt x="45" y="111"/>
                  </a:cubicBezTo>
                  <a:cubicBezTo>
                    <a:pt x="44" y="112"/>
                    <a:pt x="47" y="112"/>
                    <a:pt x="47" y="111"/>
                  </a:cubicBezTo>
                  <a:cubicBezTo>
                    <a:pt x="48" y="108"/>
                    <a:pt x="47" y="112"/>
                    <a:pt x="48" y="112"/>
                  </a:cubicBezTo>
                  <a:cubicBezTo>
                    <a:pt x="50" y="112"/>
                    <a:pt x="52" y="114"/>
                    <a:pt x="50" y="112"/>
                  </a:cubicBezTo>
                  <a:cubicBezTo>
                    <a:pt x="50" y="111"/>
                    <a:pt x="52" y="109"/>
                    <a:pt x="50" y="109"/>
                  </a:cubicBezTo>
                  <a:cubicBezTo>
                    <a:pt x="50" y="109"/>
                    <a:pt x="52" y="108"/>
                    <a:pt x="53" y="109"/>
                  </a:cubicBezTo>
                  <a:cubicBezTo>
                    <a:pt x="53" y="111"/>
                    <a:pt x="55" y="109"/>
                    <a:pt x="56" y="111"/>
                  </a:cubicBezTo>
                  <a:cubicBezTo>
                    <a:pt x="56" y="114"/>
                    <a:pt x="56" y="112"/>
                    <a:pt x="56" y="114"/>
                  </a:cubicBezTo>
                  <a:cubicBezTo>
                    <a:pt x="56" y="114"/>
                    <a:pt x="53" y="116"/>
                    <a:pt x="55" y="119"/>
                  </a:cubicBezTo>
                  <a:cubicBezTo>
                    <a:pt x="55" y="120"/>
                    <a:pt x="55" y="123"/>
                    <a:pt x="56" y="123"/>
                  </a:cubicBezTo>
                  <a:cubicBezTo>
                    <a:pt x="58" y="125"/>
                    <a:pt x="55" y="125"/>
                    <a:pt x="58" y="126"/>
                  </a:cubicBezTo>
                  <a:cubicBezTo>
                    <a:pt x="61" y="128"/>
                    <a:pt x="62" y="130"/>
                    <a:pt x="64" y="126"/>
                  </a:cubicBezTo>
                  <a:cubicBezTo>
                    <a:pt x="64" y="125"/>
                    <a:pt x="65" y="125"/>
                    <a:pt x="65" y="126"/>
                  </a:cubicBezTo>
                  <a:cubicBezTo>
                    <a:pt x="64" y="128"/>
                    <a:pt x="65" y="133"/>
                    <a:pt x="67" y="130"/>
                  </a:cubicBezTo>
                  <a:cubicBezTo>
                    <a:pt x="68" y="128"/>
                    <a:pt x="68" y="125"/>
                    <a:pt x="68" y="123"/>
                  </a:cubicBezTo>
                  <a:cubicBezTo>
                    <a:pt x="67" y="122"/>
                    <a:pt x="67" y="120"/>
                    <a:pt x="67" y="120"/>
                  </a:cubicBezTo>
                  <a:cubicBezTo>
                    <a:pt x="65" y="120"/>
                    <a:pt x="65" y="117"/>
                    <a:pt x="67" y="117"/>
                  </a:cubicBezTo>
                  <a:cubicBezTo>
                    <a:pt x="68" y="116"/>
                    <a:pt x="67" y="114"/>
                    <a:pt x="68" y="114"/>
                  </a:cubicBezTo>
                  <a:cubicBezTo>
                    <a:pt x="70" y="112"/>
                    <a:pt x="68" y="114"/>
                    <a:pt x="70" y="116"/>
                  </a:cubicBezTo>
                  <a:cubicBezTo>
                    <a:pt x="70" y="117"/>
                    <a:pt x="70" y="117"/>
                    <a:pt x="71" y="119"/>
                  </a:cubicBezTo>
                  <a:cubicBezTo>
                    <a:pt x="71" y="120"/>
                    <a:pt x="70" y="119"/>
                    <a:pt x="71" y="123"/>
                  </a:cubicBezTo>
                  <a:cubicBezTo>
                    <a:pt x="73" y="125"/>
                    <a:pt x="73" y="122"/>
                    <a:pt x="71" y="119"/>
                  </a:cubicBezTo>
                  <a:cubicBezTo>
                    <a:pt x="71" y="116"/>
                    <a:pt x="74" y="120"/>
                    <a:pt x="73" y="117"/>
                  </a:cubicBezTo>
                  <a:cubicBezTo>
                    <a:pt x="73" y="116"/>
                    <a:pt x="74" y="119"/>
                    <a:pt x="74" y="116"/>
                  </a:cubicBezTo>
                  <a:cubicBezTo>
                    <a:pt x="76" y="114"/>
                    <a:pt x="76" y="112"/>
                    <a:pt x="74" y="111"/>
                  </a:cubicBezTo>
                  <a:cubicBezTo>
                    <a:pt x="74" y="109"/>
                    <a:pt x="74" y="109"/>
                    <a:pt x="74" y="109"/>
                  </a:cubicBezTo>
                  <a:cubicBezTo>
                    <a:pt x="73" y="108"/>
                    <a:pt x="74" y="105"/>
                    <a:pt x="74" y="105"/>
                  </a:cubicBezTo>
                  <a:cubicBezTo>
                    <a:pt x="73" y="103"/>
                    <a:pt x="74" y="101"/>
                    <a:pt x="73" y="101"/>
                  </a:cubicBezTo>
                  <a:cubicBezTo>
                    <a:pt x="71" y="101"/>
                    <a:pt x="71" y="101"/>
                    <a:pt x="71" y="100"/>
                  </a:cubicBezTo>
                  <a:cubicBezTo>
                    <a:pt x="73" y="100"/>
                    <a:pt x="74" y="98"/>
                    <a:pt x="73" y="97"/>
                  </a:cubicBezTo>
                  <a:cubicBezTo>
                    <a:pt x="71" y="95"/>
                    <a:pt x="73" y="94"/>
                    <a:pt x="71" y="94"/>
                  </a:cubicBezTo>
                  <a:cubicBezTo>
                    <a:pt x="70" y="95"/>
                    <a:pt x="71" y="92"/>
                    <a:pt x="68" y="92"/>
                  </a:cubicBezTo>
                  <a:cubicBezTo>
                    <a:pt x="67" y="91"/>
                    <a:pt x="68" y="91"/>
                    <a:pt x="67" y="89"/>
                  </a:cubicBezTo>
                  <a:cubicBezTo>
                    <a:pt x="65" y="89"/>
                    <a:pt x="65" y="89"/>
                    <a:pt x="67" y="94"/>
                  </a:cubicBezTo>
                  <a:cubicBezTo>
                    <a:pt x="68" y="98"/>
                    <a:pt x="65" y="97"/>
                    <a:pt x="65" y="97"/>
                  </a:cubicBezTo>
                  <a:cubicBezTo>
                    <a:pt x="64" y="95"/>
                    <a:pt x="65" y="100"/>
                    <a:pt x="62" y="98"/>
                  </a:cubicBezTo>
                  <a:cubicBezTo>
                    <a:pt x="61" y="95"/>
                    <a:pt x="61" y="98"/>
                    <a:pt x="61" y="101"/>
                  </a:cubicBezTo>
                  <a:cubicBezTo>
                    <a:pt x="61" y="105"/>
                    <a:pt x="58" y="98"/>
                    <a:pt x="58" y="103"/>
                  </a:cubicBezTo>
                  <a:cubicBezTo>
                    <a:pt x="56" y="106"/>
                    <a:pt x="56" y="105"/>
                    <a:pt x="55" y="106"/>
                  </a:cubicBezTo>
                  <a:cubicBezTo>
                    <a:pt x="52" y="108"/>
                    <a:pt x="55" y="106"/>
                    <a:pt x="53" y="103"/>
                  </a:cubicBezTo>
                  <a:cubicBezTo>
                    <a:pt x="53" y="101"/>
                    <a:pt x="53" y="100"/>
                    <a:pt x="52" y="101"/>
                  </a:cubicBezTo>
                  <a:cubicBezTo>
                    <a:pt x="50" y="101"/>
                    <a:pt x="52" y="100"/>
                    <a:pt x="50" y="100"/>
                  </a:cubicBezTo>
                  <a:cubicBezTo>
                    <a:pt x="50" y="100"/>
                    <a:pt x="50" y="101"/>
                    <a:pt x="48" y="101"/>
                  </a:cubicBezTo>
                  <a:cubicBezTo>
                    <a:pt x="47" y="101"/>
                    <a:pt x="45" y="103"/>
                    <a:pt x="47" y="105"/>
                  </a:cubicBezTo>
                  <a:cubicBezTo>
                    <a:pt x="45" y="106"/>
                    <a:pt x="45" y="106"/>
                    <a:pt x="45" y="106"/>
                  </a:cubicBezTo>
                  <a:cubicBezTo>
                    <a:pt x="44" y="105"/>
                    <a:pt x="44" y="106"/>
                    <a:pt x="42" y="106"/>
                  </a:cubicBezTo>
                  <a:cubicBezTo>
                    <a:pt x="41" y="106"/>
                    <a:pt x="39" y="108"/>
                    <a:pt x="39" y="109"/>
                  </a:cubicBezTo>
                  <a:cubicBezTo>
                    <a:pt x="39" y="111"/>
                    <a:pt x="39" y="112"/>
                    <a:pt x="38" y="114"/>
                  </a:cubicBezTo>
                  <a:cubicBezTo>
                    <a:pt x="38" y="116"/>
                    <a:pt x="38" y="116"/>
                    <a:pt x="39" y="117"/>
                  </a:cubicBezTo>
                  <a:close/>
                  <a:moveTo>
                    <a:pt x="41" y="122"/>
                  </a:moveTo>
                  <a:cubicBezTo>
                    <a:pt x="41" y="122"/>
                    <a:pt x="38" y="123"/>
                    <a:pt x="38" y="122"/>
                  </a:cubicBezTo>
                  <a:cubicBezTo>
                    <a:pt x="38" y="119"/>
                    <a:pt x="41" y="120"/>
                    <a:pt x="41" y="122"/>
                  </a:cubicBezTo>
                  <a:close/>
                  <a:moveTo>
                    <a:pt x="32" y="128"/>
                  </a:moveTo>
                  <a:cubicBezTo>
                    <a:pt x="33" y="128"/>
                    <a:pt x="35" y="126"/>
                    <a:pt x="33" y="126"/>
                  </a:cubicBezTo>
                  <a:cubicBezTo>
                    <a:pt x="33" y="126"/>
                    <a:pt x="32" y="123"/>
                    <a:pt x="30" y="126"/>
                  </a:cubicBezTo>
                  <a:cubicBezTo>
                    <a:pt x="29" y="128"/>
                    <a:pt x="32" y="126"/>
                    <a:pt x="32" y="128"/>
                  </a:cubicBezTo>
                  <a:close/>
                  <a:moveTo>
                    <a:pt x="50" y="95"/>
                  </a:moveTo>
                  <a:cubicBezTo>
                    <a:pt x="52" y="97"/>
                    <a:pt x="52" y="97"/>
                    <a:pt x="52" y="97"/>
                  </a:cubicBezTo>
                  <a:cubicBezTo>
                    <a:pt x="53" y="95"/>
                    <a:pt x="52" y="94"/>
                    <a:pt x="52" y="95"/>
                  </a:cubicBezTo>
                  <a:cubicBezTo>
                    <a:pt x="52" y="95"/>
                    <a:pt x="52" y="95"/>
                    <a:pt x="50" y="95"/>
                  </a:cubicBezTo>
                  <a:close/>
                  <a:moveTo>
                    <a:pt x="59" y="95"/>
                  </a:moveTo>
                  <a:cubicBezTo>
                    <a:pt x="61" y="95"/>
                    <a:pt x="62" y="95"/>
                    <a:pt x="61" y="97"/>
                  </a:cubicBezTo>
                  <a:cubicBezTo>
                    <a:pt x="59" y="95"/>
                    <a:pt x="59" y="95"/>
                    <a:pt x="59" y="95"/>
                  </a:cubicBezTo>
                  <a:close/>
                  <a:moveTo>
                    <a:pt x="38" y="64"/>
                  </a:moveTo>
                  <a:cubicBezTo>
                    <a:pt x="38" y="66"/>
                    <a:pt x="39" y="66"/>
                    <a:pt x="39" y="64"/>
                  </a:cubicBezTo>
                  <a:cubicBezTo>
                    <a:pt x="39" y="61"/>
                    <a:pt x="41" y="61"/>
                    <a:pt x="39" y="61"/>
                  </a:cubicBezTo>
                  <a:cubicBezTo>
                    <a:pt x="38" y="63"/>
                    <a:pt x="39" y="61"/>
                    <a:pt x="38" y="64"/>
                  </a:cubicBezTo>
                  <a:close/>
                  <a:moveTo>
                    <a:pt x="39" y="55"/>
                  </a:moveTo>
                  <a:cubicBezTo>
                    <a:pt x="39" y="55"/>
                    <a:pt x="41" y="53"/>
                    <a:pt x="38" y="52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5"/>
                    <a:pt x="38" y="56"/>
                    <a:pt x="39" y="55"/>
                  </a:cubicBezTo>
                  <a:close/>
                  <a:moveTo>
                    <a:pt x="42" y="64"/>
                  </a:moveTo>
                  <a:cubicBezTo>
                    <a:pt x="44" y="64"/>
                    <a:pt x="44" y="66"/>
                    <a:pt x="44" y="64"/>
                  </a:cubicBezTo>
                  <a:cubicBezTo>
                    <a:pt x="45" y="63"/>
                    <a:pt x="42" y="63"/>
                    <a:pt x="42" y="63"/>
                  </a:cubicBezTo>
                  <a:cubicBezTo>
                    <a:pt x="42" y="64"/>
                    <a:pt x="42" y="64"/>
                    <a:pt x="42" y="64"/>
                  </a:cubicBezTo>
                  <a:close/>
                  <a:moveTo>
                    <a:pt x="47" y="58"/>
                  </a:moveTo>
                  <a:cubicBezTo>
                    <a:pt x="47" y="59"/>
                    <a:pt x="47" y="59"/>
                    <a:pt x="48" y="59"/>
                  </a:cubicBezTo>
                  <a:cubicBezTo>
                    <a:pt x="48" y="59"/>
                    <a:pt x="48" y="59"/>
                    <a:pt x="50" y="61"/>
                  </a:cubicBezTo>
                  <a:cubicBezTo>
                    <a:pt x="48" y="59"/>
                    <a:pt x="48" y="59"/>
                    <a:pt x="48" y="59"/>
                  </a:cubicBezTo>
                  <a:cubicBezTo>
                    <a:pt x="48" y="58"/>
                    <a:pt x="47" y="56"/>
                    <a:pt x="47" y="56"/>
                  </a:cubicBezTo>
                  <a:cubicBezTo>
                    <a:pt x="45" y="56"/>
                    <a:pt x="45" y="58"/>
                    <a:pt x="47" y="58"/>
                  </a:cubicBezTo>
                  <a:close/>
                  <a:moveTo>
                    <a:pt x="52" y="61"/>
                  </a:moveTo>
                  <a:cubicBezTo>
                    <a:pt x="53" y="64"/>
                    <a:pt x="53" y="64"/>
                    <a:pt x="53" y="64"/>
                  </a:cubicBezTo>
                  <a:cubicBezTo>
                    <a:pt x="52" y="61"/>
                    <a:pt x="52" y="61"/>
                    <a:pt x="52" y="61"/>
                  </a:cubicBezTo>
                  <a:close/>
                  <a:moveTo>
                    <a:pt x="21" y="83"/>
                  </a:moveTo>
                  <a:cubicBezTo>
                    <a:pt x="23" y="80"/>
                    <a:pt x="24" y="81"/>
                    <a:pt x="23" y="81"/>
                  </a:cubicBezTo>
                  <a:cubicBezTo>
                    <a:pt x="23" y="83"/>
                    <a:pt x="21" y="84"/>
                    <a:pt x="21" y="83"/>
                  </a:cubicBezTo>
                  <a:close/>
                  <a:moveTo>
                    <a:pt x="68" y="77"/>
                  </a:moveTo>
                  <a:cubicBezTo>
                    <a:pt x="70" y="78"/>
                    <a:pt x="68" y="77"/>
                    <a:pt x="68" y="75"/>
                  </a:cubicBezTo>
                  <a:cubicBezTo>
                    <a:pt x="67" y="75"/>
                    <a:pt x="68" y="73"/>
                    <a:pt x="67" y="73"/>
                  </a:cubicBezTo>
                  <a:cubicBezTo>
                    <a:pt x="65" y="72"/>
                    <a:pt x="67" y="66"/>
                    <a:pt x="65" y="64"/>
                  </a:cubicBezTo>
                  <a:cubicBezTo>
                    <a:pt x="65" y="64"/>
                    <a:pt x="65" y="63"/>
                    <a:pt x="64" y="63"/>
                  </a:cubicBezTo>
                  <a:cubicBezTo>
                    <a:pt x="62" y="61"/>
                    <a:pt x="61" y="63"/>
                    <a:pt x="58" y="63"/>
                  </a:cubicBezTo>
                  <a:cubicBezTo>
                    <a:pt x="56" y="61"/>
                    <a:pt x="58" y="66"/>
                    <a:pt x="59" y="67"/>
                  </a:cubicBezTo>
                  <a:cubicBezTo>
                    <a:pt x="62" y="69"/>
                    <a:pt x="61" y="69"/>
                    <a:pt x="62" y="70"/>
                  </a:cubicBezTo>
                  <a:cubicBezTo>
                    <a:pt x="64" y="70"/>
                    <a:pt x="62" y="70"/>
                    <a:pt x="62" y="72"/>
                  </a:cubicBezTo>
                  <a:cubicBezTo>
                    <a:pt x="61" y="72"/>
                    <a:pt x="64" y="73"/>
                    <a:pt x="64" y="77"/>
                  </a:cubicBezTo>
                  <a:cubicBezTo>
                    <a:pt x="64" y="78"/>
                    <a:pt x="67" y="75"/>
                    <a:pt x="68" y="77"/>
                  </a:cubicBezTo>
                  <a:close/>
                  <a:moveTo>
                    <a:pt x="67" y="87"/>
                  </a:moveTo>
                  <a:cubicBezTo>
                    <a:pt x="65" y="86"/>
                    <a:pt x="68" y="81"/>
                    <a:pt x="68" y="83"/>
                  </a:cubicBezTo>
                  <a:cubicBezTo>
                    <a:pt x="68" y="86"/>
                    <a:pt x="70" y="91"/>
                    <a:pt x="67" y="87"/>
                  </a:cubicBezTo>
                  <a:close/>
                  <a:moveTo>
                    <a:pt x="70" y="87"/>
                  </a:moveTo>
                  <a:cubicBezTo>
                    <a:pt x="71" y="86"/>
                    <a:pt x="71" y="86"/>
                    <a:pt x="71" y="87"/>
                  </a:cubicBezTo>
                  <a:cubicBezTo>
                    <a:pt x="73" y="91"/>
                    <a:pt x="70" y="91"/>
                    <a:pt x="70" y="87"/>
                  </a:cubicBezTo>
                  <a:close/>
                  <a:moveTo>
                    <a:pt x="42" y="81"/>
                  </a:moveTo>
                  <a:cubicBezTo>
                    <a:pt x="44" y="81"/>
                    <a:pt x="45" y="78"/>
                    <a:pt x="47" y="77"/>
                  </a:cubicBezTo>
                  <a:cubicBezTo>
                    <a:pt x="48" y="75"/>
                    <a:pt x="48" y="72"/>
                    <a:pt x="47" y="72"/>
                  </a:cubicBezTo>
                  <a:cubicBezTo>
                    <a:pt x="45" y="73"/>
                    <a:pt x="45" y="70"/>
                    <a:pt x="44" y="72"/>
                  </a:cubicBezTo>
                  <a:cubicBezTo>
                    <a:pt x="44" y="73"/>
                    <a:pt x="41" y="69"/>
                    <a:pt x="39" y="69"/>
                  </a:cubicBezTo>
                  <a:cubicBezTo>
                    <a:pt x="38" y="67"/>
                    <a:pt x="36" y="69"/>
                    <a:pt x="39" y="70"/>
                  </a:cubicBezTo>
                  <a:cubicBezTo>
                    <a:pt x="41" y="72"/>
                    <a:pt x="39" y="73"/>
                    <a:pt x="39" y="77"/>
                  </a:cubicBezTo>
                  <a:cubicBezTo>
                    <a:pt x="39" y="78"/>
                    <a:pt x="38" y="77"/>
                    <a:pt x="38" y="81"/>
                  </a:cubicBezTo>
                  <a:cubicBezTo>
                    <a:pt x="38" y="86"/>
                    <a:pt x="39" y="81"/>
                    <a:pt x="42" y="81"/>
                  </a:cubicBezTo>
                  <a:close/>
                  <a:moveTo>
                    <a:pt x="35" y="63"/>
                  </a:moveTo>
                  <a:cubicBezTo>
                    <a:pt x="36" y="59"/>
                    <a:pt x="35" y="61"/>
                    <a:pt x="35" y="58"/>
                  </a:cubicBezTo>
                  <a:cubicBezTo>
                    <a:pt x="36" y="55"/>
                    <a:pt x="33" y="53"/>
                    <a:pt x="29" y="53"/>
                  </a:cubicBezTo>
                  <a:cubicBezTo>
                    <a:pt x="26" y="52"/>
                    <a:pt x="24" y="53"/>
                    <a:pt x="26" y="53"/>
                  </a:cubicBezTo>
                  <a:cubicBezTo>
                    <a:pt x="27" y="55"/>
                    <a:pt x="27" y="55"/>
                    <a:pt x="27" y="56"/>
                  </a:cubicBezTo>
                  <a:cubicBezTo>
                    <a:pt x="29" y="56"/>
                    <a:pt x="30" y="61"/>
                    <a:pt x="32" y="64"/>
                  </a:cubicBezTo>
                  <a:cubicBezTo>
                    <a:pt x="32" y="67"/>
                    <a:pt x="33" y="66"/>
                    <a:pt x="35" y="63"/>
                  </a:cubicBezTo>
                  <a:close/>
                  <a:moveTo>
                    <a:pt x="4" y="101"/>
                  </a:moveTo>
                  <a:cubicBezTo>
                    <a:pt x="4" y="100"/>
                    <a:pt x="6" y="98"/>
                    <a:pt x="11" y="94"/>
                  </a:cubicBezTo>
                  <a:cubicBezTo>
                    <a:pt x="17" y="89"/>
                    <a:pt x="12" y="89"/>
                    <a:pt x="15" y="87"/>
                  </a:cubicBezTo>
                  <a:cubicBezTo>
                    <a:pt x="18" y="87"/>
                    <a:pt x="17" y="84"/>
                    <a:pt x="18" y="84"/>
                  </a:cubicBezTo>
                  <a:cubicBezTo>
                    <a:pt x="20" y="84"/>
                    <a:pt x="21" y="83"/>
                    <a:pt x="20" y="80"/>
                  </a:cubicBezTo>
                  <a:cubicBezTo>
                    <a:pt x="20" y="78"/>
                    <a:pt x="21" y="73"/>
                    <a:pt x="20" y="73"/>
                  </a:cubicBezTo>
                  <a:cubicBezTo>
                    <a:pt x="18" y="73"/>
                    <a:pt x="18" y="78"/>
                    <a:pt x="17" y="78"/>
                  </a:cubicBezTo>
                  <a:cubicBezTo>
                    <a:pt x="15" y="78"/>
                    <a:pt x="18" y="80"/>
                    <a:pt x="17" y="83"/>
                  </a:cubicBezTo>
                  <a:cubicBezTo>
                    <a:pt x="17" y="84"/>
                    <a:pt x="17" y="81"/>
                    <a:pt x="15" y="84"/>
                  </a:cubicBezTo>
                  <a:cubicBezTo>
                    <a:pt x="14" y="87"/>
                    <a:pt x="9" y="92"/>
                    <a:pt x="7" y="94"/>
                  </a:cubicBezTo>
                  <a:cubicBezTo>
                    <a:pt x="6" y="95"/>
                    <a:pt x="3" y="98"/>
                    <a:pt x="1" y="103"/>
                  </a:cubicBezTo>
                  <a:cubicBezTo>
                    <a:pt x="0" y="105"/>
                    <a:pt x="3" y="103"/>
                    <a:pt x="4" y="101"/>
                  </a:cubicBezTo>
                  <a:close/>
                  <a:moveTo>
                    <a:pt x="56" y="59"/>
                  </a:moveTo>
                  <a:cubicBezTo>
                    <a:pt x="56" y="58"/>
                    <a:pt x="56" y="56"/>
                    <a:pt x="53" y="56"/>
                  </a:cubicBezTo>
                  <a:cubicBezTo>
                    <a:pt x="50" y="56"/>
                    <a:pt x="55" y="56"/>
                    <a:pt x="52" y="53"/>
                  </a:cubicBezTo>
                  <a:cubicBezTo>
                    <a:pt x="48" y="50"/>
                    <a:pt x="53" y="52"/>
                    <a:pt x="55" y="52"/>
                  </a:cubicBezTo>
                  <a:cubicBezTo>
                    <a:pt x="55" y="50"/>
                    <a:pt x="53" y="50"/>
                    <a:pt x="50" y="49"/>
                  </a:cubicBezTo>
                  <a:cubicBezTo>
                    <a:pt x="47" y="45"/>
                    <a:pt x="48" y="52"/>
                    <a:pt x="47" y="50"/>
                  </a:cubicBezTo>
                  <a:cubicBezTo>
                    <a:pt x="45" y="50"/>
                    <a:pt x="48" y="47"/>
                    <a:pt x="44" y="45"/>
                  </a:cubicBezTo>
                  <a:cubicBezTo>
                    <a:pt x="41" y="44"/>
                    <a:pt x="42" y="47"/>
                    <a:pt x="41" y="45"/>
                  </a:cubicBezTo>
                  <a:cubicBezTo>
                    <a:pt x="38" y="45"/>
                    <a:pt x="41" y="49"/>
                    <a:pt x="39" y="49"/>
                  </a:cubicBezTo>
                  <a:cubicBezTo>
                    <a:pt x="36" y="47"/>
                    <a:pt x="35" y="42"/>
                    <a:pt x="36" y="41"/>
                  </a:cubicBezTo>
                  <a:cubicBezTo>
                    <a:pt x="36" y="39"/>
                    <a:pt x="33" y="36"/>
                    <a:pt x="35" y="33"/>
                  </a:cubicBezTo>
                  <a:cubicBezTo>
                    <a:pt x="36" y="30"/>
                    <a:pt x="35" y="30"/>
                    <a:pt x="36" y="27"/>
                  </a:cubicBezTo>
                  <a:cubicBezTo>
                    <a:pt x="39" y="25"/>
                    <a:pt x="38" y="28"/>
                    <a:pt x="39" y="28"/>
                  </a:cubicBezTo>
                  <a:cubicBezTo>
                    <a:pt x="41" y="27"/>
                    <a:pt x="42" y="20"/>
                    <a:pt x="42" y="19"/>
                  </a:cubicBezTo>
                  <a:cubicBezTo>
                    <a:pt x="42" y="16"/>
                    <a:pt x="38" y="14"/>
                    <a:pt x="41" y="8"/>
                  </a:cubicBezTo>
                  <a:cubicBezTo>
                    <a:pt x="42" y="3"/>
                    <a:pt x="41" y="2"/>
                    <a:pt x="39" y="5"/>
                  </a:cubicBezTo>
                  <a:cubicBezTo>
                    <a:pt x="36" y="8"/>
                    <a:pt x="33" y="0"/>
                    <a:pt x="29" y="2"/>
                  </a:cubicBezTo>
                  <a:cubicBezTo>
                    <a:pt x="26" y="3"/>
                    <a:pt x="27" y="3"/>
                    <a:pt x="26" y="8"/>
                  </a:cubicBezTo>
                  <a:cubicBezTo>
                    <a:pt x="24" y="13"/>
                    <a:pt x="27" y="14"/>
                    <a:pt x="26" y="20"/>
                  </a:cubicBezTo>
                  <a:cubicBezTo>
                    <a:pt x="23" y="25"/>
                    <a:pt x="27" y="24"/>
                    <a:pt x="26" y="27"/>
                  </a:cubicBezTo>
                  <a:cubicBezTo>
                    <a:pt x="24" y="31"/>
                    <a:pt x="23" y="24"/>
                    <a:pt x="21" y="25"/>
                  </a:cubicBezTo>
                  <a:cubicBezTo>
                    <a:pt x="20" y="25"/>
                    <a:pt x="20" y="28"/>
                    <a:pt x="21" y="28"/>
                  </a:cubicBezTo>
                  <a:cubicBezTo>
                    <a:pt x="23" y="30"/>
                    <a:pt x="21" y="28"/>
                    <a:pt x="23" y="36"/>
                  </a:cubicBezTo>
                  <a:cubicBezTo>
                    <a:pt x="23" y="44"/>
                    <a:pt x="24" y="39"/>
                    <a:pt x="26" y="42"/>
                  </a:cubicBezTo>
                  <a:cubicBezTo>
                    <a:pt x="26" y="45"/>
                    <a:pt x="27" y="44"/>
                    <a:pt x="27" y="42"/>
                  </a:cubicBezTo>
                  <a:cubicBezTo>
                    <a:pt x="27" y="39"/>
                    <a:pt x="27" y="39"/>
                    <a:pt x="29" y="41"/>
                  </a:cubicBezTo>
                  <a:cubicBezTo>
                    <a:pt x="30" y="42"/>
                    <a:pt x="30" y="44"/>
                    <a:pt x="29" y="44"/>
                  </a:cubicBezTo>
                  <a:cubicBezTo>
                    <a:pt x="27" y="45"/>
                    <a:pt x="26" y="50"/>
                    <a:pt x="29" y="50"/>
                  </a:cubicBezTo>
                  <a:cubicBezTo>
                    <a:pt x="30" y="49"/>
                    <a:pt x="30" y="52"/>
                    <a:pt x="33" y="52"/>
                  </a:cubicBezTo>
                  <a:cubicBezTo>
                    <a:pt x="35" y="52"/>
                    <a:pt x="33" y="50"/>
                    <a:pt x="35" y="49"/>
                  </a:cubicBezTo>
                  <a:cubicBezTo>
                    <a:pt x="36" y="49"/>
                    <a:pt x="36" y="49"/>
                    <a:pt x="39" y="52"/>
                  </a:cubicBezTo>
                  <a:cubicBezTo>
                    <a:pt x="42" y="53"/>
                    <a:pt x="41" y="56"/>
                    <a:pt x="44" y="56"/>
                  </a:cubicBezTo>
                  <a:cubicBezTo>
                    <a:pt x="45" y="56"/>
                    <a:pt x="42" y="53"/>
                    <a:pt x="42" y="50"/>
                  </a:cubicBezTo>
                  <a:cubicBezTo>
                    <a:pt x="42" y="49"/>
                    <a:pt x="45" y="50"/>
                    <a:pt x="45" y="52"/>
                  </a:cubicBezTo>
                  <a:cubicBezTo>
                    <a:pt x="45" y="53"/>
                    <a:pt x="47" y="53"/>
                    <a:pt x="48" y="55"/>
                  </a:cubicBezTo>
                  <a:cubicBezTo>
                    <a:pt x="48" y="56"/>
                    <a:pt x="47" y="58"/>
                    <a:pt x="50" y="59"/>
                  </a:cubicBezTo>
                  <a:cubicBezTo>
                    <a:pt x="55" y="61"/>
                    <a:pt x="53" y="61"/>
                    <a:pt x="55" y="63"/>
                  </a:cubicBezTo>
                  <a:cubicBezTo>
                    <a:pt x="55" y="64"/>
                    <a:pt x="56" y="63"/>
                    <a:pt x="56" y="59"/>
                  </a:cubicBezTo>
                  <a:close/>
                  <a:moveTo>
                    <a:pt x="76" y="144"/>
                  </a:moveTo>
                  <a:cubicBezTo>
                    <a:pt x="76" y="144"/>
                    <a:pt x="77" y="144"/>
                    <a:pt x="76" y="145"/>
                  </a:cubicBezTo>
                  <a:cubicBezTo>
                    <a:pt x="74" y="147"/>
                    <a:pt x="77" y="147"/>
                    <a:pt x="77" y="145"/>
                  </a:cubicBezTo>
                  <a:cubicBezTo>
                    <a:pt x="77" y="144"/>
                    <a:pt x="77" y="144"/>
                    <a:pt x="77" y="142"/>
                  </a:cubicBezTo>
                  <a:cubicBezTo>
                    <a:pt x="77" y="142"/>
                    <a:pt x="77" y="140"/>
                    <a:pt x="76" y="140"/>
                  </a:cubicBezTo>
                  <a:cubicBezTo>
                    <a:pt x="76" y="140"/>
                    <a:pt x="76" y="142"/>
                    <a:pt x="76" y="144"/>
                  </a:cubicBezTo>
                  <a:close/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90" name="Freeform 211">
              <a:extLst>
                <a:ext uri="{FF2B5EF4-FFF2-40B4-BE49-F238E27FC236}">
                  <a16:creationId xmlns:a16="http://schemas.microsoft.com/office/drawing/2014/main" id="{A3F3A8E6-D319-F4EF-DAF2-7D678AE2DD2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99808" y="5285835"/>
              <a:ext cx="56237" cy="27315"/>
            </a:xfrm>
            <a:custGeom>
              <a:avLst/>
              <a:gdLst/>
              <a:ahLst/>
              <a:cxnLst>
                <a:cxn ang="0">
                  <a:pos x="9" y="8"/>
                </a:cxn>
                <a:cxn ang="0">
                  <a:pos x="10" y="0"/>
                </a:cxn>
                <a:cxn ang="0">
                  <a:pos x="16" y="3"/>
                </a:cxn>
                <a:cxn ang="0">
                  <a:pos x="16" y="8"/>
                </a:cxn>
                <a:cxn ang="0">
                  <a:pos x="13" y="8"/>
                </a:cxn>
                <a:cxn ang="0">
                  <a:pos x="9" y="8"/>
                </a:cxn>
              </a:cxnLst>
              <a:rect l="0" t="0" r="r" b="b"/>
              <a:pathLst>
                <a:path w="18" h="9">
                  <a:moveTo>
                    <a:pt x="9" y="8"/>
                  </a:moveTo>
                  <a:cubicBezTo>
                    <a:pt x="0" y="6"/>
                    <a:pt x="9" y="0"/>
                    <a:pt x="10" y="0"/>
                  </a:cubicBezTo>
                  <a:cubicBezTo>
                    <a:pt x="12" y="0"/>
                    <a:pt x="16" y="0"/>
                    <a:pt x="16" y="3"/>
                  </a:cubicBezTo>
                  <a:cubicBezTo>
                    <a:pt x="15" y="6"/>
                    <a:pt x="18" y="6"/>
                    <a:pt x="16" y="8"/>
                  </a:cubicBezTo>
                  <a:cubicBezTo>
                    <a:pt x="15" y="9"/>
                    <a:pt x="13" y="6"/>
                    <a:pt x="13" y="8"/>
                  </a:cubicBezTo>
                  <a:cubicBezTo>
                    <a:pt x="12" y="9"/>
                    <a:pt x="10" y="8"/>
                    <a:pt x="9" y="8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91" name="Freeform 212">
              <a:extLst>
                <a:ext uri="{FF2B5EF4-FFF2-40B4-BE49-F238E27FC236}">
                  <a16:creationId xmlns:a16="http://schemas.microsoft.com/office/drawing/2014/main" id="{6251847F-4D1D-96EB-E578-B417A133D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39978" y="5242453"/>
              <a:ext cx="49810" cy="33742"/>
            </a:xfrm>
            <a:custGeom>
              <a:avLst/>
              <a:gdLst/>
              <a:ahLst/>
              <a:cxnLst>
                <a:cxn ang="0">
                  <a:pos x="4" y="10"/>
                </a:cxn>
                <a:cxn ang="0">
                  <a:pos x="5" y="7"/>
                </a:cxn>
                <a:cxn ang="0">
                  <a:pos x="8" y="3"/>
                </a:cxn>
                <a:cxn ang="0">
                  <a:pos x="13" y="3"/>
                </a:cxn>
                <a:cxn ang="0">
                  <a:pos x="13" y="5"/>
                </a:cxn>
                <a:cxn ang="0">
                  <a:pos x="13" y="8"/>
                </a:cxn>
                <a:cxn ang="0">
                  <a:pos x="10" y="8"/>
                </a:cxn>
                <a:cxn ang="0">
                  <a:pos x="7" y="8"/>
                </a:cxn>
                <a:cxn ang="0">
                  <a:pos x="4" y="10"/>
                </a:cxn>
              </a:cxnLst>
              <a:rect l="0" t="0" r="r" b="b"/>
              <a:pathLst>
                <a:path w="16" h="11">
                  <a:moveTo>
                    <a:pt x="4" y="10"/>
                  </a:moveTo>
                  <a:cubicBezTo>
                    <a:pt x="0" y="5"/>
                    <a:pt x="4" y="8"/>
                    <a:pt x="5" y="7"/>
                  </a:cubicBezTo>
                  <a:cubicBezTo>
                    <a:pt x="5" y="3"/>
                    <a:pt x="7" y="7"/>
                    <a:pt x="8" y="3"/>
                  </a:cubicBezTo>
                  <a:cubicBezTo>
                    <a:pt x="11" y="2"/>
                    <a:pt x="16" y="0"/>
                    <a:pt x="13" y="3"/>
                  </a:cubicBezTo>
                  <a:cubicBezTo>
                    <a:pt x="11" y="5"/>
                    <a:pt x="11" y="8"/>
                    <a:pt x="13" y="5"/>
                  </a:cubicBezTo>
                  <a:cubicBezTo>
                    <a:pt x="14" y="3"/>
                    <a:pt x="13" y="8"/>
                    <a:pt x="13" y="8"/>
                  </a:cubicBezTo>
                  <a:cubicBezTo>
                    <a:pt x="14" y="8"/>
                    <a:pt x="11" y="7"/>
                    <a:pt x="10" y="8"/>
                  </a:cubicBezTo>
                  <a:cubicBezTo>
                    <a:pt x="8" y="10"/>
                    <a:pt x="10" y="7"/>
                    <a:pt x="7" y="8"/>
                  </a:cubicBezTo>
                  <a:cubicBezTo>
                    <a:pt x="4" y="11"/>
                    <a:pt x="4" y="11"/>
                    <a:pt x="4" y="10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92" name="Freeform 213">
              <a:extLst>
                <a:ext uri="{FF2B5EF4-FFF2-40B4-BE49-F238E27FC236}">
                  <a16:creationId xmlns:a16="http://schemas.microsoft.com/office/drawing/2014/main" id="{8D347247-C9E5-A6A0-7B1E-63CCEC898A9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38396" y="4540302"/>
              <a:ext cx="245837" cy="194416"/>
            </a:xfrm>
            <a:custGeom>
              <a:avLst/>
              <a:gdLst/>
              <a:ahLst/>
              <a:cxnLst>
                <a:cxn ang="0">
                  <a:pos x="44" y="20"/>
                </a:cxn>
                <a:cxn ang="0">
                  <a:pos x="42" y="22"/>
                </a:cxn>
                <a:cxn ang="0">
                  <a:pos x="42" y="25"/>
                </a:cxn>
                <a:cxn ang="0">
                  <a:pos x="41" y="29"/>
                </a:cxn>
                <a:cxn ang="0">
                  <a:pos x="39" y="26"/>
                </a:cxn>
                <a:cxn ang="0">
                  <a:pos x="36" y="23"/>
                </a:cxn>
                <a:cxn ang="0">
                  <a:pos x="36" y="26"/>
                </a:cxn>
                <a:cxn ang="0">
                  <a:pos x="29" y="37"/>
                </a:cxn>
                <a:cxn ang="0">
                  <a:pos x="17" y="42"/>
                </a:cxn>
                <a:cxn ang="0">
                  <a:pos x="15" y="45"/>
                </a:cxn>
                <a:cxn ang="0">
                  <a:pos x="14" y="48"/>
                </a:cxn>
                <a:cxn ang="0">
                  <a:pos x="14" y="50"/>
                </a:cxn>
                <a:cxn ang="0">
                  <a:pos x="14" y="54"/>
                </a:cxn>
                <a:cxn ang="0">
                  <a:pos x="12" y="54"/>
                </a:cxn>
                <a:cxn ang="0">
                  <a:pos x="9" y="53"/>
                </a:cxn>
                <a:cxn ang="0">
                  <a:pos x="8" y="51"/>
                </a:cxn>
                <a:cxn ang="0">
                  <a:pos x="6" y="51"/>
                </a:cxn>
                <a:cxn ang="0">
                  <a:pos x="1" y="48"/>
                </a:cxn>
                <a:cxn ang="0">
                  <a:pos x="1" y="51"/>
                </a:cxn>
                <a:cxn ang="0">
                  <a:pos x="3" y="54"/>
                </a:cxn>
                <a:cxn ang="0">
                  <a:pos x="8" y="59"/>
                </a:cxn>
                <a:cxn ang="0">
                  <a:pos x="15" y="59"/>
                </a:cxn>
                <a:cxn ang="0">
                  <a:pos x="21" y="58"/>
                </a:cxn>
                <a:cxn ang="0">
                  <a:pos x="26" y="53"/>
                </a:cxn>
                <a:cxn ang="0">
                  <a:pos x="29" y="54"/>
                </a:cxn>
                <a:cxn ang="0">
                  <a:pos x="35" y="56"/>
                </a:cxn>
                <a:cxn ang="0">
                  <a:pos x="41" y="53"/>
                </a:cxn>
                <a:cxn ang="0">
                  <a:pos x="42" y="48"/>
                </a:cxn>
                <a:cxn ang="0">
                  <a:pos x="45" y="44"/>
                </a:cxn>
                <a:cxn ang="0">
                  <a:pos x="45" y="40"/>
                </a:cxn>
                <a:cxn ang="0">
                  <a:pos x="49" y="37"/>
                </a:cxn>
                <a:cxn ang="0">
                  <a:pos x="50" y="28"/>
                </a:cxn>
                <a:cxn ang="0">
                  <a:pos x="59" y="26"/>
                </a:cxn>
                <a:cxn ang="0">
                  <a:pos x="64" y="28"/>
                </a:cxn>
                <a:cxn ang="0">
                  <a:pos x="67" y="26"/>
                </a:cxn>
                <a:cxn ang="0">
                  <a:pos x="70" y="26"/>
                </a:cxn>
                <a:cxn ang="0">
                  <a:pos x="71" y="23"/>
                </a:cxn>
                <a:cxn ang="0">
                  <a:pos x="70" y="20"/>
                </a:cxn>
                <a:cxn ang="0">
                  <a:pos x="73" y="20"/>
                </a:cxn>
                <a:cxn ang="0">
                  <a:pos x="77" y="15"/>
                </a:cxn>
                <a:cxn ang="0">
                  <a:pos x="74" y="15"/>
                </a:cxn>
                <a:cxn ang="0">
                  <a:pos x="73" y="14"/>
                </a:cxn>
                <a:cxn ang="0">
                  <a:pos x="70" y="12"/>
                </a:cxn>
                <a:cxn ang="0">
                  <a:pos x="67" y="12"/>
                </a:cxn>
                <a:cxn ang="0">
                  <a:pos x="68" y="11"/>
                </a:cxn>
                <a:cxn ang="0">
                  <a:pos x="65" y="9"/>
                </a:cxn>
                <a:cxn ang="0">
                  <a:pos x="65" y="4"/>
                </a:cxn>
                <a:cxn ang="0">
                  <a:pos x="64" y="4"/>
                </a:cxn>
                <a:cxn ang="0">
                  <a:pos x="61" y="0"/>
                </a:cxn>
                <a:cxn ang="0">
                  <a:pos x="59" y="4"/>
                </a:cxn>
                <a:cxn ang="0">
                  <a:pos x="58" y="0"/>
                </a:cxn>
                <a:cxn ang="0">
                  <a:pos x="55" y="6"/>
                </a:cxn>
                <a:cxn ang="0">
                  <a:pos x="53" y="9"/>
                </a:cxn>
                <a:cxn ang="0">
                  <a:pos x="52" y="12"/>
                </a:cxn>
                <a:cxn ang="0">
                  <a:pos x="50" y="14"/>
                </a:cxn>
                <a:cxn ang="0">
                  <a:pos x="47" y="15"/>
                </a:cxn>
                <a:cxn ang="0">
                  <a:pos x="49" y="20"/>
                </a:cxn>
                <a:cxn ang="0">
                  <a:pos x="45" y="20"/>
                </a:cxn>
                <a:cxn ang="0">
                  <a:pos x="47" y="25"/>
                </a:cxn>
                <a:cxn ang="0">
                  <a:pos x="45" y="26"/>
                </a:cxn>
                <a:cxn ang="0">
                  <a:pos x="44" y="22"/>
                </a:cxn>
                <a:cxn ang="0">
                  <a:pos x="44" y="20"/>
                </a:cxn>
              </a:cxnLst>
              <a:rect l="0" t="0" r="r" b="b"/>
              <a:pathLst>
                <a:path w="79" h="62">
                  <a:moveTo>
                    <a:pt x="44" y="20"/>
                  </a:moveTo>
                  <a:cubicBezTo>
                    <a:pt x="44" y="22"/>
                    <a:pt x="42" y="22"/>
                    <a:pt x="42" y="22"/>
                  </a:cubicBezTo>
                  <a:cubicBezTo>
                    <a:pt x="42" y="23"/>
                    <a:pt x="42" y="25"/>
                    <a:pt x="42" y="25"/>
                  </a:cubicBezTo>
                  <a:cubicBezTo>
                    <a:pt x="44" y="25"/>
                    <a:pt x="42" y="29"/>
                    <a:pt x="41" y="29"/>
                  </a:cubicBezTo>
                  <a:cubicBezTo>
                    <a:pt x="39" y="29"/>
                    <a:pt x="41" y="26"/>
                    <a:pt x="39" y="26"/>
                  </a:cubicBezTo>
                  <a:cubicBezTo>
                    <a:pt x="38" y="28"/>
                    <a:pt x="39" y="25"/>
                    <a:pt x="36" y="23"/>
                  </a:cubicBezTo>
                  <a:cubicBezTo>
                    <a:pt x="36" y="23"/>
                    <a:pt x="36" y="23"/>
                    <a:pt x="36" y="26"/>
                  </a:cubicBezTo>
                  <a:cubicBezTo>
                    <a:pt x="36" y="29"/>
                    <a:pt x="30" y="31"/>
                    <a:pt x="29" y="37"/>
                  </a:cubicBezTo>
                  <a:cubicBezTo>
                    <a:pt x="29" y="40"/>
                    <a:pt x="18" y="39"/>
                    <a:pt x="17" y="42"/>
                  </a:cubicBezTo>
                  <a:cubicBezTo>
                    <a:pt x="15" y="44"/>
                    <a:pt x="17" y="47"/>
                    <a:pt x="15" y="45"/>
                  </a:cubicBezTo>
                  <a:cubicBezTo>
                    <a:pt x="14" y="44"/>
                    <a:pt x="14" y="47"/>
                    <a:pt x="14" y="48"/>
                  </a:cubicBezTo>
                  <a:cubicBezTo>
                    <a:pt x="15" y="48"/>
                    <a:pt x="14" y="48"/>
                    <a:pt x="14" y="50"/>
                  </a:cubicBezTo>
                  <a:cubicBezTo>
                    <a:pt x="14" y="53"/>
                    <a:pt x="12" y="53"/>
                    <a:pt x="14" y="54"/>
                  </a:cubicBezTo>
                  <a:cubicBezTo>
                    <a:pt x="15" y="56"/>
                    <a:pt x="14" y="54"/>
                    <a:pt x="12" y="54"/>
                  </a:cubicBezTo>
                  <a:cubicBezTo>
                    <a:pt x="11" y="53"/>
                    <a:pt x="8" y="54"/>
                    <a:pt x="9" y="53"/>
                  </a:cubicBezTo>
                  <a:cubicBezTo>
                    <a:pt x="9" y="51"/>
                    <a:pt x="8" y="53"/>
                    <a:pt x="8" y="51"/>
                  </a:cubicBezTo>
                  <a:cubicBezTo>
                    <a:pt x="6" y="50"/>
                    <a:pt x="8" y="51"/>
                    <a:pt x="6" y="51"/>
                  </a:cubicBezTo>
                  <a:cubicBezTo>
                    <a:pt x="5" y="53"/>
                    <a:pt x="1" y="51"/>
                    <a:pt x="1" y="48"/>
                  </a:cubicBezTo>
                  <a:cubicBezTo>
                    <a:pt x="1" y="48"/>
                    <a:pt x="0" y="51"/>
                    <a:pt x="1" y="51"/>
                  </a:cubicBezTo>
                  <a:cubicBezTo>
                    <a:pt x="3" y="53"/>
                    <a:pt x="1" y="54"/>
                    <a:pt x="3" y="54"/>
                  </a:cubicBezTo>
                  <a:cubicBezTo>
                    <a:pt x="5" y="54"/>
                    <a:pt x="6" y="58"/>
                    <a:pt x="8" y="59"/>
                  </a:cubicBezTo>
                  <a:cubicBezTo>
                    <a:pt x="11" y="62"/>
                    <a:pt x="11" y="58"/>
                    <a:pt x="15" y="59"/>
                  </a:cubicBezTo>
                  <a:cubicBezTo>
                    <a:pt x="20" y="61"/>
                    <a:pt x="18" y="58"/>
                    <a:pt x="21" y="58"/>
                  </a:cubicBezTo>
                  <a:cubicBezTo>
                    <a:pt x="23" y="58"/>
                    <a:pt x="20" y="53"/>
                    <a:pt x="26" y="53"/>
                  </a:cubicBezTo>
                  <a:cubicBezTo>
                    <a:pt x="30" y="53"/>
                    <a:pt x="27" y="54"/>
                    <a:pt x="29" y="54"/>
                  </a:cubicBezTo>
                  <a:cubicBezTo>
                    <a:pt x="30" y="56"/>
                    <a:pt x="33" y="58"/>
                    <a:pt x="35" y="56"/>
                  </a:cubicBezTo>
                  <a:cubicBezTo>
                    <a:pt x="36" y="53"/>
                    <a:pt x="41" y="56"/>
                    <a:pt x="41" y="53"/>
                  </a:cubicBezTo>
                  <a:cubicBezTo>
                    <a:pt x="42" y="51"/>
                    <a:pt x="42" y="50"/>
                    <a:pt x="42" y="48"/>
                  </a:cubicBezTo>
                  <a:cubicBezTo>
                    <a:pt x="42" y="45"/>
                    <a:pt x="47" y="45"/>
                    <a:pt x="45" y="44"/>
                  </a:cubicBezTo>
                  <a:cubicBezTo>
                    <a:pt x="44" y="44"/>
                    <a:pt x="44" y="44"/>
                    <a:pt x="45" y="40"/>
                  </a:cubicBezTo>
                  <a:cubicBezTo>
                    <a:pt x="45" y="37"/>
                    <a:pt x="49" y="40"/>
                    <a:pt x="49" y="37"/>
                  </a:cubicBezTo>
                  <a:cubicBezTo>
                    <a:pt x="49" y="34"/>
                    <a:pt x="49" y="31"/>
                    <a:pt x="50" y="28"/>
                  </a:cubicBezTo>
                  <a:cubicBezTo>
                    <a:pt x="52" y="25"/>
                    <a:pt x="55" y="26"/>
                    <a:pt x="59" y="26"/>
                  </a:cubicBezTo>
                  <a:cubicBezTo>
                    <a:pt x="62" y="26"/>
                    <a:pt x="61" y="25"/>
                    <a:pt x="64" y="28"/>
                  </a:cubicBezTo>
                  <a:cubicBezTo>
                    <a:pt x="67" y="28"/>
                    <a:pt x="64" y="23"/>
                    <a:pt x="67" y="26"/>
                  </a:cubicBezTo>
                  <a:cubicBezTo>
                    <a:pt x="68" y="28"/>
                    <a:pt x="68" y="26"/>
                    <a:pt x="70" y="26"/>
                  </a:cubicBezTo>
                  <a:cubicBezTo>
                    <a:pt x="71" y="26"/>
                    <a:pt x="74" y="26"/>
                    <a:pt x="71" y="23"/>
                  </a:cubicBezTo>
                  <a:cubicBezTo>
                    <a:pt x="68" y="22"/>
                    <a:pt x="68" y="20"/>
                    <a:pt x="70" y="20"/>
                  </a:cubicBezTo>
                  <a:cubicBezTo>
                    <a:pt x="71" y="18"/>
                    <a:pt x="70" y="20"/>
                    <a:pt x="73" y="20"/>
                  </a:cubicBezTo>
                  <a:cubicBezTo>
                    <a:pt x="76" y="18"/>
                    <a:pt x="79" y="18"/>
                    <a:pt x="77" y="15"/>
                  </a:cubicBezTo>
                  <a:cubicBezTo>
                    <a:pt x="77" y="14"/>
                    <a:pt x="76" y="17"/>
                    <a:pt x="74" y="15"/>
                  </a:cubicBezTo>
                  <a:cubicBezTo>
                    <a:pt x="74" y="14"/>
                    <a:pt x="73" y="14"/>
                    <a:pt x="73" y="14"/>
                  </a:cubicBezTo>
                  <a:cubicBezTo>
                    <a:pt x="71" y="12"/>
                    <a:pt x="70" y="11"/>
                    <a:pt x="70" y="12"/>
                  </a:cubicBezTo>
                  <a:cubicBezTo>
                    <a:pt x="68" y="12"/>
                    <a:pt x="68" y="14"/>
                    <a:pt x="67" y="12"/>
                  </a:cubicBezTo>
                  <a:cubicBezTo>
                    <a:pt x="67" y="11"/>
                    <a:pt x="68" y="12"/>
                    <a:pt x="68" y="11"/>
                  </a:cubicBezTo>
                  <a:cubicBezTo>
                    <a:pt x="67" y="8"/>
                    <a:pt x="65" y="11"/>
                    <a:pt x="65" y="9"/>
                  </a:cubicBezTo>
                  <a:cubicBezTo>
                    <a:pt x="64" y="8"/>
                    <a:pt x="67" y="6"/>
                    <a:pt x="65" y="4"/>
                  </a:cubicBezTo>
                  <a:cubicBezTo>
                    <a:pt x="64" y="3"/>
                    <a:pt x="64" y="4"/>
                    <a:pt x="64" y="4"/>
                  </a:cubicBezTo>
                  <a:cubicBezTo>
                    <a:pt x="62" y="4"/>
                    <a:pt x="62" y="0"/>
                    <a:pt x="61" y="0"/>
                  </a:cubicBezTo>
                  <a:cubicBezTo>
                    <a:pt x="59" y="0"/>
                    <a:pt x="61" y="3"/>
                    <a:pt x="59" y="4"/>
                  </a:cubicBezTo>
                  <a:cubicBezTo>
                    <a:pt x="58" y="6"/>
                    <a:pt x="59" y="0"/>
                    <a:pt x="58" y="0"/>
                  </a:cubicBezTo>
                  <a:cubicBezTo>
                    <a:pt x="56" y="0"/>
                    <a:pt x="58" y="1"/>
                    <a:pt x="55" y="6"/>
                  </a:cubicBezTo>
                  <a:cubicBezTo>
                    <a:pt x="53" y="9"/>
                    <a:pt x="53" y="8"/>
                    <a:pt x="53" y="9"/>
                  </a:cubicBezTo>
                  <a:cubicBezTo>
                    <a:pt x="52" y="12"/>
                    <a:pt x="52" y="11"/>
                    <a:pt x="52" y="12"/>
                  </a:cubicBezTo>
                  <a:cubicBezTo>
                    <a:pt x="52" y="15"/>
                    <a:pt x="50" y="15"/>
                    <a:pt x="50" y="14"/>
                  </a:cubicBezTo>
                  <a:cubicBezTo>
                    <a:pt x="49" y="14"/>
                    <a:pt x="47" y="15"/>
                    <a:pt x="47" y="15"/>
                  </a:cubicBezTo>
                  <a:cubicBezTo>
                    <a:pt x="47" y="17"/>
                    <a:pt x="50" y="17"/>
                    <a:pt x="49" y="20"/>
                  </a:cubicBezTo>
                  <a:cubicBezTo>
                    <a:pt x="45" y="22"/>
                    <a:pt x="47" y="18"/>
                    <a:pt x="45" y="20"/>
                  </a:cubicBezTo>
                  <a:cubicBezTo>
                    <a:pt x="47" y="23"/>
                    <a:pt x="45" y="22"/>
                    <a:pt x="47" y="25"/>
                  </a:cubicBezTo>
                  <a:cubicBezTo>
                    <a:pt x="47" y="28"/>
                    <a:pt x="47" y="26"/>
                    <a:pt x="45" y="26"/>
                  </a:cubicBezTo>
                  <a:cubicBezTo>
                    <a:pt x="44" y="26"/>
                    <a:pt x="44" y="25"/>
                    <a:pt x="44" y="22"/>
                  </a:cubicBezTo>
                  <a:cubicBezTo>
                    <a:pt x="44" y="20"/>
                    <a:pt x="44" y="20"/>
                    <a:pt x="44" y="20"/>
                  </a:cubicBezTo>
                  <a:close/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93" name="Freeform 214">
              <a:extLst>
                <a:ext uri="{FF2B5EF4-FFF2-40B4-BE49-F238E27FC236}">
                  <a16:creationId xmlns:a16="http://schemas.microsoft.com/office/drawing/2014/main" id="{45FB7821-EC7D-B919-01D5-98CE02708B84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50870" y="4596539"/>
              <a:ext cx="30529" cy="38562"/>
            </a:xfrm>
            <a:custGeom>
              <a:avLst/>
              <a:gdLst/>
              <a:ahLst/>
              <a:cxnLst>
                <a:cxn ang="0">
                  <a:pos x="8" y="2"/>
                </a:cxn>
                <a:cxn ang="0">
                  <a:pos x="8" y="2"/>
                </a:cxn>
                <a:cxn ang="0">
                  <a:pos x="0" y="5"/>
                </a:cxn>
                <a:cxn ang="0">
                  <a:pos x="4" y="8"/>
                </a:cxn>
                <a:cxn ang="0">
                  <a:pos x="5" y="12"/>
                </a:cxn>
                <a:cxn ang="0">
                  <a:pos x="7" y="7"/>
                </a:cxn>
                <a:cxn ang="0">
                  <a:pos x="7" y="4"/>
                </a:cxn>
                <a:cxn ang="0">
                  <a:pos x="8" y="2"/>
                </a:cxn>
              </a:cxnLst>
              <a:rect l="0" t="0" r="r" b="b"/>
              <a:pathLst>
                <a:path w="10" h="12">
                  <a:moveTo>
                    <a:pt x="8" y="2"/>
                  </a:moveTo>
                  <a:cubicBezTo>
                    <a:pt x="10" y="0"/>
                    <a:pt x="8" y="0"/>
                    <a:pt x="8" y="2"/>
                  </a:cubicBezTo>
                  <a:cubicBezTo>
                    <a:pt x="7" y="2"/>
                    <a:pt x="4" y="5"/>
                    <a:pt x="0" y="5"/>
                  </a:cubicBezTo>
                  <a:cubicBezTo>
                    <a:pt x="4" y="7"/>
                    <a:pt x="2" y="10"/>
                    <a:pt x="4" y="8"/>
                  </a:cubicBezTo>
                  <a:cubicBezTo>
                    <a:pt x="5" y="8"/>
                    <a:pt x="4" y="12"/>
                    <a:pt x="5" y="12"/>
                  </a:cubicBezTo>
                  <a:cubicBezTo>
                    <a:pt x="7" y="12"/>
                    <a:pt x="8" y="7"/>
                    <a:pt x="7" y="7"/>
                  </a:cubicBezTo>
                  <a:cubicBezTo>
                    <a:pt x="7" y="7"/>
                    <a:pt x="7" y="5"/>
                    <a:pt x="7" y="4"/>
                  </a:cubicBezTo>
                  <a:cubicBezTo>
                    <a:pt x="7" y="4"/>
                    <a:pt x="8" y="4"/>
                    <a:pt x="8" y="2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94" name="Freeform 215">
              <a:extLst>
                <a:ext uri="{FF2B5EF4-FFF2-40B4-BE49-F238E27FC236}">
                  <a16:creationId xmlns:a16="http://schemas.microsoft.com/office/drawing/2014/main" id="{79C078F0-A1DB-4449-54A2-AA2D6A9F085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76579" y="4602966"/>
              <a:ext cx="8034" cy="25708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2" y="0"/>
                </a:cxn>
                <a:cxn ang="0">
                  <a:pos x="3" y="5"/>
                </a:cxn>
                <a:cxn ang="0">
                  <a:pos x="2" y="6"/>
                </a:cxn>
                <a:cxn ang="0">
                  <a:pos x="0" y="1"/>
                </a:cxn>
              </a:cxnLst>
              <a:rect l="0" t="0" r="r" b="b"/>
              <a:pathLst>
                <a:path w="3" h="8">
                  <a:moveTo>
                    <a:pt x="0" y="1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3" y="3"/>
                    <a:pt x="2" y="1"/>
                    <a:pt x="3" y="5"/>
                  </a:cubicBezTo>
                  <a:cubicBezTo>
                    <a:pt x="3" y="8"/>
                    <a:pt x="3" y="6"/>
                    <a:pt x="2" y="6"/>
                  </a:cubicBezTo>
                  <a:cubicBezTo>
                    <a:pt x="0" y="6"/>
                    <a:pt x="0" y="5"/>
                    <a:pt x="0" y="1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95" name="Freeform 216">
              <a:extLst>
                <a:ext uri="{FF2B5EF4-FFF2-40B4-BE49-F238E27FC236}">
                  <a16:creationId xmlns:a16="http://schemas.microsoft.com/office/drawing/2014/main" id="{8D0AF7BC-4EFF-8928-7246-A3D1389EDF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898404" y="4794169"/>
              <a:ext cx="393661" cy="313317"/>
            </a:xfrm>
            <a:custGeom>
              <a:avLst/>
              <a:gdLst/>
              <a:ahLst/>
              <a:cxnLst>
                <a:cxn ang="0">
                  <a:pos x="22" y="20"/>
                </a:cxn>
                <a:cxn ang="0">
                  <a:pos x="45" y="37"/>
                </a:cxn>
                <a:cxn ang="0">
                  <a:pos x="56" y="45"/>
                </a:cxn>
                <a:cxn ang="0">
                  <a:pos x="53" y="54"/>
                </a:cxn>
                <a:cxn ang="0">
                  <a:pos x="70" y="76"/>
                </a:cxn>
                <a:cxn ang="0">
                  <a:pos x="80" y="87"/>
                </a:cxn>
                <a:cxn ang="0">
                  <a:pos x="68" y="87"/>
                </a:cxn>
                <a:cxn ang="0">
                  <a:pos x="41" y="65"/>
                </a:cxn>
                <a:cxn ang="0">
                  <a:pos x="29" y="60"/>
                </a:cxn>
                <a:cxn ang="0">
                  <a:pos x="24" y="70"/>
                </a:cxn>
                <a:cxn ang="0">
                  <a:pos x="17" y="77"/>
                </a:cxn>
                <a:cxn ang="0">
                  <a:pos x="0" y="68"/>
                </a:cxn>
                <a:cxn ang="0">
                  <a:pos x="68" y="46"/>
                </a:cxn>
                <a:cxn ang="0">
                  <a:pos x="90" y="43"/>
                </a:cxn>
                <a:cxn ang="0">
                  <a:pos x="94" y="36"/>
                </a:cxn>
                <a:cxn ang="0">
                  <a:pos x="91" y="28"/>
                </a:cxn>
                <a:cxn ang="0">
                  <a:pos x="82" y="40"/>
                </a:cxn>
                <a:cxn ang="0">
                  <a:pos x="79" y="37"/>
                </a:cxn>
                <a:cxn ang="0">
                  <a:pos x="65" y="42"/>
                </a:cxn>
                <a:cxn ang="0">
                  <a:pos x="55" y="9"/>
                </a:cxn>
                <a:cxn ang="0">
                  <a:pos x="50" y="8"/>
                </a:cxn>
                <a:cxn ang="0">
                  <a:pos x="79" y="11"/>
                </a:cxn>
                <a:cxn ang="0">
                  <a:pos x="79" y="11"/>
                </a:cxn>
                <a:cxn ang="0">
                  <a:pos x="97" y="26"/>
                </a:cxn>
                <a:cxn ang="0">
                  <a:pos x="100" y="25"/>
                </a:cxn>
                <a:cxn ang="0">
                  <a:pos x="85" y="14"/>
                </a:cxn>
                <a:cxn ang="0">
                  <a:pos x="74" y="1"/>
                </a:cxn>
                <a:cxn ang="0">
                  <a:pos x="74" y="1"/>
                </a:cxn>
                <a:cxn ang="0">
                  <a:pos x="117" y="42"/>
                </a:cxn>
                <a:cxn ang="0">
                  <a:pos x="115" y="43"/>
                </a:cxn>
                <a:cxn ang="0">
                  <a:pos x="125" y="54"/>
                </a:cxn>
                <a:cxn ang="0">
                  <a:pos x="61" y="43"/>
                </a:cxn>
                <a:cxn ang="0">
                  <a:pos x="61" y="43"/>
                </a:cxn>
                <a:cxn ang="0">
                  <a:pos x="56" y="40"/>
                </a:cxn>
                <a:cxn ang="0">
                  <a:pos x="47" y="31"/>
                </a:cxn>
                <a:cxn ang="0">
                  <a:pos x="47" y="31"/>
                </a:cxn>
                <a:cxn ang="0">
                  <a:pos x="99" y="76"/>
                </a:cxn>
                <a:cxn ang="0">
                  <a:pos x="102" y="76"/>
                </a:cxn>
                <a:cxn ang="0">
                  <a:pos x="108" y="101"/>
                </a:cxn>
                <a:cxn ang="0">
                  <a:pos x="79" y="79"/>
                </a:cxn>
                <a:cxn ang="0">
                  <a:pos x="79" y="79"/>
                </a:cxn>
                <a:cxn ang="0">
                  <a:pos x="85" y="81"/>
                </a:cxn>
                <a:cxn ang="0">
                  <a:pos x="82" y="82"/>
                </a:cxn>
                <a:cxn ang="0">
                  <a:pos x="88" y="87"/>
                </a:cxn>
                <a:cxn ang="0">
                  <a:pos x="85" y="84"/>
                </a:cxn>
              </a:cxnLst>
              <a:rect l="0" t="0" r="r" b="b"/>
              <a:pathLst>
                <a:path w="126" h="101">
                  <a:moveTo>
                    <a:pt x="0" y="11"/>
                  </a:moveTo>
                  <a:cubicBezTo>
                    <a:pt x="6" y="9"/>
                    <a:pt x="17" y="18"/>
                    <a:pt x="22" y="20"/>
                  </a:cubicBezTo>
                  <a:cubicBezTo>
                    <a:pt x="29" y="21"/>
                    <a:pt x="29" y="25"/>
                    <a:pt x="32" y="25"/>
                  </a:cubicBezTo>
                  <a:cubicBezTo>
                    <a:pt x="35" y="25"/>
                    <a:pt x="45" y="34"/>
                    <a:pt x="45" y="37"/>
                  </a:cubicBezTo>
                  <a:cubicBezTo>
                    <a:pt x="44" y="40"/>
                    <a:pt x="42" y="40"/>
                    <a:pt x="48" y="42"/>
                  </a:cubicBezTo>
                  <a:cubicBezTo>
                    <a:pt x="53" y="43"/>
                    <a:pt x="52" y="46"/>
                    <a:pt x="56" y="45"/>
                  </a:cubicBezTo>
                  <a:cubicBezTo>
                    <a:pt x="59" y="45"/>
                    <a:pt x="62" y="51"/>
                    <a:pt x="61" y="53"/>
                  </a:cubicBezTo>
                  <a:cubicBezTo>
                    <a:pt x="59" y="54"/>
                    <a:pt x="56" y="53"/>
                    <a:pt x="53" y="54"/>
                  </a:cubicBezTo>
                  <a:cubicBezTo>
                    <a:pt x="52" y="54"/>
                    <a:pt x="59" y="64"/>
                    <a:pt x="62" y="65"/>
                  </a:cubicBezTo>
                  <a:cubicBezTo>
                    <a:pt x="65" y="67"/>
                    <a:pt x="64" y="77"/>
                    <a:pt x="70" y="76"/>
                  </a:cubicBezTo>
                  <a:cubicBezTo>
                    <a:pt x="77" y="73"/>
                    <a:pt x="67" y="81"/>
                    <a:pt x="74" y="81"/>
                  </a:cubicBezTo>
                  <a:cubicBezTo>
                    <a:pt x="82" y="81"/>
                    <a:pt x="70" y="84"/>
                    <a:pt x="80" y="87"/>
                  </a:cubicBezTo>
                  <a:cubicBezTo>
                    <a:pt x="87" y="88"/>
                    <a:pt x="84" y="91"/>
                    <a:pt x="80" y="91"/>
                  </a:cubicBezTo>
                  <a:cubicBezTo>
                    <a:pt x="76" y="91"/>
                    <a:pt x="79" y="90"/>
                    <a:pt x="68" y="87"/>
                  </a:cubicBezTo>
                  <a:cubicBezTo>
                    <a:pt x="58" y="85"/>
                    <a:pt x="59" y="85"/>
                    <a:pt x="53" y="77"/>
                  </a:cubicBezTo>
                  <a:cubicBezTo>
                    <a:pt x="47" y="70"/>
                    <a:pt x="48" y="65"/>
                    <a:pt x="41" y="65"/>
                  </a:cubicBezTo>
                  <a:cubicBezTo>
                    <a:pt x="35" y="64"/>
                    <a:pt x="39" y="60"/>
                    <a:pt x="33" y="64"/>
                  </a:cubicBezTo>
                  <a:cubicBezTo>
                    <a:pt x="30" y="64"/>
                    <a:pt x="30" y="64"/>
                    <a:pt x="29" y="60"/>
                  </a:cubicBezTo>
                  <a:cubicBezTo>
                    <a:pt x="30" y="68"/>
                    <a:pt x="27" y="64"/>
                    <a:pt x="27" y="67"/>
                  </a:cubicBezTo>
                  <a:cubicBezTo>
                    <a:pt x="27" y="70"/>
                    <a:pt x="20" y="68"/>
                    <a:pt x="24" y="70"/>
                  </a:cubicBezTo>
                  <a:cubicBezTo>
                    <a:pt x="26" y="71"/>
                    <a:pt x="27" y="76"/>
                    <a:pt x="24" y="76"/>
                  </a:cubicBezTo>
                  <a:cubicBezTo>
                    <a:pt x="22" y="76"/>
                    <a:pt x="21" y="81"/>
                    <a:pt x="17" y="77"/>
                  </a:cubicBezTo>
                  <a:cubicBezTo>
                    <a:pt x="13" y="76"/>
                    <a:pt x="7" y="79"/>
                    <a:pt x="6" y="77"/>
                  </a:cubicBezTo>
                  <a:cubicBezTo>
                    <a:pt x="4" y="74"/>
                    <a:pt x="4" y="71"/>
                    <a:pt x="0" y="68"/>
                  </a:cubicBezTo>
                  <a:cubicBezTo>
                    <a:pt x="0" y="11"/>
                    <a:pt x="0" y="11"/>
                    <a:pt x="0" y="11"/>
                  </a:cubicBezTo>
                  <a:close/>
                  <a:moveTo>
                    <a:pt x="68" y="46"/>
                  </a:moveTo>
                  <a:cubicBezTo>
                    <a:pt x="73" y="49"/>
                    <a:pt x="71" y="45"/>
                    <a:pt x="74" y="48"/>
                  </a:cubicBezTo>
                  <a:cubicBezTo>
                    <a:pt x="77" y="51"/>
                    <a:pt x="88" y="46"/>
                    <a:pt x="90" y="43"/>
                  </a:cubicBezTo>
                  <a:cubicBezTo>
                    <a:pt x="91" y="40"/>
                    <a:pt x="91" y="43"/>
                    <a:pt x="94" y="42"/>
                  </a:cubicBezTo>
                  <a:cubicBezTo>
                    <a:pt x="97" y="39"/>
                    <a:pt x="93" y="36"/>
                    <a:pt x="94" y="36"/>
                  </a:cubicBezTo>
                  <a:cubicBezTo>
                    <a:pt x="97" y="36"/>
                    <a:pt x="99" y="31"/>
                    <a:pt x="97" y="29"/>
                  </a:cubicBezTo>
                  <a:cubicBezTo>
                    <a:pt x="96" y="28"/>
                    <a:pt x="94" y="28"/>
                    <a:pt x="91" y="28"/>
                  </a:cubicBezTo>
                  <a:cubicBezTo>
                    <a:pt x="88" y="28"/>
                    <a:pt x="94" y="37"/>
                    <a:pt x="90" y="36"/>
                  </a:cubicBezTo>
                  <a:cubicBezTo>
                    <a:pt x="87" y="34"/>
                    <a:pt x="87" y="43"/>
                    <a:pt x="82" y="40"/>
                  </a:cubicBezTo>
                  <a:cubicBezTo>
                    <a:pt x="80" y="39"/>
                    <a:pt x="80" y="43"/>
                    <a:pt x="79" y="40"/>
                  </a:cubicBezTo>
                  <a:cubicBezTo>
                    <a:pt x="77" y="37"/>
                    <a:pt x="80" y="37"/>
                    <a:pt x="79" y="37"/>
                  </a:cubicBezTo>
                  <a:cubicBezTo>
                    <a:pt x="79" y="36"/>
                    <a:pt x="77" y="36"/>
                    <a:pt x="77" y="40"/>
                  </a:cubicBezTo>
                  <a:cubicBezTo>
                    <a:pt x="77" y="43"/>
                    <a:pt x="65" y="39"/>
                    <a:pt x="65" y="42"/>
                  </a:cubicBezTo>
                  <a:cubicBezTo>
                    <a:pt x="65" y="45"/>
                    <a:pt x="67" y="43"/>
                    <a:pt x="68" y="46"/>
                  </a:cubicBezTo>
                  <a:close/>
                  <a:moveTo>
                    <a:pt x="55" y="9"/>
                  </a:moveTo>
                  <a:cubicBezTo>
                    <a:pt x="58" y="9"/>
                    <a:pt x="58" y="8"/>
                    <a:pt x="56" y="6"/>
                  </a:cubicBezTo>
                  <a:cubicBezTo>
                    <a:pt x="55" y="6"/>
                    <a:pt x="50" y="6"/>
                    <a:pt x="50" y="8"/>
                  </a:cubicBezTo>
                  <a:cubicBezTo>
                    <a:pt x="50" y="11"/>
                    <a:pt x="52" y="9"/>
                    <a:pt x="55" y="9"/>
                  </a:cubicBezTo>
                  <a:close/>
                  <a:moveTo>
                    <a:pt x="79" y="11"/>
                  </a:moveTo>
                  <a:cubicBezTo>
                    <a:pt x="79" y="9"/>
                    <a:pt x="84" y="12"/>
                    <a:pt x="82" y="12"/>
                  </a:cubicBezTo>
                  <a:cubicBezTo>
                    <a:pt x="80" y="14"/>
                    <a:pt x="77" y="12"/>
                    <a:pt x="79" y="11"/>
                  </a:cubicBezTo>
                  <a:close/>
                  <a:moveTo>
                    <a:pt x="91" y="18"/>
                  </a:moveTo>
                  <a:cubicBezTo>
                    <a:pt x="91" y="20"/>
                    <a:pt x="96" y="21"/>
                    <a:pt x="97" y="26"/>
                  </a:cubicBezTo>
                  <a:cubicBezTo>
                    <a:pt x="100" y="29"/>
                    <a:pt x="99" y="29"/>
                    <a:pt x="100" y="34"/>
                  </a:cubicBezTo>
                  <a:cubicBezTo>
                    <a:pt x="102" y="37"/>
                    <a:pt x="105" y="28"/>
                    <a:pt x="100" y="25"/>
                  </a:cubicBezTo>
                  <a:cubicBezTo>
                    <a:pt x="96" y="23"/>
                    <a:pt x="96" y="20"/>
                    <a:pt x="93" y="18"/>
                  </a:cubicBezTo>
                  <a:cubicBezTo>
                    <a:pt x="87" y="15"/>
                    <a:pt x="85" y="11"/>
                    <a:pt x="85" y="14"/>
                  </a:cubicBezTo>
                  <a:cubicBezTo>
                    <a:pt x="80" y="15"/>
                    <a:pt x="87" y="14"/>
                    <a:pt x="91" y="18"/>
                  </a:cubicBezTo>
                  <a:close/>
                  <a:moveTo>
                    <a:pt x="74" y="1"/>
                  </a:moveTo>
                  <a:cubicBezTo>
                    <a:pt x="76" y="0"/>
                    <a:pt x="77" y="3"/>
                    <a:pt x="76" y="3"/>
                  </a:cubicBezTo>
                  <a:cubicBezTo>
                    <a:pt x="74" y="3"/>
                    <a:pt x="74" y="3"/>
                    <a:pt x="74" y="1"/>
                  </a:cubicBezTo>
                  <a:close/>
                  <a:moveTo>
                    <a:pt x="123" y="48"/>
                  </a:moveTo>
                  <a:cubicBezTo>
                    <a:pt x="120" y="46"/>
                    <a:pt x="120" y="42"/>
                    <a:pt x="117" y="42"/>
                  </a:cubicBezTo>
                  <a:cubicBezTo>
                    <a:pt x="115" y="40"/>
                    <a:pt x="115" y="34"/>
                    <a:pt x="114" y="37"/>
                  </a:cubicBezTo>
                  <a:cubicBezTo>
                    <a:pt x="112" y="39"/>
                    <a:pt x="115" y="39"/>
                    <a:pt x="115" y="43"/>
                  </a:cubicBezTo>
                  <a:cubicBezTo>
                    <a:pt x="114" y="46"/>
                    <a:pt x="119" y="48"/>
                    <a:pt x="120" y="51"/>
                  </a:cubicBezTo>
                  <a:cubicBezTo>
                    <a:pt x="120" y="54"/>
                    <a:pt x="122" y="54"/>
                    <a:pt x="125" y="54"/>
                  </a:cubicBezTo>
                  <a:cubicBezTo>
                    <a:pt x="126" y="53"/>
                    <a:pt x="125" y="48"/>
                    <a:pt x="123" y="48"/>
                  </a:cubicBezTo>
                  <a:close/>
                  <a:moveTo>
                    <a:pt x="61" y="43"/>
                  </a:moveTo>
                  <a:cubicBezTo>
                    <a:pt x="59" y="42"/>
                    <a:pt x="61" y="39"/>
                    <a:pt x="62" y="42"/>
                  </a:cubicBezTo>
                  <a:cubicBezTo>
                    <a:pt x="64" y="43"/>
                    <a:pt x="62" y="45"/>
                    <a:pt x="61" y="43"/>
                  </a:cubicBezTo>
                  <a:close/>
                  <a:moveTo>
                    <a:pt x="55" y="39"/>
                  </a:moveTo>
                  <a:cubicBezTo>
                    <a:pt x="55" y="37"/>
                    <a:pt x="58" y="40"/>
                    <a:pt x="56" y="40"/>
                  </a:cubicBezTo>
                  <a:cubicBezTo>
                    <a:pt x="56" y="42"/>
                    <a:pt x="53" y="40"/>
                    <a:pt x="55" y="39"/>
                  </a:cubicBezTo>
                  <a:close/>
                  <a:moveTo>
                    <a:pt x="47" y="31"/>
                  </a:moveTo>
                  <a:cubicBezTo>
                    <a:pt x="48" y="32"/>
                    <a:pt x="47" y="36"/>
                    <a:pt x="45" y="34"/>
                  </a:cubicBezTo>
                  <a:cubicBezTo>
                    <a:pt x="44" y="32"/>
                    <a:pt x="45" y="31"/>
                    <a:pt x="47" y="31"/>
                  </a:cubicBezTo>
                  <a:close/>
                  <a:moveTo>
                    <a:pt x="102" y="76"/>
                  </a:moveTo>
                  <a:cubicBezTo>
                    <a:pt x="100" y="74"/>
                    <a:pt x="97" y="74"/>
                    <a:pt x="99" y="76"/>
                  </a:cubicBezTo>
                  <a:cubicBezTo>
                    <a:pt x="100" y="76"/>
                    <a:pt x="99" y="77"/>
                    <a:pt x="100" y="77"/>
                  </a:cubicBezTo>
                  <a:cubicBezTo>
                    <a:pt x="102" y="77"/>
                    <a:pt x="103" y="77"/>
                    <a:pt x="102" y="76"/>
                  </a:cubicBezTo>
                  <a:close/>
                  <a:moveTo>
                    <a:pt x="103" y="99"/>
                  </a:moveTo>
                  <a:cubicBezTo>
                    <a:pt x="102" y="96"/>
                    <a:pt x="106" y="99"/>
                    <a:pt x="108" y="101"/>
                  </a:cubicBezTo>
                  <a:cubicBezTo>
                    <a:pt x="103" y="99"/>
                    <a:pt x="103" y="99"/>
                    <a:pt x="103" y="99"/>
                  </a:cubicBezTo>
                  <a:close/>
                  <a:moveTo>
                    <a:pt x="79" y="79"/>
                  </a:moveTo>
                  <a:cubicBezTo>
                    <a:pt x="77" y="77"/>
                    <a:pt x="79" y="76"/>
                    <a:pt x="80" y="77"/>
                  </a:cubicBezTo>
                  <a:cubicBezTo>
                    <a:pt x="82" y="79"/>
                    <a:pt x="80" y="82"/>
                    <a:pt x="79" y="79"/>
                  </a:cubicBezTo>
                  <a:close/>
                  <a:moveTo>
                    <a:pt x="82" y="82"/>
                  </a:moveTo>
                  <a:cubicBezTo>
                    <a:pt x="84" y="82"/>
                    <a:pt x="85" y="82"/>
                    <a:pt x="85" y="81"/>
                  </a:cubicBezTo>
                  <a:cubicBezTo>
                    <a:pt x="85" y="79"/>
                    <a:pt x="82" y="77"/>
                    <a:pt x="82" y="79"/>
                  </a:cubicBezTo>
                  <a:cubicBezTo>
                    <a:pt x="82" y="81"/>
                    <a:pt x="80" y="82"/>
                    <a:pt x="82" y="82"/>
                  </a:cubicBezTo>
                  <a:close/>
                  <a:moveTo>
                    <a:pt x="85" y="84"/>
                  </a:moveTo>
                  <a:cubicBezTo>
                    <a:pt x="85" y="85"/>
                    <a:pt x="87" y="88"/>
                    <a:pt x="88" y="87"/>
                  </a:cubicBezTo>
                  <a:cubicBezTo>
                    <a:pt x="88" y="84"/>
                    <a:pt x="88" y="84"/>
                    <a:pt x="88" y="84"/>
                  </a:cubicBezTo>
                  <a:cubicBezTo>
                    <a:pt x="87" y="85"/>
                    <a:pt x="85" y="82"/>
                    <a:pt x="85" y="84"/>
                  </a:cubicBezTo>
                  <a:close/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96" name="Freeform 217">
              <a:extLst>
                <a:ext uri="{FF2B5EF4-FFF2-40B4-BE49-F238E27FC236}">
                  <a16:creationId xmlns:a16="http://schemas.microsoft.com/office/drawing/2014/main" id="{5F36DB15-72C3-B33A-C494-CF95378D0C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282424" y="4951631"/>
              <a:ext cx="165499" cy="16549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12" y="5"/>
                </a:cxn>
                <a:cxn ang="0">
                  <a:pos x="14" y="8"/>
                </a:cxn>
                <a:cxn ang="0">
                  <a:pos x="9" y="5"/>
                </a:cxn>
                <a:cxn ang="0">
                  <a:pos x="6" y="2"/>
                </a:cxn>
                <a:cxn ang="0">
                  <a:pos x="6" y="0"/>
                </a:cxn>
                <a:cxn ang="0">
                  <a:pos x="23" y="13"/>
                </a:cxn>
                <a:cxn ang="0">
                  <a:pos x="32" y="19"/>
                </a:cxn>
                <a:cxn ang="0">
                  <a:pos x="29" y="14"/>
                </a:cxn>
                <a:cxn ang="0">
                  <a:pos x="24" y="11"/>
                </a:cxn>
                <a:cxn ang="0">
                  <a:pos x="23" y="13"/>
                </a:cxn>
                <a:cxn ang="0">
                  <a:pos x="42" y="28"/>
                </a:cxn>
                <a:cxn ang="0">
                  <a:pos x="44" y="28"/>
                </a:cxn>
                <a:cxn ang="0">
                  <a:pos x="42" y="23"/>
                </a:cxn>
                <a:cxn ang="0">
                  <a:pos x="39" y="17"/>
                </a:cxn>
                <a:cxn ang="0">
                  <a:pos x="39" y="25"/>
                </a:cxn>
                <a:cxn ang="0">
                  <a:pos x="42" y="28"/>
                </a:cxn>
                <a:cxn ang="0">
                  <a:pos x="35" y="33"/>
                </a:cxn>
                <a:cxn ang="0">
                  <a:pos x="39" y="33"/>
                </a:cxn>
                <a:cxn ang="0">
                  <a:pos x="38" y="28"/>
                </a:cxn>
                <a:cxn ang="0">
                  <a:pos x="33" y="28"/>
                </a:cxn>
                <a:cxn ang="0">
                  <a:pos x="30" y="30"/>
                </a:cxn>
                <a:cxn ang="0">
                  <a:pos x="35" y="33"/>
                </a:cxn>
                <a:cxn ang="0">
                  <a:pos x="46" y="39"/>
                </a:cxn>
                <a:cxn ang="0">
                  <a:pos x="52" y="42"/>
                </a:cxn>
                <a:cxn ang="0">
                  <a:pos x="50" y="39"/>
                </a:cxn>
                <a:cxn ang="0">
                  <a:pos x="44" y="36"/>
                </a:cxn>
                <a:cxn ang="0">
                  <a:pos x="46" y="39"/>
                </a:cxn>
                <a:cxn ang="0">
                  <a:pos x="33" y="48"/>
                </a:cxn>
                <a:cxn ang="0">
                  <a:pos x="39" y="51"/>
                </a:cxn>
                <a:cxn ang="0">
                  <a:pos x="33" y="48"/>
                </a:cxn>
                <a:cxn ang="0">
                  <a:pos x="17" y="17"/>
                </a:cxn>
                <a:cxn ang="0">
                  <a:pos x="15" y="14"/>
                </a:cxn>
                <a:cxn ang="0">
                  <a:pos x="14" y="17"/>
                </a:cxn>
                <a:cxn ang="0">
                  <a:pos x="17" y="20"/>
                </a:cxn>
                <a:cxn ang="0">
                  <a:pos x="17" y="17"/>
                </a:cxn>
                <a:cxn ang="0">
                  <a:pos x="11" y="13"/>
                </a:cxn>
                <a:cxn ang="0">
                  <a:pos x="12" y="16"/>
                </a:cxn>
                <a:cxn ang="0">
                  <a:pos x="11" y="13"/>
                </a:cxn>
                <a:cxn ang="0">
                  <a:pos x="6" y="11"/>
                </a:cxn>
                <a:cxn ang="0">
                  <a:pos x="9" y="13"/>
                </a:cxn>
                <a:cxn ang="0">
                  <a:pos x="6" y="11"/>
                </a:cxn>
                <a:cxn ang="0">
                  <a:pos x="20" y="22"/>
                </a:cxn>
                <a:cxn ang="0">
                  <a:pos x="18" y="20"/>
                </a:cxn>
                <a:cxn ang="0">
                  <a:pos x="20" y="22"/>
                </a:cxn>
                <a:cxn ang="0">
                  <a:pos x="0" y="5"/>
                </a:cxn>
                <a:cxn ang="0">
                  <a:pos x="2" y="5"/>
                </a:cxn>
                <a:cxn ang="0">
                  <a:pos x="0" y="5"/>
                </a:cxn>
              </a:cxnLst>
              <a:rect l="0" t="0" r="r" b="b"/>
              <a:pathLst>
                <a:path w="53" h="53">
                  <a:moveTo>
                    <a:pt x="6" y="0"/>
                  </a:moveTo>
                  <a:cubicBezTo>
                    <a:pt x="11" y="3"/>
                    <a:pt x="11" y="3"/>
                    <a:pt x="12" y="5"/>
                  </a:cubicBezTo>
                  <a:cubicBezTo>
                    <a:pt x="12" y="8"/>
                    <a:pt x="17" y="8"/>
                    <a:pt x="14" y="8"/>
                  </a:cubicBezTo>
                  <a:cubicBezTo>
                    <a:pt x="12" y="10"/>
                    <a:pt x="9" y="7"/>
                    <a:pt x="9" y="5"/>
                  </a:cubicBezTo>
                  <a:cubicBezTo>
                    <a:pt x="8" y="3"/>
                    <a:pt x="6" y="3"/>
                    <a:pt x="6" y="2"/>
                  </a:cubicBezTo>
                  <a:cubicBezTo>
                    <a:pt x="6" y="0"/>
                    <a:pt x="6" y="0"/>
                    <a:pt x="6" y="0"/>
                  </a:cubicBezTo>
                  <a:close/>
                  <a:moveTo>
                    <a:pt x="23" y="13"/>
                  </a:moveTo>
                  <a:cubicBezTo>
                    <a:pt x="23" y="14"/>
                    <a:pt x="30" y="17"/>
                    <a:pt x="32" y="19"/>
                  </a:cubicBezTo>
                  <a:cubicBezTo>
                    <a:pt x="35" y="22"/>
                    <a:pt x="32" y="16"/>
                    <a:pt x="29" y="14"/>
                  </a:cubicBezTo>
                  <a:cubicBezTo>
                    <a:pt x="26" y="13"/>
                    <a:pt x="27" y="11"/>
                    <a:pt x="24" y="11"/>
                  </a:cubicBezTo>
                  <a:cubicBezTo>
                    <a:pt x="23" y="10"/>
                    <a:pt x="23" y="10"/>
                    <a:pt x="23" y="13"/>
                  </a:cubicBezTo>
                  <a:close/>
                  <a:moveTo>
                    <a:pt x="42" y="28"/>
                  </a:moveTo>
                  <a:cubicBezTo>
                    <a:pt x="44" y="31"/>
                    <a:pt x="47" y="31"/>
                    <a:pt x="44" y="28"/>
                  </a:cubicBezTo>
                  <a:cubicBezTo>
                    <a:pt x="44" y="27"/>
                    <a:pt x="46" y="27"/>
                    <a:pt x="42" y="23"/>
                  </a:cubicBezTo>
                  <a:cubicBezTo>
                    <a:pt x="41" y="22"/>
                    <a:pt x="42" y="19"/>
                    <a:pt x="39" y="17"/>
                  </a:cubicBezTo>
                  <a:cubicBezTo>
                    <a:pt x="36" y="17"/>
                    <a:pt x="39" y="19"/>
                    <a:pt x="39" y="25"/>
                  </a:cubicBezTo>
                  <a:cubicBezTo>
                    <a:pt x="41" y="27"/>
                    <a:pt x="41" y="27"/>
                    <a:pt x="42" y="28"/>
                  </a:cubicBezTo>
                  <a:close/>
                  <a:moveTo>
                    <a:pt x="35" y="33"/>
                  </a:moveTo>
                  <a:cubicBezTo>
                    <a:pt x="38" y="31"/>
                    <a:pt x="36" y="33"/>
                    <a:pt x="39" y="33"/>
                  </a:cubicBezTo>
                  <a:cubicBezTo>
                    <a:pt x="42" y="34"/>
                    <a:pt x="39" y="31"/>
                    <a:pt x="38" y="28"/>
                  </a:cubicBezTo>
                  <a:cubicBezTo>
                    <a:pt x="36" y="27"/>
                    <a:pt x="35" y="30"/>
                    <a:pt x="33" y="28"/>
                  </a:cubicBezTo>
                  <a:cubicBezTo>
                    <a:pt x="32" y="27"/>
                    <a:pt x="30" y="27"/>
                    <a:pt x="30" y="30"/>
                  </a:cubicBezTo>
                  <a:cubicBezTo>
                    <a:pt x="30" y="31"/>
                    <a:pt x="33" y="33"/>
                    <a:pt x="35" y="33"/>
                  </a:cubicBezTo>
                  <a:close/>
                  <a:moveTo>
                    <a:pt x="46" y="39"/>
                  </a:moveTo>
                  <a:cubicBezTo>
                    <a:pt x="46" y="40"/>
                    <a:pt x="50" y="42"/>
                    <a:pt x="52" y="42"/>
                  </a:cubicBezTo>
                  <a:cubicBezTo>
                    <a:pt x="53" y="42"/>
                    <a:pt x="52" y="39"/>
                    <a:pt x="50" y="39"/>
                  </a:cubicBezTo>
                  <a:cubicBezTo>
                    <a:pt x="49" y="39"/>
                    <a:pt x="46" y="36"/>
                    <a:pt x="44" y="36"/>
                  </a:cubicBezTo>
                  <a:cubicBezTo>
                    <a:pt x="42" y="37"/>
                    <a:pt x="46" y="37"/>
                    <a:pt x="46" y="39"/>
                  </a:cubicBezTo>
                  <a:close/>
                  <a:moveTo>
                    <a:pt x="33" y="48"/>
                  </a:moveTo>
                  <a:cubicBezTo>
                    <a:pt x="35" y="47"/>
                    <a:pt x="39" y="51"/>
                    <a:pt x="39" y="51"/>
                  </a:cubicBezTo>
                  <a:cubicBezTo>
                    <a:pt x="38" y="53"/>
                    <a:pt x="33" y="50"/>
                    <a:pt x="33" y="48"/>
                  </a:cubicBezTo>
                  <a:close/>
                  <a:moveTo>
                    <a:pt x="17" y="17"/>
                  </a:moveTo>
                  <a:cubicBezTo>
                    <a:pt x="15" y="16"/>
                    <a:pt x="17" y="14"/>
                    <a:pt x="15" y="14"/>
                  </a:cubicBezTo>
                  <a:cubicBezTo>
                    <a:pt x="14" y="13"/>
                    <a:pt x="12" y="19"/>
                    <a:pt x="14" y="17"/>
                  </a:cubicBezTo>
                  <a:cubicBezTo>
                    <a:pt x="15" y="17"/>
                    <a:pt x="15" y="17"/>
                    <a:pt x="17" y="20"/>
                  </a:cubicBezTo>
                  <a:cubicBezTo>
                    <a:pt x="17" y="20"/>
                    <a:pt x="18" y="19"/>
                    <a:pt x="17" y="17"/>
                  </a:cubicBezTo>
                  <a:close/>
                  <a:moveTo>
                    <a:pt x="11" y="13"/>
                  </a:moveTo>
                  <a:cubicBezTo>
                    <a:pt x="11" y="11"/>
                    <a:pt x="12" y="14"/>
                    <a:pt x="12" y="16"/>
                  </a:cubicBezTo>
                  <a:cubicBezTo>
                    <a:pt x="11" y="17"/>
                    <a:pt x="9" y="14"/>
                    <a:pt x="11" y="13"/>
                  </a:cubicBezTo>
                  <a:close/>
                  <a:moveTo>
                    <a:pt x="6" y="11"/>
                  </a:moveTo>
                  <a:cubicBezTo>
                    <a:pt x="6" y="10"/>
                    <a:pt x="11" y="11"/>
                    <a:pt x="9" y="13"/>
                  </a:cubicBezTo>
                  <a:cubicBezTo>
                    <a:pt x="8" y="14"/>
                    <a:pt x="6" y="11"/>
                    <a:pt x="6" y="11"/>
                  </a:cubicBezTo>
                  <a:close/>
                  <a:moveTo>
                    <a:pt x="20" y="22"/>
                  </a:moveTo>
                  <a:cubicBezTo>
                    <a:pt x="18" y="22"/>
                    <a:pt x="17" y="22"/>
                    <a:pt x="18" y="20"/>
                  </a:cubicBezTo>
                  <a:cubicBezTo>
                    <a:pt x="18" y="19"/>
                    <a:pt x="20" y="20"/>
                    <a:pt x="20" y="22"/>
                  </a:cubicBezTo>
                  <a:close/>
                  <a:moveTo>
                    <a:pt x="0" y="5"/>
                  </a:moveTo>
                  <a:cubicBezTo>
                    <a:pt x="0" y="3"/>
                    <a:pt x="2" y="5"/>
                    <a:pt x="2" y="5"/>
                  </a:cubicBezTo>
                  <a:cubicBezTo>
                    <a:pt x="2" y="7"/>
                    <a:pt x="0" y="7"/>
                    <a:pt x="0" y="5"/>
                  </a:cubicBezTo>
                  <a:close/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97" name="Freeform 218">
              <a:extLst>
                <a:ext uri="{FF2B5EF4-FFF2-40B4-BE49-F238E27FC236}">
                  <a16:creationId xmlns:a16="http://schemas.microsoft.com/office/drawing/2014/main" id="{76E3D0AF-4350-0D50-EEB3-D93702A1AB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547543" y="5199070"/>
              <a:ext cx="77125" cy="162282"/>
            </a:xfrm>
            <a:custGeom>
              <a:avLst/>
              <a:gdLst/>
              <a:ahLst/>
              <a:cxnLst>
                <a:cxn ang="0">
                  <a:pos x="5" y="11"/>
                </a:cxn>
                <a:cxn ang="0">
                  <a:pos x="2" y="8"/>
                </a:cxn>
                <a:cxn ang="0">
                  <a:pos x="2" y="3"/>
                </a:cxn>
                <a:cxn ang="0">
                  <a:pos x="3" y="3"/>
                </a:cxn>
                <a:cxn ang="0">
                  <a:pos x="5" y="5"/>
                </a:cxn>
                <a:cxn ang="0">
                  <a:pos x="5" y="11"/>
                </a:cxn>
                <a:cxn ang="0">
                  <a:pos x="8" y="16"/>
                </a:cxn>
                <a:cxn ang="0">
                  <a:pos x="11" y="19"/>
                </a:cxn>
                <a:cxn ang="0">
                  <a:pos x="6" y="14"/>
                </a:cxn>
                <a:cxn ang="0">
                  <a:pos x="8" y="16"/>
                </a:cxn>
                <a:cxn ang="0">
                  <a:pos x="14" y="30"/>
                </a:cxn>
                <a:cxn ang="0">
                  <a:pos x="17" y="33"/>
                </a:cxn>
                <a:cxn ang="0">
                  <a:pos x="14" y="30"/>
                </a:cxn>
                <a:cxn ang="0">
                  <a:pos x="15" y="22"/>
                </a:cxn>
                <a:cxn ang="0">
                  <a:pos x="14" y="21"/>
                </a:cxn>
                <a:cxn ang="0">
                  <a:pos x="15" y="22"/>
                </a:cxn>
                <a:cxn ang="0">
                  <a:pos x="12" y="18"/>
                </a:cxn>
                <a:cxn ang="0">
                  <a:pos x="14" y="16"/>
                </a:cxn>
                <a:cxn ang="0">
                  <a:pos x="12" y="18"/>
                </a:cxn>
                <a:cxn ang="0">
                  <a:pos x="11" y="10"/>
                </a:cxn>
                <a:cxn ang="0">
                  <a:pos x="12" y="7"/>
                </a:cxn>
                <a:cxn ang="0">
                  <a:pos x="11" y="10"/>
                </a:cxn>
                <a:cxn ang="0">
                  <a:pos x="20" y="41"/>
                </a:cxn>
                <a:cxn ang="0">
                  <a:pos x="23" y="44"/>
                </a:cxn>
                <a:cxn ang="0">
                  <a:pos x="20" y="41"/>
                </a:cxn>
                <a:cxn ang="0">
                  <a:pos x="23" y="49"/>
                </a:cxn>
                <a:cxn ang="0">
                  <a:pos x="25" y="52"/>
                </a:cxn>
                <a:cxn ang="0">
                  <a:pos x="23" y="49"/>
                </a:cxn>
              </a:cxnLst>
              <a:rect l="0" t="0" r="r" b="b"/>
              <a:pathLst>
                <a:path w="25" h="52">
                  <a:moveTo>
                    <a:pt x="5" y="11"/>
                  </a:moveTo>
                  <a:cubicBezTo>
                    <a:pt x="2" y="11"/>
                    <a:pt x="3" y="11"/>
                    <a:pt x="2" y="8"/>
                  </a:cubicBezTo>
                  <a:cubicBezTo>
                    <a:pt x="0" y="7"/>
                    <a:pt x="2" y="7"/>
                    <a:pt x="2" y="3"/>
                  </a:cubicBezTo>
                  <a:cubicBezTo>
                    <a:pt x="0" y="0"/>
                    <a:pt x="2" y="0"/>
                    <a:pt x="3" y="3"/>
                  </a:cubicBezTo>
                  <a:cubicBezTo>
                    <a:pt x="3" y="8"/>
                    <a:pt x="5" y="2"/>
                    <a:pt x="5" y="5"/>
                  </a:cubicBezTo>
                  <a:cubicBezTo>
                    <a:pt x="6" y="8"/>
                    <a:pt x="8" y="10"/>
                    <a:pt x="5" y="11"/>
                  </a:cubicBezTo>
                  <a:close/>
                  <a:moveTo>
                    <a:pt x="8" y="16"/>
                  </a:moveTo>
                  <a:cubicBezTo>
                    <a:pt x="9" y="18"/>
                    <a:pt x="8" y="21"/>
                    <a:pt x="11" y="19"/>
                  </a:cubicBezTo>
                  <a:cubicBezTo>
                    <a:pt x="12" y="19"/>
                    <a:pt x="6" y="11"/>
                    <a:pt x="6" y="14"/>
                  </a:cubicBezTo>
                  <a:cubicBezTo>
                    <a:pt x="6" y="16"/>
                    <a:pt x="5" y="16"/>
                    <a:pt x="8" y="16"/>
                  </a:cubicBezTo>
                  <a:close/>
                  <a:moveTo>
                    <a:pt x="14" y="30"/>
                  </a:moveTo>
                  <a:cubicBezTo>
                    <a:pt x="15" y="28"/>
                    <a:pt x="18" y="33"/>
                    <a:pt x="17" y="33"/>
                  </a:cubicBezTo>
                  <a:cubicBezTo>
                    <a:pt x="15" y="33"/>
                    <a:pt x="14" y="32"/>
                    <a:pt x="14" y="30"/>
                  </a:cubicBezTo>
                  <a:close/>
                  <a:moveTo>
                    <a:pt x="15" y="22"/>
                  </a:moveTo>
                  <a:cubicBezTo>
                    <a:pt x="12" y="22"/>
                    <a:pt x="14" y="19"/>
                    <a:pt x="14" y="21"/>
                  </a:cubicBezTo>
                  <a:cubicBezTo>
                    <a:pt x="15" y="22"/>
                    <a:pt x="15" y="24"/>
                    <a:pt x="15" y="22"/>
                  </a:cubicBezTo>
                  <a:close/>
                  <a:moveTo>
                    <a:pt x="12" y="18"/>
                  </a:moveTo>
                  <a:cubicBezTo>
                    <a:pt x="11" y="16"/>
                    <a:pt x="14" y="14"/>
                    <a:pt x="14" y="16"/>
                  </a:cubicBezTo>
                  <a:cubicBezTo>
                    <a:pt x="15" y="19"/>
                    <a:pt x="12" y="19"/>
                    <a:pt x="12" y="18"/>
                  </a:cubicBezTo>
                  <a:close/>
                  <a:moveTo>
                    <a:pt x="11" y="10"/>
                  </a:moveTo>
                  <a:cubicBezTo>
                    <a:pt x="9" y="8"/>
                    <a:pt x="12" y="7"/>
                    <a:pt x="12" y="7"/>
                  </a:cubicBezTo>
                  <a:cubicBezTo>
                    <a:pt x="14" y="8"/>
                    <a:pt x="11" y="10"/>
                    <a:pt x="11" y="10"/>
                  </a:cubicBezTo>
                  <a:close/>
                  <a:moveTo>
                    <a:pt x="20" y="41"/>
                  </a:moveTo>
                  <a:cubicBezTo>
                    <a:pt x="21" y="39"/>
                    <a:pt x="25" y="44"/>
                    <a:pt x="23" y="44"/>
                  </a:cubicBezTo>
                  <a:cubicBezTo>
                    <a:pt x="21" y="46"/>
                    <a:pt x="20" y="43"/>
                    <a:pt x="20" y="41"/>
                  </a:cubicBezTo>
                  <a:close/>
                  <a:moveTo>
                    <a:pt x="23" y="49"/>
                  </a:moveTo>
                  <a:cubicBezTo>
                    <a:pt x="23" y="47"/>
                    <a:pt x="25" y="52"/>
                    <a:pt x="25" y="52"/>
                  </a:cubicBezTo>
                  <a:cubicBezTo>
                    <a:pt x="23" y="52"/>
                    <a:pt x="21" y="49"/>
                    <a:pt x="23" y="49"/>
                  </a:cubicBezTo>
                  <a:close/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98" name="Freeform 219">
              <a:extLst>
                <a:ext uri="{FF2B5EF4-FFF2-40B4-BE49-F238E27FC236}">
                  <a16:creationId xmlns:a16="http://schemas.microsoft.com/office/drawing/2014/main" id="{99FBA940-2982-700E-5B4D-7613DA4A51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478452" y="5372600"/>
              <a:ext cx="118902" cy="72304"/>
            </a:xfrm>
            <a:custGeom>
              <a:avLst/>
              <a:gdLst/>
              <a:ahLst/>
              <a:cxnLst>
                <a:cxn ang="0">
                  <a:pos x="34" y="14"/>
                </a:cxn>
                <a:cxn ang="0">
                  <a:pos x="36" y="13"/>
                </a:cxn>
                <a:cxn ang="0">
                  <a:pos x="34" y="14"/>
                </a:cxn>
                <a:cxn ang="0">
                  <a:pos x="30" y="6"/>
                </a:cxn>
                <a:cxn ang="0">
                  <a:pos x="27" y="6"/>
                </a:cxn>
                <a:cxn ang="0">
                  <a:pos x="28" y="10"/>
                </a:cxn>
                <a:cxn ang="0">
                  <a:pos x="30" y="6"/>
                </a:cxn>
                <a:cxn ang="0">
                  <a:pos x="16" y="14"/>
                </a:cxn>
                <a:cxn ang="0">
                  <a:pos x="13" y="11"/>
                </a:cxn>
                <a:cxn ang="0">
                  <a:pos x="4" y="2"/>
                </a:cxn>
                <a:cxn ang="0">
                  <a:pos x="4" y="3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4" y="6"/>
                </a:cxn>
                <a:cxn ang="0">
                  <a:pos x="4" y="8"/>
                </a:cxn>
                <a:cxn ang="0">
                  <a:pos x="7" y="10"/>
                </a:cxn>
                <a:cxn ang="0">
                  <a:pos x="7" y="11"/>
                </a:cxn>
                <a:cxn ang="0">
                  <a:pos x="8" y="13"/>
                </a:cxn>
                <a:cxn ang="0">
                  <a:pos x="8" y="13"/>
                </a:cxn>
                <a:cxn ang="0">
                  <a:pos x="10" y="14"/>
                </a:cxn>
                <a:cxn ang="0">
                  <a:pos x="11" y="14"/>
                </a:cxn>
                <a:cxn ang="0">
                  <a:pos x="16" y="19"/>
                </a:cxn>
                <a:cxn ang="0">
                  <a:pos x="21" y="22"/>
                </a:cxn>
                <a:cxn ang="0">
                  <a:pos x="21" y="23"/>
                </a:cxn>
                <a:cxn ang="0">
                  <a:pos x="18" y="16"/>
                </a:cxn>
                <a:cxn ang="0">
                  <a:pos x="16" y="14"/>
                </a:cxn>
              </a:cxnLst>
              <a:rect l="0" t="0" r="r" b="b"/>
              <a:pathLst>
                <a:path w="38" h="23">
                  <a:moveTo>
                    <a:pt x="34" y="14"/>
                  </a:moveTo>
                  <a:cubicBezTo>
                    <a:pt x="33" y="13"/>
                    <a:pt x="34" y="11"/>
                    <a:pt x="36" y="13"/>
                  </a:cubicBezTo>
                  <a:cubicBezTo>
                    <a:pt x="38" y="16"/>
                    <a:pt x="34" y="16"/>
                    <a:pt x="34" y="14"/>
                  </a:cubicBezTo>
                  <a:close/>
                  <a:moveTo>
                    <a:pt x="30" y="6"/>
                  </a:moveTo>
                  <a:cubicBezTo>
                    <a:pt x="28" y="5"/>
                    <a:pt x="27" y="5"/>
                    <a:pt x="27" y="6"/>
                  </a:cubicBezTo>
                  <a:cubicBezTo>
                    <a:pt x="28" y="6"/>
                    <a:pt x="25" y="8"/>
                    <a:pt x="28" y="10"/>
                  </a:cubicBezTo>
                  <a:cubicBezTo>
                    <a:pt x="31" y="11"/>
                    <a:pt x="31" y="8"/>
                    <a:pt x="30" y="6"/>
                  </a:cubicBezTo>
                  <a:close/>
                  <a:moveTo>
                    <a:pt x="16" y="14"/>
                  </a:moveTo>
                  <a:cubicBezTo>
                    <a:pt x="13" y="11"/>
                    <a:pt x="13" y="11"/>
                    <a:pt x="13" y="11"/>
                  </a:cubicBezTo>
                  <a:cubicBezTo>
                    <a:pt x="13" y="8"/>
                    <a:pt x="5" y="3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2" y="3"/>
                    <a:pt x="2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1" y="14"/>
                  </a:cubicBezTo>
                  <a:cubicBezTo>
                    <a:pt x="11" y="16"/>
                    <a:pt x="14" y="17"/>
                    <a:pt x="16" y="19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7" y="20"/>
                    <a:pt x="27" y="23"/>
                    <a:pt x="18" y="16"/>
                  </a:cubicBezTo>
                  <a:cubicBezTo>
                    <a:pt x="18" y="14"/>
                    <a:pt x="16" y="13"/>
                    <a:pt x="16" y="14"/>
                  </a:cubicBezTo>
                  <a:close/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899" name="Freeform 220">
              <a:extLst>
                <a:ext uri="{FF2B5EF4-FFF2-40B4-BE49-F238E27FC236}">
                  <a16:creationId xmlns:a16="http://schemas.microsoft.com/office/drawing/2014/main" id="{56CCD69C-2859-7C2B-308C-17695D5E9F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11840" y="4543516"/>
              <a:ext cx="102834" cy="178350"/>
            </a:xfrm>
            <a:custGeom>
              <a:avLst/>
              <a:gdLst/>
              <a:ahLst/>
              <a:cxnLst>
                <a:cxn ang="0">
                  <a:pos x="15" y="7"/>
                </a:cxn>
                <a:cxn ang="0">
                  <a:pos x="18" y="8"/>
                </a:cxn>
                <a:cxn ang="0">
                  <a:pos x="26" y="19"/>
                </a:cxn>
                <a:cxn ang="0">
                  <a:pos x="26" y="27"/>
                </a:cxn>
                <a:cxn ang="0">
                  <a:pos x="26" y="32"/>
                </a:cxn>
                <a:cxn ang="0">
                  <a:pos x="27" y="41"/>
                </a:cxn>
                <a:cxn ang="0">
                  <a:pos x="32" y="49"/>
                </a:cxn>
                <a:cxn ang="0">
                  <a:pos x="32" y="54"/>
                </a:cxn>
                <a:cxn ang="0">
                  <a:pos x="30" y="52"/>
                </a:cxn>
                <a:cxn ang="0">
                  <a:pos x="29" y="54"/>
                </a:cxn>
                <a:cxn ang="0">
                  <a:pos x="26" y="54"/>
                </a:cxn>
                <a:cxn ang="0">
                  <a:pos x="17" y="47"/>
                </a:cxn>
                <a:cxn ang="0">
                  <a:pos x="9" y="38"/>
                </a:cxn>
                <a:cxn ang="0">
                  <a:pos x="5" y="28"/>
                </a:cxn>
                <a:cxn ang="0">
                  <a:pos x="3" y="24"/>
                </a:cxn>
                <a:cxn ang="0">
                  <a:pos x="2" y="16"/>
                </a:cxn>
                <a:cxn ang="0">
                  <a:pos x="0" y="3"/>
                </a:cxn>
                <a:cxn ang="0">
                  <a:pos x="2" y="2"/>
                </a:cxn>
                <a:cxn ang="0">
                  <a:pos x="5" y="5"/>
                </a:cxn>
                <a:cxn ang="0">
                  <a:pos x="8" y="7"/>
                </a:cxn>
                <a:cxn ang="0">
                  <a:pos x="8" y="11"/>
                </a:cxn>
                <a:cxn ang="0">
                  <a:pos x="12" y="10"/>
                </a:cxn>
                <a:cxn ang="0">
                  <a:pos x="15" y="7"/>
                </a:cxn>
              </a:cxnLst>
              <a:rect l="0" t="0" r="r" b="b"/>
              <a:pathLst>
                <a:path w="33" h="57">
                  <a:moveTo>
                    <a:pt x="15" y="7"/>
                  </a:moveTo>
                  <a:cubicBezTo>
                    <a:pt x="17" y="7"/>
                    <a:pt x="17" y="5"/>
                    <a:pt x="18" y="8"/>
                  </a:cubicBezTo>
                  <a:cubicBezTo>
                    <a:pt x="18" y="11"/>
                    <a:pt x="24" y="14"/>
                    <a:pt x="26" y="19"/>
                  </a:cubicBezTo>
                  <a:cubicBezTo>
                    <a:pt x="27" y="24"/>
                    <a:pt x="26" y="27"/>
                    <a:pt x="26" y="27"/>
                  </a:cubicBezTo>
                  <a:cubicBezTo>
                    <a:pt x="26" y="28"/>
                    <a:pt x="24" y="30"/>
                    <a:pt x="26" y="32"/>
                  </a:cubicBezTo>
                  <a:cubicBezTo>
                    <a:pt x="27" y="33"/>
                    <a:pt x="23" y="38"/>
                    <a:pt x="27" y="41"/>
                  </a:cubicBezTo>
                  <a:cubicBezTo>
                    <a:pt x="30" y="44"/>
                    <a:pt x="29" y="47"/>
                    <a:pt x="32" y="49"/>
                  </a:cubicBezTo>
                  <a:cubicBezTo>
                    <a:pt x="32" y="50"/>
                    <a:pt x="33" y="55"/>
                    <a:pt x="32" y="54"/>
                  </a:cubicBezTo>
                  <a:cubicBezTo>
                    <a:pt x="30" y="54"/>
                    <a:pt x="32" y="54"/>
                    <a:pt x="30" y="52"/>
                  </a:cubicBezTo>
                  <a:cubicBezTo>
                    <a:pt x="29" y="52"/>
                    <a:pt x="30" y="54"/>
                    <a:pt x="29" y="54"/>
                  </a:cubicBezTo>
                  <a:cubicBezTo>
                    <a:pt x="26" y="52"/>
                    <a:pt x="27" y="57"/>
                    <a:pt x="26" y="54"/>
                  </a:cubicBezTo>
                  <a:cubicBezTo>
                    <a:pt x="24" y="50"/>
                    <a:pt x="23" y="54"/>
                    <a:pt x="17" y="47"/>
                  </a:cubicBezTo>
                  <a:cubicBezTo>
                    <a:pt x="9" y="39"/>
                    <a:pt x="8" y="41"/>
                    <a:pt x="9" y="38"/>
                  </a:cubicBezTo>
                  <a:cubicBezTo>
                    <a:pt x="11" y="35"/>
                    <a:pt x="3" y="30"/>
                    <a:pt x="5" y="28"/>
                  </a:cubicBezTo>
                  <a:cubicBezTo>
                    <a:pt x="5" y="27"/>
                    <a:pt x="3" y="28"/>
                    <a:pt x="3" y="24"/>
                  </a:cubicBezTo>
                  <a:cubicBezTo>
                    <a:pt x="3" y="17"/>
                    <a:pt x="0" y="19"/>
                    <a:pt x="2" y="16"/>
                  </a:cubicBezTo>
                  <a:cubicBezTo>
                    <a:pt x="2" y="14"/>
                    <a:pt x="3" y="8"/>
                    <a:pt x="0" y="3"/>
                  </a:cubicBezTo>
                  <a:cubicBezTo>
                    <a:pt x="0" y="0"/>
                    <a:pt x="0" y="0"/>
                    <a:pt x="2" y="2"/>
                  </a:cubicBezTo>
                  <a:cubicBezTo>
                    <a:pt x="3" y="3"/>
                    <a:pt x="5" y="2"/>
                    <a:pt x="5" y="5"/>
                  </a:cubicBezTo>
                  <a:cubicBezTo>
                    <a:pt x="6" y="7"/>
                    <a:pt x="8" y="3"/>
                    <a:pt x="8" y="7"/>
                  </a:cubicBezTo>
                  <a:cubicBezTo>
                    <a:pt x="8" y="8"/>
                    <a:pt x="6" y="10"/>
                    <a:pt x="8" y="11"/>
                  </a:cubicBezTo>
                  <a:cubicBezTo>
                    <a:pt x="9" y="13"/>
                    <a:pt x="9" y="7"/>
                    <a:pt x="12" y="10"/>
                  </a:cubicBezTo>
                  <a:cubicBezTo>
                    <a:pt x="14" y="11"/>
                    <a:pt x="14" y="11"/>
                    <a:pt x="15" y="7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900" name="Freeform 221">
              <a:extLst>
                <a:ext uri="{FF2B5EF4-FFF2-40B4-BE49-F238E27FC236}">
                  <a16:creationId xmlns:a16="http://schemas.microsoft.com/office/drawing/2014/main" id="{742B842F-144B-506B-39B5-1C0D2119336F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95393" y="4709012"/>
              <a:ext cx="9641" cy="12854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3" y="0"/>
                </a:cxn>
                <a:cxn ang="0">
                  <a:pos x="0" y="2"/>
                </a:cxn>
              </a:cxnLst>
              <a:rect l="0" t="0" r="r" b="b"/>
              <a:pathLst>
                <a:path w="3" h="4">
                  <a:moveTo>
                    <a:pt x="0" y="2"/>
                  </a:moveTo>
                  <a:cubicBezTo>
                    <a:pt x="0" y="0"/>
                    <a:pt x="3" y="0"/>
                    <a:pt x="3" y="0"/>
                  </a:cubicBezTo>
                  <a:cubicBezTo>
                    <a:pt x="3" y="2"/>
                    <a:pt x="2" y="4"/>
                    <a:pt x="0" y="2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901" name="Freeform 222">
              <a:extLst>
                <a:ext uri="{FF2B5EF4-FFF2-40B4-BE49-F238E27FC236}">
                  <a16:creationId xmlns:a16="http://schemas.microsoft.com/office/drawing/2014/main" id="{EFD0F888-2618-1335-0EBB-C4C08ACDC0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83297" y="4575651"/>
              <a:ext cx="1115107" cy="510947"/>
            </a:xfrm>
            <a:custGeom>
              <a:avLst/>
              <a:gdLst/>
              <a:ahLst/>
              <a:cxnLst>
                <a:cxn ang="0">
                  <a:pos x="306" y="91"/>
                </a:cxn>
                <a:cxn ang="0">
                  <a:pos x="288" y="67"/>
                </a:cxn>
                <a:cxn ang="0">
                  <a:pos x="341" y="73"/>
                </a:cxn>
                <a:cxn ang="0">
                  <a:pos x="157" y="37"/>
                </a:cxn>
                <a:cxn ang="0">
                  <a:pos x="115" y="40"/>
                </a:cxn>
                <a:cxn ang="0">
                  <a:pos x="121" y="87"/>
                </a:cxn>
                <a:cxn ang="0">
                  <a:pos x="167" y="87"/>
                </a:cxn>
                <a:cxn ang="0">
                  <a:pos x="179" y="29"/>
                </a:cxn>
                <a:cxn ang="0">
                  <a:pos x="24" y="35"/>
                </a:cxn>
                <a:cxn ang="0">
                  <a:pos x="71" y="112"/>
                </a:cxn>
                <a:cxn ang="0">
                  <a:pos x="77" y="80"/>
                </a:cxn>
                <a:cxn ang="0">
                  <a:pos x="45" y="37"/>
                </a:cxn>
                <a:cxn ang="0">
                  <a:pos x="4" y="1"/>
                </a:cxn>
                <a:cxn ang="0">
                  <a:pos x="138" y="140"/>
                </a:cxn>
                <a:cxn ang="0">
                  <a:pos x="128" y="122"/>
                </a:cxn>
                <a:cxn ang="0">
                  <a:pos x="85" y="121"/>
                </a:cxn>
                <a:cxn ang="0">
                  <a:pos x="347" y="129"/>
                </a:cxn>
                <a:cxn ang="0">
                  <a:pos x="161" y="124"/>
                </a:cxn>
                <a:cxn ang="0">
                  <a:pos x="166" y="143"/>
                </a:cxn>
                <a:cxn ang="0">
                  <a:pos x="189" y="144"/>
                </a:cxn>
                <a:cxn ang="0">
                  <a:pos x="181" y="141"/>
                </a:cxn>
                <a:cxn ang="0">
                  <a:pos x="195" y="140"/>
                </a:cxn>
                <a:cxn ang="0">
                  <a:pos x="208" y="144"/>
                </a:cxn>
                <a:cxn ang="0">
                  <a:pos x="210" y="141"/>
                </a:cxn>
                <a:cxn ang="0">
                  <a:pos x="222" y="141"/>
                </a:cxn>
                <a:cxn ang="0">
                  <a:pos x="228" y="138"/>
                </a:cxn>
                <a:cxn ang="0">
                  <a:pos x="236" y="136"/>
                </a:cxn>
                <a:cxn ang="0">
                  <a:pos x="195" y="149"/>
                </a:cxn>
                <a:cxn ang="0">
                  <a:pos x="240" y="149"/>
                </a:cxn>
                <a:cxn ang="0">
                  <a:pos x="230" y="149"/>
                </a:cxn>
                <a:cxn ang="0">
                  <a:pos x="205" y="88"/>
                </a:cxn>
                <a:cxn ang="0">
                  <a:pos x="221" y="63"/>
                </a:cxn>
                <a:cxn ang="0">
                  <a:pos x="231" y="48"/>
                </a:cxn>
                <a:cxn ang="0">
                  <a:pos x="193" y="73"/>
                </a:cxn>
                <a:cxn ang="0">
                  <a:pos x="246" y="88"/>
                </a:cxn>
                <a:cxn ang="0">
                  <a:pos x="260" y="90"/>
                </a:cxn>
                <a:cxn ang="0">
                  <a:pos x="262" y="71"/>
                </a:cxn>
                <a:cxn ang="0">
                  <a:pos x="285" y="70"/>
                </a:cxn>
                <a:cxn ang="0">
                  <a:pos x="260" y="54"/>
                </a:cxn>
                <a:cxn ang="0">
                  <a:pos x="257" y="48"/>
                </a:cxn>
                <a:cxn ang="0">
                  <a:pos x="213" y="107"/>
                </a:cxn>
                <a:cxn ang="0">
                  <a:pos x="224" y="101"/>
                </a:cxn>
                <a:cxn ang="0">
                  <a:pos x="225" y="70"/>
                </a:cxn>
                <a:cxn ang="0">
                  <a:pos x="312" y="119"/>
                </a:cxn>
                <a:cxn ang="0">
                  <a:pos x="100" y="88"/>
                </a:cxn>
                <a:cxn ang="0">
                  <a:pos x="90" y="82"/>
                </a:cxn>
                <a:cxn ang="0">
                  <a:pos x="12" y="34"/>
                </a:cxn>
                <a:cxn ang="0">
                  <a:pos x="29" y="67"/>
                </a:cxn>
                <a:cxn ang="0">
                  <a:pos x="74" y="60"/>
                </a:cxn>
                <a:cxn ang="0">
                  <a:pos x="67" y="48"/>
                </a:cxn>
                <a:cxn ang="0">
                  <a:pos x="58" y="43"/>
                </a:cxn>
                <a:cxn ang="0">
                  <a:pos x="62" y="48"/>
                </a:cxn>
                <a:cxn ang="0">
                  <a:pos x="326" y="74"/>
                </a:cxn>
                <a:cxn ang="0">
                  <a:pos x="275" y="135"/>
                </a:cxn>
                <a:cxn ang="0">
                  <a:pos x="260" y="138"/>
                </a:cxn>
                <a:cxn ang="0">
                  <a:pos x="312" y="115"/>
                </a:cxn>
                <a:cxn ang="0">
                  <a:pos x="245" y="76"/>
                </a:cxn>
                <a:cxn ang="0">
                  <a:pos x="265" y="91"/>
                </a:cxn>
                <a:cxn ang="0">
                  <a:pos x="74" y="45"/>
                </a:cxn>
              </a:cxnLst>
              <a:rect l="0" t="0" r="r" b="b"/>
              <a:pathLst>
                <a:path w="358" h="164">
                  <a:moveTo>
                    <a:pt x="358" y="138"/>
                  </a:moveTo>
                  <a:cubicBezTo>
                    <a:pt x="353" y="136"/>
                    <a:pt x="352" y="138"/>
                    <a:pt x="350" y="136"/>
                  </a:cubicBezTo>
                  <a:cubicBezTo>
                    <a:pt x="350" y="135"/>
                    <a:pt x="345" y="140"/>
                    <a:pt x="349" y="133"/>
                  </a:cubicBezTo>
                  <a:cubicBezTo>
                    <a:pt x="352" y="129"/>
                    <a:pt x="345" y="130"/>
                    <a:pt x="345" y="125"/>
                  </a:cubicBezTo>
                  <a:cubicBezTo>
                    <a:pt x="344" y="122"/>
                    <a:pt x="349" y="125"/>
                    <a:pt x="345" y="121"/>
                  </a:cubicBezTo>
                  <a:cubicBezTo>
                    <a:pt x="342" y="118"/>
                    <a:pt x="341" y="110"/>
                    <a:pt x="338" y="107"/>
                  </a:cubicBezTo>
                  <a:cubicBezTo>
                    <a:pt x="333" y="104"/>
                    <a:pt x="330" y="105"/>
                    <a:pt x="327" y="102"/>
                  </a:cubicBezTo>
                  <a:cubicBezTo>
                    <a:pt x="321" y="99"/>
                    <a:pt x="320" y="102"/>
                    <a:pt x="313" y="97"/>
                  </a:cubicBezTo>
                  <a:cubicBezTo>
                    <a:pt x="309" y="93"/>
                    <a:pt x="306" y="94"/>
                    <a:pt x="306" y="91"/>
                  </a:cubicBezTo>
                  <a:cubicBezTo>
                    <a:pt x="307" y="85"/>
                    <a:pt x="306" y="85"/>
                    <a:pt x="304" y="93"/>
                  </a:cubicBezTo>
                  <a:cubicBezTo>
                    <a:pt x="304" y="97"/>
                    <a:pt x="300" y="97"/>
                    <a:pt x="298" y="94"/>
                  </a:cubicBezTo>
                  <a:cubicBezTo>
                    <a:pt x="297" y="91"/>
                    <a:pt x="303" y="93"/>
                    <a:pt x="298" y="88"/>
                  </a:cubicBezTo>
                  <a:cubicBezTo>
                    <a:pt x="294" y="85"/>
                    <a:pt x="294" y="87"/>
                    <a:pt x="292" y="85"/>
                  </a:cubicBezTo>
                  <a:cubicBezTo>
                    <a:pt x="292" y="80"/>
                    <a:pt x="300" y="87"/>
                    <a:pt x="301" y="82"/>
                  </a:cubicBezTo>
                  <a:cubicBezTo>
                    <a:pt x="301" y="79"/>
                    <a:pt x="307" y="84"/>
                    <a:pt x="307" y="80"/>
                  </a:cubicBezTo>
                  <a:cubicBezTo>
                    <a:pt x="307" y="76"/>
                    <a:pt x="295" y="82"/>
                    <a:pt x="294" y="77"/>
                  </a:cubicBezTo>
                  <a:cubicBezTo>
                    <a:pt x="291" y="73"/>
                    <a:pt x="291" y="71"/>
                    <a:pt x="288" y="71"/>
                  </a:cubicBezTo>
                  <a:cubicBezTo>
                    <a:pt x="281" y="71"/>
                    <a:pt x="288" y="68"/>
                    <a:pt x="288" y="67"/>
                  </a:cubicBezTo>
                  <a:cubicBezTo>
                    <a:pt x="286" y="63"/>
                    <a:pt x="289" y="65"/>
                    <a:pt x="292" y="63"/>
                  </a:cubicBezTo>
                  <a:cubicBezTo>
                    <a:pt x="294" y="63"/>
                    <a:pt x="294" y="57"/>
                    <a:pt x="301" y="62"/>
                  </a:cubicBezTo>
                  <a:cubicBezTo>
                    <a:pt x="309" y="67"/>
                    <a:pt x="309" y="62"/>
                    <a:pt x="310" y="67"/>
                  </a:cubicBezTo>
                  <a:cubicBezTo>
                    <a:pt x="312" y="73"/>
                    <a:pt x="309" y="73"/>
                    <a:pt x="310" y="80"/>
                  </a:cubicBezTo>
                  <a:cubicBezTo>
                    <a:pt x="313" y="87"/>
                    <a:pt x="312" y="79"/>
                    <a:pt x="313" y="80"/>
                  </a:cubicBezTo>
                  <a:cubicBezTo>
                    <a:pt x="315" y="84"/>
                    <a:pt x="313" y="88"/>
                    <a:pt x="318" y="90"/>
                  </a:cubicBezTo>
                  <a:cubicBezTo>
                    <a:pt x="321" y="91"/>
                    <a:pt x="327" y="77"/>
                    <a:pt x="329" y="79"/>
                  </a:cubicBezTo>
                  <a:cubicBezTo>
                    <a:pt x="330" y="80"/>
                    <a:pt x="335" y="77"/>
                    <a:pt x="335" y="76"/>
                  </a:cubicBezTo>
                  <a:cubicBezTo>
                    <a:pt x="333" y="74"/>
                    <a:pt x="338" y="71"/>
                    <a:pt x="341" y="73"/>
                  </a:cubicBezTo>
                  <a:cubicBezTo>
                    <a:pt x="344" y="74"/>
                    <a:pt x="353" y="80"/>
                    <a:pt x="358" y="80"/>
                  </a:cubicBezTo>
                  <a:cubicBezTo>
                    <a:pt x="358" y="138"/>
                    <a:pt x="358" y="138"/>
                    <a:pt x="358" y="138"/>
                  </a:cubicBezTo>
                  <a:close/>
                  <a:moveTo>
                    <a:pt x="178" y="17"/>
                  </a:moveTo>
                  <a:cubicBezTo>
                    <a:pt x="175" y="14"/>
                    <a:pt x="176" y="15"/>
                    <a:pt x="173" y="15"/>
                  </a:cubicBezTo>
                  <a:cubicBezTo>
                    <a:pt x="169" y="15"/>
                    <a:pt x="166" y="14"/>
                    <a:pt x="164" y="17"/>
                  </a:cubicBezTo>
                  <a:cubicBezTo>
                    <a:pt x="163" y="20"/>
                    <a:pt x="163" y="23"/>
                    <a:pt x="163" y="26"/>
                  </a:cubicBezTo>
                  <a:cubicBezTo>
                    <a:pt x="163" y="29"/>
                    <a:pt x="160" y="26"/>
                    <a:pt x="160" y="29"/>
                  </a:cubicBezTo>
                  <a:cubicBezTo>
                    <a:pt x="158" y="32"/>
                    <a:pt x="158" y="32"/>
                    <a:pt x="160" y="32"/>
                  </a:cubicBezTo>
                  <a:cubicBezTo>
                    <a:pt x="161" y="34"/>
                    <a:pt x="157" y="34"/>
                    <a:pt x="157" y="37"/>
                  </a:cubicBezTo>
                  <a:cubicBezTo>
                    <a:pt x="157" y="39"/>
                    <a:pt x="157" y="40"/>
                    <a:pt x="155" y="42"/>
                  </a:cubicBezTo>
                  <a:cubicBezTo>
                    <a:pt x="155" y="45"/>
                    <a:pt x="150" y="42"/>
                    <a:pt x="149" y="45"/>
                  </a:cubicBezTo>
                  <a:cubicBezTo>
                    <a:pt x="147" y="46"/>
                    <a:pt x="144" y="45"/>
                    <a:pt x="143" y="43"/>
                  </a:cubicBezTo>
                  <a:cubicBezTo>
                    <a:pt x="141" y="43"/>
                    <a:pt x="144" y="42"/>
                    <a:pt x="140" y="42"/>
                  </a:cubicBezTo>
                  <a:cubicBezTo>
                    <a:pt x="134" y="42"/>
                    <a:pt x="137" y="46"/>
                    <a:pt x="135" y="46"/>
                  </a:cubicBezTo>
                  <a:cubicBezTo>
                    <a:pt x="132" y="46"/>
                    <a:pt x="134" y="49"/>
                    <a:pt x="129" y="48"/>
                  </a:cubicBezTo>
                  <a:cubicBezTo>
                    <a:pt x="125" y="46"/>
                    <a:pt x="125" y="51"/>
                    <a:pt x="121" y="48"/>
                  </a:cubicBezTo>
                  <a:cubicBezTo>
                    <a:pt x="120" y="46"/>
                    <a:pt x="118" y="43"/>
                    <a:pt x="117" y="43"/>
                  </a:cubicBezTo>
                  <a:cubicBezTo>
                    <a:pt x="115" y="43"/>
                    <a:pt x="117" y="42"/>
                    <a:pt x="115" y="40"/>
                  </a:cubicBezTo>
                  <a:cubicBezTo>
                    <a:pt x="114" y="40"/>
                    <a:pt x="115" y="37"/>
                    <a:pt x="115" y="37"/>
                  </a:cubicBezTo>
                  <a:cubicBezTo>
                    <a:pt x="112" y="37"/>
                    <a:pt x="112" y="40"/>
                    <a:pt x="112" y="42"/>
                  </a:cubicBezTo>
                  <a:cubicBezTo>
                    <a:pt x="109" y="45"/>
                    <a:pt x="108" y="54"/>
                    <a:pt x="111" y="56"/>
                  </a:cubicBezTo>
                  <a:cubicBezTo>
                    <a:pt x="114" y="57"/>
                    <a:pt x="109" y="59"/>
                    <a:pt x="112" y="62"/>
                  </a:cubicBezTo>
                  <a:cubicBezTo>
                    <a:pt x="115" y="65"/>
                    <a:pt x="111" y="65"/>
                    <a:pt x="114" y="65"/>
                  </a:cubicBezTo>
                  <a:cubicBezTo>
                    <a:pt x="117" y="67"/>
                    <a:pt x="112" y="68"/>
                    <a:pt x="114" y="70"/>
                  </a:cubicBezTo>
                  <a:cubicBezTo>
                    <a:pt x="115" y="71"/>
                    <a:pt x="117" y="67"/>
                    <a:pt x="118" y="70"/>
                  </a:cubicBezTo>
                  <a:cubicBezTo>
                    <a:pt x="120" y="73"/>
                    <a:pt x="117" y="73"/>
                    <a:pt x="118" y="77"/>
                  </a:cubicBezTo>
                  <a:cubicBezTo>
                    <a:pt x="123" y="88"/>
                    <a:pt x="118" y="87"/>
                    <a:pt x="121" y="87"/>
                  </a:cubicBezTo>
                  <a:cubicBezTo>
                    <a:pt x="125" y="87"/>
                    <a:pt x="126" y="88"/>
                    <a:pt x="128" y="87"/>
                  </a:cubicBezTo>
                  <a:cubicBezTo>
                    <a:pt x="129" y="84"/>
                    <a:pt x="134" y="87"/>
                    <a:pt x="132" y="90"/>
                  </a:cubicBezTo>
                  <a:cubicBezTo>
                    <a:pt x="132" y="93"/>
                    <a:pt x="134" y="91"/>
                    <a:pt x="135" y="90"/>
                  </a:cubicBezTo>
                  <a:cubicBezTo>
                    <a:pt x="137" y="88"/>
                    <a:pt x="140" y="91"/>
                    <a:pt x="141" y="88"/>
                  </a:cubicBezTo>
                  <a:cubicBezTo>
                    <a:pt x="143" y="85"/>
                    <a:pt x="144" y="90"/>
                    <a:pt x="146" y="88"/>
                  </a:cubicBezTo>
                  <a:cubicBezTo>
                    <a:pt x="147" y="88"/>
                    <a:pt x="146" y="91"/>
                    <a:pt x="149" y="90"/>
                  </a:cubicBezTo>
                  <a:cubicBezTo>
                    <a:pt x="153" y="88"/>
                    <a:pt x="155" y="93"/>
                    <a:pt x="155" y="96"/>
                  </a:cubicBezTo>
                  <a:cubicBezTo>
                    <a:pt x="153" y="101"/>
                    <a:pt x="161" y="94"/>
                    <a:pt x="164" y="93"/>
                  </a:cubicBezTo>
                  <a:cubicBezTo>
                    <a:pt x="166" y="93"/>
                    <a:pt x="167" y="88"/>
                    <a:pt x="167" y="87"/>
                  </a:cubicBezTo>
                  <a:cubicBezTo>
                    <a:pt x="167" y="85"/>
                    <a:pt x="169" y="87"/>
                    <a:pt x="169" y="84"/>
                  </a:cubicBezTo>
                  <a:cubicBezTo>
                    <a:pt x="169" y="80"/>
                    <a:pt x="172" y="84"/>
                    <a:pt x="170" y="77"/>
                  </a:cubicBezTo>
                  <a:cubicBezTo>
                    <a:pt x="169" y="71"/>
                    <a:pt x="173" y="71"/>
                    <a:pt x="175" y="68"/>
                  </a:cubicBezTo>
                  <a:cubicBezTo>
                    <a:pt x="176" y="65"/>
                    <a:pt x="179" y="68"/>
                    <a:pt x="179" y="62"/>
                  </a:cubicBezTo>
                  <a:cubicBezTo>
                    <a:pt x="178" y="56"/>
                    <a:pt x="179" y="51"/>
                    <a:pt x="181" y="49"/>
                  </a:cubicBezTo>
                  <a:cubicBezTo>
                    <a:pt x="182" y="48"/>
                    <a:pt x="181" y="46"/>
                    <a:pt x="184" y="48"/>
                  </a:cubicBezTo>
                  <a:cubicBezTo>
                    <a:pt x="185" y="51"/>
                    <a:pt x="190" y="49"/>
                    <a:pt x="190" y="48"/>
                  </a:cubicBezTo>
                  <a:cubicBezTo>
                    <a:pt x="190" y="46"/>
                    <a:pt x="179" y="40"/>
                    <a:pt x="181" y="37"/>
                  </a:cubicBezTo>
                  <a:cubicBezTo>
                    <a:pt x="184" y="34"/>
                    <a:pt x="181" y="34"/>
                    <a:pt x="179" y="29"/>
                  </a:cubicBezTo>
                  <a:cubicBezTo>
                    <a:pt x="179" y="26"/>
                    <a:pt x="176" y="28"/>
                    <a:pt x="176" y="25"/>
                  </a:cubicBezTo>
                  <a:cubicBezTo>
                    <a:pt x="178" y="20"/>
                    <a:pt x="181" y="23"/>
                    <a:pt x="181" y="21"/>
                  </a:cubicBezTo>
                  <a:cubicBezTo>
                    <a:pt x="181" y="21"/>
                    <a:pt x="179" y="20"/>
                    <a:pt x="178" y="18"/>
                  </a:cubicBezTo>
                  <a:cubicBezTo>
                    <a:pt x="178" y="17"/>
                    <a:pt x="178" y="18"/>
                    <a:pt x="178" y="17"/>
                  </a:cubicBezTo>
                  <a:close/>
                  <a:moveTo>
                    <a:pt x="4" y="12"/>
                  </a:moveTo>
                  <a:cubicBezTo>
                    <a:pt x="7" y="17"/>
                    <a:pt x="7" y="15"/>
                    <a:pt x="10" y="18"/>
                  </a:cubicBezTo>
                  <a:cubicBezTo>
                    <a:pt x="12" y="23"/>
                    <a:pt x="12" y="18"/>
                    <a:pt x="16" y="23"/>
                  </a:cubicBezTo>
                  <a:cubicBezTo>
                    <a:pt x="19" y="29"/>
                    <a:pt x="15" y="26"/>
                    <a:pt x="19" y="29"/>
                  </a:cubicBezTo>
                  <a:cubicBezTo>
                    <a:pt x="22" y="31"/>
                    <a:pt x="18" y="32"/>
                    <a:pt x="24" y="35"/>
                  </a:cubicBezTo>
                  <a:cubicBezTo>
                    <a:pt x="27" y="37"/>
                    <a:pt x="30" y="40"/>
                    <a:pt x="30" y="42"/>
                  </a:cubicBezTo>
                  <a:cubicBezTo>
                    <a:pt x="29" y="43"/>
                    <a:pt x="29" y="42"/>
                    <a:pt x="32" y="48"/>
                  </a:cubicBezTo>
                  <a:cubicBezTo>
                    <a:pt x="33" y="54"/>
                    <a:pt x="32" y="54"/>
                    <a:pt x="35" y="56"/>
                  </a:cubicBezTo>
                  <a:cubicBezTo>
                    <a:pt x="38" y="57"/>
                    <a:pt x="35" y="57"/>
                    <a:pt x="41" y="63"/>
                  </a:cubicBezTo>
                  <a:cubicBezTo>
                    <a:pt x="44" y="67"/>
                    <a:pt x="41" y="68"/>
                    <a:pt x="42" y="70"/>
                  </a:cubicBezTo>
                  <a:cubicBezTo>
                    <a:pt x="45" y="71"/>
                    <a:pt x="45" y="74"/>
                    <a:pt x="47" y="79"/>
                  </a:cubicBezTo>
                  <a:cubicBezTo>
                    <a:pt x="47" y="82"/>
                    <a:pt x="50" y="87"/>
                    <a:pt x="54" y="91"/>
                  </a:cubicBezTo>
                  <a:cubicBezTo>
                    <a:pt x="58" y="94"/>
                    <a:pt x="56" y="94"/>
                    <a:pt x="62" y="101"/>
                  </a:cubicBezTo>
                  <a:cubicBezTo>
                    <a:pt x="67" y="105"/>
                    <a:pt x="70" y="107"/>
                    <a:pt x="71" y="112"/>
                  </a:cubicBezTo>
                  <a:cubicBezTo>
                    <a:pt x="74" y="115"/>
                    <a:pt x="77" y="119"/>
                    <a:pt x="76" y="113"/>
                  </a:cubicBezTo>
                  <a:cubicBezTo>
                    <a:pt x="74" y="107"/>
                    <a:pt x="80" y="116"/>
                    <a:pt x="80" y="112"/>
                  </a:cubicBezTo>
                  <a:cubicBezTo>
                    <a:pt x="82" y="108"/>
                    <a:pt x="83" y="116"/>
                    <a:pt x="85" y="115"/>
                  </a:cubicBezTo>
                  <a:cubicBezTo>
                    <a:pt x="86" y="113"/>
                    <a:pt x="86" y="110"/>
                    <a:pt x="86" y="104"/>
                  </a:cubicBezTo>
                  <a:cubicBezTo>
                    <a:pt x="86" y="99"/>
                    <a:pt x="85" y="101"/>
                    <a:pt x="86" y="97"/>
                  </a:cubicBezTo>
                  <a:cubicBezTo>
                    <a:pt x="88" y="93"/>
                    <a:pt x="85" y="94"/>
                    <a:pt x="86" y="90"/>
                  </a:cubicBezTo>
                  <a:cubicBezTo>
                    <a:pt x="90" y="87"/>
                    <a:pt x="86" y="87"/>
                    <a:pt x="85" y="84"/>
                  </a:cubicBezTo>
                  <a:cubicBezTo>
                    <a:pt x="83" y="80"/>
                    <a:pt x="83" y="79"/>
                    <a:pt x="80" y="80"/>
                  </a:cubicBezTo>
                  <a:cubicBezTo>
                    <a:pt x="79" y="82"/>
                    <a:pt x="80" y="79"/>
                    <a:pt x="77" y="80"/>
                  </a:cubicBezTo>
                  <a:cubicBezTo>
                    <a:pt x="74" y="84"/>
                    <a:pt x="80" y="77"/>
                    <a:pt x="77" y="77"/>
                  </a:cubicBezTo>
                  <a:cubicBezTo>
                    <a:pt x="74" y="77"/>
                    <a:pt x="76" y="67"/>
                    <a:pt x="73" y="67"/>
                  </a:cubicBezTo>
                  <a:cubicBezTo>
                    <a:pt x="68" y="68"/>
                    <a:pt x="65" y="65"/>
                    <a:pt x="67" y="62"/>
                  </a:cubicBezTo>
                  <a:cubicBezTo>
                    <a:pt x="68" y="60"/>
                    <a:pt x="65" y="59"/>
                    <a:pt x="68" y="59"/>
                  </a:cubicBezTo>
                  <a:cubicBezTo>
                    <a:pt x="71" y="57"/>
                    <a:pt x="68" y="51"/>
                    <a:pt x="65" y="52"/>
                  </a:cubicBezTo>
                  <a:cubicBezTo>
                    <a:pt x="62" y="54"/>
                    <a:pt x="65" y="51"/>
                    <a:pt x="61" y="49"/>
                  </a:cubicBezTo>
                  <a:cubicBezTo>
                    <a:pt x="54" y="49"/>
                    <a:pt x="59" y="42"/>
                    <a:pt x="51" y="40"/>
                  </a:cubicBezTo>
                  <a:cubicBezTo>
                    <a:pt x="48" y="40"/>
                    <a:pt x="50" y="37"/>
                    <a:pt x="48" y="35"/>
                  </a:cubicBezTo>
                  <a:cubicBezTo>
                    <a:pt x="44" y="32"/>
                    <a:pt x="47" y="39"/>
                    <a:pt x="45" y="37"/>
                  </a:cubicBezTo>
                  <a:cubicBezTo>
                    <a:pt x="44" y="35"/>
                    <a:pt x="42" y="37"/>
                    <a:pt x="42" y="32"/>
                  </a:cubicBezTo>
                  <a:cubicBezTo>
                    <a:pt x="41" y="29"/>
                    <a:pt x="41" y="32"/>
                    <a:pt x="39" y="29"/>
                  </a:cubicBezTo>
                  <a:cubicBezTo>
                    <a:pt x="38" y="28"/>
                    <a:pt x="35" y="23"/>
                    <a:pt x="32" y="21"/>
                  </a:cubicBezTo>
                  <a:cubicBezTo>
                    <a:pt x="29" y="21"/>
                    <a:pt x="29" y="18"/>
                    <a:pt x="27" y="17"/>
                  </a:cubicBezTo>
                  <a:cubicBezTo>
                    <a:pt x="24" y="17"/>
                    <a:pt x="27" y="14"/>
                    <a:pt x="24" y="14"/>
                  </a:cubicBezTo>
                  <a:cubicBezTo>
                    <a:pt x="22" y="12"/>
                    <a:pt x="24" y="11"/>
                    <a:pt x="21" y="7"/>
                  </a:cubicBezTo>
                  <a:cubicBezTo>
                    <a:pt x="18" y="3"/>
                    <a:pt x="19" y="7"/>
                    <a:pt x="16" y="6"/>
                  </a:cubicBezTo>
                  <a:cubicBezTo>
                    <a:pt x="15" y="4"/>
                    <a:pt x="15" y="6"/>
                    <a:pt x="10" y="6"/>
                  </a:cubicBezTo>
                  <a:cubicBezTo>
                    <a:pt x="4" y="4"/>
                    <a:pt x="9" y="4"/>
                    <a:pt x="4" y="1"/>
                  </a:cubicBezTo>
                  <a:cubicBezTo>
                    <a:pt x="0" y="0"/>
                    <a:pt x="1" y="6"/>
                    <a:pt x="4" y="12"/>
                  </a:cubicBezTo>
                  <a:close/>
                  <a:moveTo>
                    <a:pt x="82" y="124"/>
                  </a:moveTo>
                  <a:cubicBezTo>
                    <a:pt x="83" y="124"/>
                    <a:pt x="86" y="122"/>
                    <a:pt x="88" y="125"/>
                  </a:cubicBezTo>
                  <a:cubicBezTo>
                    <a:pt x="90" y="127"/>
                    <a:pt x="93" y="124"/>
                    <a:pt x="91" y="127"/>
                  </a:cubicBezTo>
                  <a:cubicBezTo>
                    <a:pt x="90" y="130"/>
                    <a:pt x="91" y="127"/>
                    <a:pt x="102" y="133"/>
                  </a:cubicBezTo>
                  <a:cubicBezTo>
                    <a:pt x="106" y="135"/>
                    <a:pt x="108" y="130"/>
                    <a:pt x="109" y="132"/>
                  </a:cubicBezTo>
                  <a:cubicBezTo>
                    <a:pt x="111" y="133"/>
                    <a:pt x="112" y="132"/>
                    <a:pt x="117" y="133"/>
                  </a:cubicBezTo>
                  <a:cubicBezTo>
                    <a:pt x="121" y="135"/>
                    <a:pt x="118" y="136"/>
                    <a:pt x="129" y="138"/>
                  </a:cubicBezTo>
                  <a:cubicBezTo>
                    <a:pt x="137" y="140"/>
                    <a:pt x="129" y="136"/>
                    <a:pt x="138" y="140"/>
                  </a:cubicBezTo>
                  <a:cubicBezTo>
                    <a:pt x="146" y="141"/>
                    <a:pt x="138" y="135"/>
                    <a:pt x="146" y="140"/>
                  </a:cubicBezTo>
                  <a:cubicBezTo>
                    <a:pt x="150" y="141"/>
                    <a:pt x="150" y="141"/>
                    <a:pt x="153" y="143"/>
                  </a:cubicBezTo>
                  <a:cubicBezTo>
                    <a:pt x="155" y="144"/>
                    <a:pt x="155" y="141"/>
                    <a:pt x="153" y="141"/>
                  </a:cubicBezTo>
                  <a:cubicBezTo>
                    <a:pt x="150" y="140"/>
                    <a:pt x="158" y="132"/>
                    <a:pt x="152" y="132"/>
                  </a:cubicBezTo>
                  <a:cubicBezTo>
                    <a:pt x="147" y="132"/>
                    <a:pt x="147" y="133"/>
                    <a:pt x="143" y="132"/>
                  </a:cubicBezTo>
                  <a:cubicBezTo>
                    <a:pt x="138" y="130"/>
                    <a:pt x="141" y="130"/>
                    <a:pt x="140" y="125"/>
                  </a:cubicBezTo>
                  <a:cubicBezTo>
                    <a:pt x="137" y="121"/>
                    <a:pt x="137" y="127"/>
                    <a:pt x="135" y="124"/>
                  </a:cubicBezTo>
                  <a:cubicBezTo>
                    <a:pt x="134" y="121"/>
                    <a:pt x="134" y="125"/>
                    <a:pt x="132" y="122"/>
                  </a:cubicBezTo>
                  <a:cubicBezTo>
                    <a:pt x="131" y="121"/>
                    <a:pt x="129" y="124"/>
                    <a:pt x="128" y="122"/>
                  </a:cubicBezTo>
                  <a:cubicBezTo>
                    <a:pt x="126" y="119"/>
                    <a:pt x="125" y="118"/>
                    <a:pt x="123" y="122"/>
                  </a:cubicBezTo>
                  <a:cubicBezTo>
                    <a:pt x="121" y="129"/>
                    <a:pt x="121" y="124"/>
                    <a:pt x="117" y="124"/>
                  </a:cubicBezTo>
                  <a:cubicBezTo>
                    <a:pt x="114" y="124"/>
                    <a:pt x="114" y="125"/>
                    <a:pt x="112" y="124"/>
                  </a:cubicBezTo>
                  <a:cubicBezTo>
                    <a:pt x="109" y="122"/>
                    <a:pt x="108" y="125"/>
                    <a:pt x="106" y="119"/>
                  </a:cubicBezTo>
                  <a:cubicBezTo>
                    <a:pt x="105" y="116"/>
                    <a:pt x="105" y="119"/>
                    <a:pt x="102" y="118"/>
                  </a:cubicBezTo>
                  <a:cubicBezTo>
                    <a:pt x="100" y="116"/>
                    <a:pt x="100" y="119"/>
                    <a:pt x="99" y="116"/>
                  </a:cubicBezTo>
                  <a:cubicBezTo>
                    <a:pt x="97" y="115"/>
                    <a:pt x="94" y="113"/>
                    <a:pt x="94" y="116"/>
                  </a:cubicBezTo>
                  <a:cubicBezTo>
                    <a:pt x="94" y="118"/>
                    <a:pt x="93" y="116"/>
                    <a:pt x="88" y="115"/>
                  </a:cubicBezTo>
                  <a:cubicBezTo>
                    <a:pt x="85" y="115"/>
                    <a:pt x="86" y="119"/>
                    <a:pt x="85" y="121"/>
                  </a:cubicBezTo>
                  <a:cubicBezTo>
                    <a:pt x="82" y="121"/>
                    <a:pt x="85" y="122"/>
                    <a:pt x="82" y="122"/>
                  </a:cubicBezTo>
                  <a:cubicBezTo>
                    <a:pt x="80" y="122"/>
                    <a:pt x="80" y="124"/>
                    <a:pt x="82" y="124"/>
                  </a:cubicBezTo>
                  <a:close/>
                  <a:moveTo>
                    <a:pt x="339" y="133"/>
                  </a:moveTo>
                  <a:cubicBezTo>
                    <a:pt x="339" y="135"/>
                    <a:pt x="338" y="138"/>
                    <a:pt x="338" y="140"/>
                  </a:cubicBezTo>
                  <a:cubicBezTo>
                    <a:pt x="338" y="141"/>
                    <a:pt x="339" y="138"/>
                    <a:pt x="342" y="140"/>
                  </a:cubicBezTo>
                  <a:cubicBezTo>
                    <a:pt x="345" y="141"/>
                    <a:pt x="345" y="136"/>
                    <a:pt x="347" y="136"/>
                  </a:cubicBezTo>
                  <a:cubicBezTo>
                    <a:pt x="349" y="136"/>
                    <a:pt x="347" y="135"/>
                    <a:pt x="349" y="133"/>
                  </a:cubicBezTo>
                  <a:cubicBezTo>
                    <a:pt x="349" y="132"/>
                    <a:pt x="350" y="132"/>
                    <a:pt x="349" y="132"/>
                  </a:cubicBezTo>
                  <a:cubicBezTo>
                    <a:pt x="347" y="130"/>
                    <a:pt x="347" y="130"/>
                    <a:pt x="347" y="129"/>
                  </a:cubicBezTo>
                  <a:cubicBezTo>
                    <a:pt x="344" y="129"/>
                    <a:pt x="339" y="132"/>
                    <a:pt x="339" y="133"/>
                  </a:cubicBezTo>
                  <a:close/>
                  <a:moveTo>
                    <a:pt x="147" y="127"/>
                  </a:moveTo>
                  <a:cubicBezTo>
                    <a:pt x="149" y="125"/>
                    <a:pt x="152" y="125"/>
                    <a:pt x="150" y="124"/>
                  </a:cubicBezTo>
                  <a:cubicBezTo>
                    <a:pt x="150" y="124"/>
                    <a:pt x="150" y="124"/>
                    <a:pt x="146" y="124"/>
                  </a:cubicBezTo>
                  <a:cubicBezTo>
                    <a:pt x="143" y="124"/>
                    <a:pt x="140" y="124"/>
                    <a:pt x="140" y="127"/>
                  </a:cubicBezTo>
                  <a:cubicBezTo>
                    <a:pt x="141" y="127"/>
                    <a:pt x="146" y="129"/>
                    <a:pt x="147" y="127"/>
                  </a:cubicBezTo>
                  <a:close/>
                  <a:moveTo>
                    <a:pt x="161" y="125"/>
                  </a:moveTo>
                  <a:cubicBezTo>
                    <a:pt x="161" y="124"/>
                    <a:pt x="163" y="125"/>
                    <a:pt x="163" y="125"/>
                  </a:cubicBezTo>
                  <a:cubicBezTo>
                    <a:pt x="163" y="124"/>
                    <a:pt x="163" y="124"/>
                    <a:pt x="161" y="124"/>
                  </a:cubicBezTo>
                  <a:cubicBezTo>
                    <a:pt x="160" y="124"/>
                    <a:pt x="161" y="125"/>
                    <a:pt x="161" y="125"/>
                  </a:cubicBezTo>
                  <a:close/>
                  <a:moveTo>
                    <a:pt x="158" y="141"/>
                  </a:moveTo>
                  <a:cubicBezTo>
                    <a:pt x="161" y="143"/>
                    <a:pt x="158" y="143"/>
                    <a:pt x="160" y="144"/>
                  </a:cubicBezTo>
                  <a:cubicBezTo>
                    <a:pt x="161" y="144"/>
                    <a:pt x="161" y="141"/>
                    <a:pt x="163" y="140"/>
                  </a:cubicBezTo>
                  <a:cubicBezTo>
                    <a:pt x="166" y="140"/>
                    <a:pt x="163" y="138"/>
                    <a:pt x="161" y="136"/>
                  </a:cubicBezTo>
                  <a:cubicBezTo>
                    <a:pt x="160" y="135"/>
                    <a:pt x="160" y="138"/>
                    <a:pt x="157" y="136"/>
                  </a:cubicBezTo>
                  <a:cubicBezTo>
                    <a:pt x="153" y="135"/>
                    <a:pt x="153" y="136"/>
                    <a:pt x="155" y="138"/>
                  </a:cubicBezTo>
                  <a:cubicBezTo>
                    <a:pt x="155" y="140"/>
                    <a:pt x="157" y="140"/>
                    <a:pt x="158" y="141"/>
                  </a:cubicBezTo>
                  <a:close/>
                  <a:moveTo>
                    <a:pt x="166" y="143"/>
                  </a:moveTo>
                  <a:cubicBezTo>
                    <a:pt x="164" y="143"/>
                    <a:pt x="164" y="144"/>
                    <a:pt x="169" y="144"/>
                  </a:cubicBezTo>
                  <a:cubicBezTo>
                    <a:pt x="172" y="144"/>
                    <a:pt x="170" y="144"/>
                    <a:pt x="172" y="141"/>
                  </a:cubicBezTo>
                  <a:cubicBezTo>
                    <a:pt x="173" y="138"/>
                    <a:pt x="173" y="138"/>
                    <a:pt x="170" y="138"/>
                  </a:cubicBezTo>
                  <a:cubicBezTo>
                    <a:pt x="169" y="136"/>
                    <a:pt x="167" y="140"/>
                    <a:pt x="167" y="140"/>
                  </a:cubicBezTo>
                  <a:cubicBezTo>
                    <a:pt x="167" y="141"/>
                    <a:pt x="167" y="143"/>
                    <a:pt x="166" y="143"/>
                  </a:cubicBezTo>
                  <a:close/>
                  <a:moveTo>
                    <a:pt x="175" y="146"/>
                  </a:moveTo>
                  <a:cubicBezTo>
                    <a:pt x="176" y="146"/>
                    <a:pt x="181" y="144"/>
                    <a:pt x="182" y="144"/>
                  </a:cubicBezTo>
                  <a:cubicBezTo>
                    <a:pt x="184" y="144"/>
                    <a:pt x="185" y="143"/>
                    <a:pt x="185" y="143"/>
                  </a:cubicBezTo>
                  <a:cubicBezTo>
                    <a:pt x="185" y="144"/>
                    <a:pt x="187" y="143"/>
                    <a:pt x="189" y="144"/>
                  </a:cubicBezTo>
                  <a:cubicBezTo>
                    <a:pt x="189" y="144"/>
                    <a:pt x="192" y="144"/>
                    <a:pt x="190" y="143"/>
                  </a:cubicBezTo>
                  <a:cubicBezTo>
                    <a:pt x="189" y="143"/>
                    <a:pt x="187" y="141"/>
                    <a:pt x="189" y="143"/>
                  </a:cubicBezTo>
                  <a:cubicBezTo>
                    <a:pt x="192" y="143"/>
                    <a:pt x="192" y="143"/>
                    <a:pt x="192" y="143"/>
                  </a:cubicBezTo>
                  <a:cubicBezTo>
                    <a:pt x="192" y="141"/>
                    <a:pt x="190" y="136"/>
                    <a:pt x="189" y="138"/>
                  </a:cubicBezTo>
                  <a:cubicBezTo>
                    <a:pt x="187" y="140"/>
                    <a:pt x="187" y="136"/>
                    <a:pt x="185" y="138"/>
                  </a:cubicBezTo>
                  <a:cubicBezTo>
                    <a:pt x="184" y="140"/>
                    <a:pt x="184" y="136"/>
                    <a:pt x="181" y="136"/>
                  </a:cubicBezTo>
                  <a:cubicBezTo>
                    <a:pt x="178" y="136"/>
                    <a:pt x="181" y="140"/>
                    <a:pt x="182" y="140"/>
                  </a:cubicBezTo>
                  <a:cubicBezTo>
                    <a:pt x="182" y="140"/>
                    <a:pt x="185" y="141"/>
                    <a:pt x="184" y="141"/>
                  </a:cubicBezTo>
                  <a:cubicBezTo>
                    <a:pt x="181" y="141"/>
                    <a:pt x="182" y="143"/>
                    <a:pt x="181" y="141"/>
                  </a:cubicBezTo>
                  <a:cubicBezTo>
                    <a:pt x="179" y="141"/>
                    <a:pt x="179" y="140"/>
                    <a:pt x="178" y="140"/>
                  </a:cubicBezTo>
                  <a:cubicBezTo>
                    <a:pt x="176" y="140"/>
                    <a:pt x="175" y="138"/>
                    <a:pt x="175" y="140"/>
                  </a:cubicBezTo>
                  <a:cubicBezTo>
                    <a:pt x="173" y="141"/>
                    <a:pt x="172" y="140"/>
                    <a:pt x="173" y="143"/>
                  </a:cubicBezTo>
                  <a:cubicBezTo>
                    <a:pt x="173" y="144"/>
                    <a:pt x="172" y="146"/>
                    <a:pt x="175" y="146"/>
                  </a:cubicBezTo>
                  <a:close/>
                  <a:moveTo>
                    <a:pt x="178" y="138"/>
                  </a:moveTo>
                  <a:cubicBezTo>
                    <a:pt x="178" y="136"/>
                    <a:pt x="179" y="136"/>
                    <a:pt x="179" y="138"/>
                  </a:cubicBezTo>
                  <a:cubicBezTo>
                    <a:pt x="179" y="138"/>
                    <a:pt x="178" y="140"/>
                    <a:pt x="178" y="138"/>
                  </a:cubicBezTo>
                  <a:close/>
                  <a:moveTo>
                    <a:pt x="195" y="141"/>
                  </a:moveTo>
                  <a:cubicBezTo>
                    <a:pt x="195" y="140"/>
                    <a:pt x="195" y="140"/>
                    <a:pt x="195" y="140"/>
                  </a:cubicBezTo>
                  <a:cubicBezTo>
                    <a:pt x="193" y="140"/>
                    <a:pt x="193" y="140"/>
                    <a:pt x="193" y="140"/>
                  </a:cubicBezTo>
                  <a:cubicBezTo>
                    <a:pt x="193" y="141"/>
                    <a:pt x="193" y="141"/>
                    <a:pt x="193" y="143"/>
                  </a:cubicBezTo>
                  <a:cubicBezTo>
                    <a:pt x="193" y="144"/>
                    <a:pt x="193" y="141"/>
                    <a:pt x="195" y="141"/>
                  </a:cubicBezTo>
                  <a:close/>
                  <a:moveTo>
                    <a:pt x="195" y="143"/>
                  </a:moveTo>
                  <a:cubicBezTo>
                    <a:pt x="195" y="144"/>
                    <a:pt x="195" y="141"/>
                    <a:pt x="196" y="141"/>
                  </a:cubicBezTo>
                  <a:cubicBezTo>
                    <a:pt x="196" y="141"/>
                    <a:pt x="196" y="143"/>
                    <a:pt x="195" y="143"/>
                  </a:cubicBezTo>
                  <a:close/>
                  <a:moveTo>
                    <a:pt x="199" y="143"/>
                  </a:moveTo>
                  <a:cubicBezTo>
                    <a:pt x="201" y="144"/>
                    <a:pt x="204" y="143"/>
                    <a:pt x="205" y="144"/>
                  </a:cubicBezTo>
                  <a:cubicBezTo>
                    <a:pt x="207" y="146"/>
                    <a:pt x="207" y="144"/>
                    <a:pt x="208" y="144"/>
                  </a:cubicBezTo>
                  <a:cubicBezTo>
                    <a:pt x="208" y="144"/>
                    <a:pt x="208" y="143"/>
                    <a:pt x="210" y="144"/>
                  </a:cubicBezTo>
                  <a:cubicBezTo>
                    <a:pt x="213" y="144"/>
                    <a:pt x="214" y="143"/>
                    <a:pt x="214" y="143"/>
                  </a:cubicBezTo>
                  <a:cubicBezTo>
                    <a:pt x="216" y="143"/>
                    <a:pt x="221" y="141"/>
                    <a:pt x="221" y="141"/>
                  </a:cubicBezTo>
                  <a:cubicBezTo>
                    <a:pt x="221" y="140"/>
                    <a:pt x="222" y="140"/>
                    <a:pt x="222" y="136"/>
                  </a:cubicBezTo>
                  <a:cubicBezTo>
                    <a:pt x="221" y="135"/>
                    <a:pt x="219" y="138"/>
                    <a:pt x="221" y="138"/>
                  </a:cubicBezTo>
                  <a:cubicBezTo>
                    <a:pt x="221" y="138"/>
                    <a:pt x="221" y="138"/>
                    <a:pt x="219" y="140"/>
                  </a:cubicBezTo>
                  <a:cubicBezTo>
                    <a:pt x="216" y="140"/>
                    <a:pt x="219" y="141"/>
                    <a:pt x="217" y="141"/>
                  </a:cubicBezTo>
                  <a:cubicBezTo>
                    <a:pt x="214" y="143"/>
                    <a:pt x="214" y="138"/>
                    <a:pt x="213" y="140"/>
                  </a:cubicBezTo>
                  <a:cubicBezTo>
                    <a:pt x="211" y="141"/>
                    <a:pt x="211" y="140"/>
                    <a:pt x="210" y="141"/>
                  </a:cubicBezTo>
                  <a:cubicBezTo>
                    <a:pt x="208" y="141"/>
                    <a:pt x="207" y="140"/>
                    <a:pt x="205" y="138"/>
                  </a:cubicBezTo>
                  <a:cubicBezTo>
                    <a:pt x="204" y="138"/>
                    <a:pt x="201" y="136"/>
                    <a:pt x="199" y="138"/>
                  </a:cubicBezTo>
                  <a:cubicBezTo>
                    <a:pt x="198" y="140"/>
                    <a:pt x="196" y="140"/>
                    <a:pt x="196" y="143"/>
                  </a:cubicBezTo>
                  <a:cubicBezTo>
                    <a:pt x="196" y="146"/>
                    <a:pt x="198" y="143"/>
                    <a:pt x="199" y="143"/>
                  </a:cubicBezTo>
                  <a:close/>
                  <a:moveTo>
                    <a:pt x="202" y="113"/>
                  </a:moveTo>
                  <a:cubicBezTo>
                    <a:pt x="202" y="115"/>
                    <a:pt x="202" y="122"/>
                    <a:pt x="202" y="119"/>
                  </a:cubicBezTo>
                  <a:cubicBezTo>
                    <a:pt x="201" y="118"/>
                    <a:pt x="202" y="113"/>
                    <a:pt x="202" y="113"/>
                  </a:cubicBezTo>
                  <a:close/>
                  <a:moveTo>
                    <a:pt x="222" y="140"/>
                  </a:moveTo>
                  <a:cubicBezTo>
                    <a:pt x="222" y="140"/>
                    <a:pt x="224" y="140"/>
                    <a:pt x="222" y="141"/>
                  </a:cubicBezTo>
                  <a:cubicBezTo>
                    <a:pt x="221" y="141"/>
                    <a:pt x="221" y="141"/>
                    <a:pt x="222" y="140"/>
                  </a:cubicBezTo>
                  <a:close/>
                  <a:moveTo>
                    <a:pt x="224" y="140"/>
                  </a:moveTo>
                  <a:cubicBezTo>
                    <a:pt x="224" y="140"/>
                    <a:pt x="224" y="140"/>
                    <a:pt x="225" y="138"/>
                  </a:cubicBezTo>
                  <a:cubicBezTo>
                    <a:pt x="225" y="138"/>
                    <a:pt x="224" y="138"/>
                    <a:pt x="222" y="138"/>
                  </a:cubicBezTo>
                  <a:cubicBezTo>
                    <a:pt x="222" y="140"/>
                    <a:pt x="222" y="140"/>
                    <a:pt x="224" y="140"/>
                  </a:cubicBezTo>
                  <a:close/>
                  <a:moveTo>
                    <a:pt x="225" y="141"/>
                  </a:moveTo>
                  <a:cubicBezTo>
                    <a:pt x="228" y="141"/>
                    <a:pt x="225" y="140"/>
                    <a:pt x="227" y="140"/>
                  </a:cubicBezTo>
                  <a:cubicBezTo>
                    <a:pt x="228" y="140"/>
                    <a:pt x="227" y="140"/>
                    <a:pt x="228" y="138"/>
                  </a:cubicBezTo>
                  <a:cubicBezTo>
                    <a:pt x="230" y="138"/>
                    <a:pt x="230" y="138"/>
                    <a:pt x="228" y="138"/>
                  </a:cubicBezTo>
                  <a:cubicBezTo>
                    <a:pt x="227" y="138"/>
                    <a:pt x="225" y="138"/>
                    <a:pt x="225" y="138"/>
                  </a:cubicBezTo>
                  <a:cubicBezTo>
                    <a:pt x="225" y="140"/>
                    <a:pt x="225" y="140"/>
                    <a:pt x="224" y="140"/>
                  </a:cubicBezTo>
                  <a:cubicBezTo>
                    <a:pt x="222" y="141"/>
                    <a:pt x="224" y="141"/>
                    <a:pt x="225" y="141"/>
                  </a:cubicBezTo>
                  <a:close/>
                  <a:moveTo>
                    <a:pt x="231" y="140"/>
                  </a:moveTo>
                  <a:cubicBezTo>
                    <a:pt x="233" y="138"/>
                    <a:pt x="233" y="136"/>
                    <a:pt x="231" y="138"/>
                  </a:cubicBezTo>
                  <a:cubicBezTo>
                    <a:pt x="230" y="140"/>
                    <a:pt x="230" y="136"/>
                    <a:pt x="230" y="140"/>
                  </a:cubicBezTo>
                  <a:cubicBezTo>
                    <a:pt x="230" y="140"/>
                    <a:pt x="230" y="141"/>
                    <a:pt x="231" y="140"/>
                  </a:cubicBezTo>
                  <a:close/>
                  <a:moveTo>
                    <a:pt x="237" y="140"/>
                  </a:moveTo>
                  <a:cubicBezTo>
                    <a:pt x="240" y="140"/>
                    <a:pt x="239" y="136"/>
                    <a:pt x="236" y="136"/>
                  </a:cubicBezTo>
                  <a:cubicBezTo>
                    <a:pt x="233" y="138"/>
                    <a:pt x="234" y="135"/>
                    <a:pt x="233" y="138"/>
                  </a:cubicBezTo>
                  <a:cubicBezTo>
                    <a:pt x="231" y="141"/>
                    <a:pt x="234" y="140"/>
                    <a:pt x="237" y="140"/>
                  </a:cubicBezTo>
                  <a:close/>
                  <a:moveTo>
                    <a:pt x="196" y="153"/>
                  </a:moveTo>
                  <a:cubicBezTo>
                    <a:pt x="199" y="155"/>
                    <a:pt x="199" y="158"/>
                    <a:pt x="199" y="157"/>
                  </a:cubicBezTo>
                  <a:cubicBezTo>
                    <a:pt x="201" y="157"/>
                    <a:pt x="201" y="158"/>
                    <a:pt x="202" y="158"/>
                  </a:cubicBezTo>
                  <a:cubicBezTo>
                    <a:pt x="202" y="157"/>
                    <a:pt x="204" y="157"/>
                    <a:pt x="204" y="157"/>
                  </a:cubicBezTo>
                  <a:cubicBezTo>
                    <a:pt x="205" y="155"/>
                    <a:pt x="202" y="152"/>
                    <a:pt x="201" y="152"/>
                  </a:cubicBezTo>
                  <a:cubicBezTo>
                    <a:pt x="199" y="150"/>
                    <a:pt x="201" y="150"/>
                    <a:pt x="199" y="149"/>
                  </a:cubicBezTo>
                  <a:cubicBezTo>
                    <a:pt x="198" y="147"/>
                    <a:pt x="196" y="149"/>
                    <a:pt x="195" y="149"/>
                  </a:cubicBezTo>
                  <a:cubicBezTo>
                    <a:pt x="195" y="149"/>
                    <a:pt x="190" y="147"/>
                    <a:pt x="190" y="150"/>
                  </a:cubicBezTo>
                  <a:cubicBezTo>
                    <a:pt x="190" y="153"/>
                    <a:pt x="193" y="152"/>
                    <a:pt x="196" y="153"/>
                  </a:cubicBezTo>
                  <a:close/>
                  <a:moveTo>
                    <a:pt x="225" y="161"/>
                  </a:moveTo>
                  <a:cubicBezTo>
                    <a:pt x="225" y="161"/>
                    <a:pt x="225" y="158"/>
                    <a:pt x="224" y="161"/>
                  </a:cubicBezTo>
                  <a:cubicBezTo>
                    <a:pt x="222" y="163"/>
                    <a:pt x="221" y="161"/>
                    <a:pt x="221" y="163"/>
                  </a:cubicBezTo>
                  <a:cubicBezTo>
                    <a:pt x="221" y="164"/>
                    <a:pt x="224" y="163"/>
                    <a:pt x="225" y="161"/>
                  </a:cubicBezTo>
                  <a:close/>
                  <a:moveTo>
                    <a:pt x="231" y="157"/>
                  </a:moveTo>
                  <a:cubicBezTo>
                    <a:pt x="233" y="157"/>
                    <a:pt x="233" y="157"/>
                    <a:pt x="236" y="153"/>
                  </a:cubicBezTo>
                  <a:cubicBezTo>
                    <a:pt x="237" y="150"/>
                    <a:pt x="237" y="150"/>
                    <a:pt x="240" y="149"/>
                  </a:cubicBezTo>
                  <a:cubicBezTo>
                    <a:pt x="243" y="146"/>
                    <a:pt x="245" y="147"/>
                    <a:pt x="246" y="146"/>
                  </a:cubicBezTo>
                  <a:cubicBezTo>
                    <a:pt x="246" y="144"/>
                    <a:pt x="248" y="146"/>
                    <a:pt x="249" y="144"/>
                  </a:cubicBezTo>
                  <a:cubicBezTo>
                    <a:pt x="251" y="141"/>
                    <a:pt x="253" y="143"/>
                    <a:pt x="254" y="141"/>
                  </a:cubicBezTo>
                  <a:cubicBezTo>
                    <a:pt x="256" y="140"/>
                    <a:pt x="257" y="140"/>
                    <a:pt x="256" y="138"/>
                  </a:cubicBezTo>
                  <a:cubicBezTo>
                    <a:pt x="253" y="138"/>
                    <a:pt x="251" y="140"/>
                    <a:pt x="249" y="140"/>
                  </a:cubicBezTo>
                  <a:cubicBezTo>
                    <a:pt x="248" y="140"/>
                    <a:pt x="246" y="141"/>
                    <a:pt x="245" y="140"/>
                  </a:cubicBezTo>
                  <a:cubicBezTo>
                    <a:pt x="245" y="140"/>
                    <a:pt x="243" y="140"/>
                    <a:pt x="240" y="141"/>
                  </a:cubicBezTo>
                  <a:cubicBezTo>
                    <a:pt x="237" y="143"/>
                    <a:pt x="239" y="143"/>
                    <a:pt x="236" y="146"/>
                  </a:cubicBezTo>
                  <a:cubicBezTo>
                    <a:pt x="233" y="147"/>
                    <a:pt x="233" y="146"/>
                    <a:pt x="230" y="149"/>
                  </a:cubicBezTo>
                  <a:cubicBezTo>
                    <a:pt x="227" y="150"/>
                    <a:pt x="227" y="152"/>
                    <a:pt x="227" y="153"/>
                  </a:cubicBezTo>
                  <a:cubicBezTo>
                    <a:pt x="225" y="155"/>
                    <a:pt x="228" y="155"/>
                    <a:pt x="227" y="157"/>
                  </a:cubicBezTo>
                  <a:cubicBezTo>
                    <a:pt x="225" y="157"/>
                    <a:pt x="224" y="158"/>
                    <a:pt x="227" y="158"/>
                  </a:cubicBezTo>
                  <a:cubicBezTo>
                    <a:pt x="230" y="160"/>
                    <a:pt x="230" y="157"/>
                    <a:pt x="231" y="157"/>
                  </a:cubicBezTo>
                  <a:close/>
                  <a:moveTo>
                    <a:pt x="201" y="112"/>
                  </a:moveTo>
                  <a:cubicBezTo>
                    <a:pt x="204" y="112"/>
                    <a:pt x="199" y="107"/>
                    <a:pt x="201" y="104"/>
                  </a:cubicBezTo>
                  <a:cubicBezTo>
                    <a:pt x="202" y="102"/>
                    <a:pt x="201" y="97"/>
                    <a:pt x="201" y="91"/>
                  </a:cubicBezTo>
                  <a:cubicBezTo>
                    <a:pt x="202" y="85"/>
                    <a:pt x="198" y="88"/>
                    <a:pt x="202" y="84"/>
                  </a:cubicBezTo>
                  <a:cubicBezTo>
                    <a:pt x="207" y="80"/>
                    <a:pt x="208" y="85"/>
                    <a:pt x="205" y="88"/>
                  </a:cubicBezTo>
                  <a:cubicBezTo>
                    <a:pt x="204" y="93"/>
                    <a:pt x="207" y="93"/>
                    <a:pt x="208" y="96"/>
                  </a:cubicBezTo>
                  <a:cubicBezTo>
                    <a:pt x="211" y="99"/>
                    <a:pt x="207" y="105"/>
                    <a:pt x="213" y="105"/>
                  </a:cubicBezTo>
                  <a:cubicBezTo>
                    <a:pt x="216" y="105"/>
                    <a:pt x="213" y="102"/>
                    <a:pt x="216" y="101"/>
                  </a:cubicBezTo>
                  <a:cubicBezTo>
                    <a:pt x="219" y="99"/>
                    <a:pt x="219" y="102"/>
                    <a:pt x="221" y="99"/>
                  </a:cubicBezTo>
                  <a:cubicBezTo>
                    <a:pt x="222" y="94"/>
                    <a:pt x="214" y="94"/>
                    <a:pt x="216" y="91"/>
                  </a:cubicBezTo>
                  <a:cubicBezTo>
                    <a:pt x="219" y="88"/>
                    <a:pt x="214" y="82"/>
                    <a:pt x="211" y="79"/>
                  </a:cubicBezTo>
                  <a:cubicBezTo>
                    <a:pt x="207" y="74"/>
                    <a:pt x="216" y="74"/>
                    <a:pt x="219" y="68"/>
                  </a:cubicBezTo>
                  <a:cubicBezTo>
                    <a:pt x="222" y="62"/>
                    <a:pt x="224" y="70"/>
                    <a:pt x="225" y="67"/>
                  </a:cubicBezTo>
                  <a:cubicBezTo>
                    <a:pt x="227" y="65"/>
                    <a:pt x="227" y="63"/>
                    <a:pt x="221" y="63"/>
                  </a:cubicBezTo>
                  <a:cubicBezTo>
                    <a:pt x="214" y="63"/>
                    <a:pt x="216" y="67"/>
                    <a:pt x="211" y="67"/>
                  </a:cubicBezTo>
                  <a:cubicBezTo>
                    <a:pt x="207" y="65"/>
                    <a:pt x="208" y="71"/>
                    <a:pt x="204" y="71"/>
                  </a:cubicBezTo>
                  <a:cubicBezTo>
                    <a:pt x="201" y="70"/>
                    <a:pt x="204" y="68"/>
                    <a:pt x="201" y="65"/>
                  </a:cubicBezTo>
                  <a:cubicBezTo>
                    <a:pt x="196" y="63"/>
                    <a:pt x="199" y="49"/>
                    <a:pt x="204" y="52"/>
                  </a:cubicBezTo>
                  <a:cubicBezTo>
                    <a:pt x="207" y="54"/>
                    <a:pt x="210" y="52"/>
                    <a:pt x="211" y="52"/>
                  </a:cubicBezTo>
                  <a:cubicBezTo>
                    <a:pt x="214" y="54"/>
                    <a:pt x="222" y="51"/>
                    <a:pt x="224" y="52"/>
                  </a:cubicBezTo>
                  <a:cubicBezTo>
                    <a:pt x="224" y="54"/>
                    <a:pt x="231" y="56"/>
                    <a:pt x="234" y="51"/>
                  </a:cubicBezTo>
                  <a:cubicBezTo>
                    <a:pt x="237" y="46"/>
                    <a:pt x="240" y="43"/>
                    <a:pt x="239" y="42"/>
                  </a:cubicBezTo>
                  <a:cubicBezTo>
                    <a:pt x="237" y="39"/>
                    <a:pt x="234" y="43"/>
                    <a:pt x="231" y="48"/>
                  </a:cubicBezTo>
                  <a:cubicBezTo>
                    <a:pt x="230" y="51"/>
                    <a:pt x="222" y="46"/>
                    <a:pt x="221" y="48"/>
                  </a:cubicBezTo>
                  <a:cubicBezTo>
                    <a:pt x="221" y="49"/>
                    <a:pt x="217" y="46"/>
                    <a:pt x="213" y="46"/>
                  </a:cubicBezTo>
                  <a:cubicBezTo>
                    <a:pt x="208" y="48"/>
                    <a:pt x="211" y="45"/>
                    <a:pt x="208" y="45"/>
                  </a:cubicBezTo>
                  <a:cubicBezTo>
                    <a:pt x="207" y="45"/>
                    <a:pt x="205" y="43"/>
                    <a:pt x="204" y="45"/>
                  </a:cubicBezTo>
                  <a:cubicBezTo>
                    <a:pt x="204" y="46"/>
                    <a:pt x="202" y="51"/>
                    <a:pt x="201" y="48"/>
                  </a:cubicBezTo>
                  <a:cubicBezTo>
                    <a:pt x="199" y="46"/>
                    <a:pt x="199" y="51"/>
                    <a:pt x="198" y="52"/>
                  </a:cubicBezTo>
                  <a:cubicBezTo>
                    <a:pt x="195" y="56"/>
                    <a:pt x="198" y="57"/>
                    <a:pt x="196" y="57"/>
                  </a:cubicBezTo>
                  <a:cubicBezTo>
                    <a:pt x="193" y="59"/>
                    <a:pt x="196" y="59"/>
                    <a:pt x="196" y="62"/>
                  </a:cubicBezTo>
                  <a:cubicBezTo>
                    <a:pt x="195" y="65"/>
                    <a:pt x="192" y="67"/>
                    <a:pt x="193" y="73"/>
                  </a:cubicBezTo>
                  <a:cubicBezTo>
                    <a:pt x="193" y="79"/>
                    <a:pt x="192" y="74"/>
                    <a:pt x="192" y="79"/>
                  </a:cubicBezTo>
                  <a:cubicBezTo>
                    <a:pt x="192" y="85"/>
                    <a:pt x="187" y="82"/>
                    <a:pt x="189" y="85"/>
                  </a:cubicBezTo>
                  <a:cubicBezTo>
                    <a:pt x="190" y="88"/>
                    <a:pt x="187" y="85"/>
                    <a:pt x="189" y="90"/>
                  </a:cubicBezTo>
                  <a:cubicBezTo>
                    <a:pt x="190" y="94"/>
                    <a:pt x="192" y="88"/>
                    <a:pt x="195" y="93"/>
                  </a:cubicBezTo>
                  <a:cubicBezTo>
                    <a:pt x="198" y="99"/>
                    <a:pt x="192" y="107"/>
                    <a:pt x="195" y="112"/>
                  </a:cubicBezTo>
                  <a:cubicBezTo>
                    <a:pt x="196" y="115"/>
                    <a:pt x="198" y="112"/>
                    <a:pt x="201" y="112"/>
                  </a:cubicBezTo>
                  <a:close/>
                  <a:moveTo>
                    <a:pt x="251" y="94"/>
                  </a:moveTo>
                  <a:cubicBezTo>
                    <a:pt x="253" y="96"/>
                    <a:pt x="257" y="91"/>
                    <a:pt x="254" y="88"/>
                  </a:cubicBezTo>
                  <a:cubicBezTo>
                    <a:pt x="253" y="85"/>
                    <a:pt x="246" y="85"/>
                    <a:pt x="246" y="88"/>
                  </a:cubicBezTo>
                  <a:cubicBezTo>
                    <a:pt x="245" y="90"/>
                    <a:pt x="248" y="93"/>
                    <a:pt x="251" y="94"/>
                  </a:cubicBezTo>
                  <a:close/>
                  <a:moveTo>
                    <a:pt x="263" y="88"/>
                  </a:moveTo>
                  <a:cubicBezTo>
                    <a:pt x="263" y="87"/>
                    <a:pt x="265" y="91"/>
                    <a:pt x="268" y="90"/>
                  </a:cubicBezTo>
                  <a:cubicBezTo>
                    <a:pt x="271" y="87"/>
                    <a:pt x="274" y="91"/>
                    <a:pt x="274" y="90"/>
                  </a:cubicBezTo>
                  <a:cubicBezTo>
                    <a:pt x="274" y="88"/>
                    <a:pt x="278" y="91"/>
                    <a:pt x="281" y="94"/>
                  </a:cubicBezTo>
                  <a:cubicBezTo>
                    <a:pt x="286" y="96"/>
                    <a:pt x="286" y="93"/>
                    <a:pt x="283" y="88"/>
                  </a:cubicBezTo>
                  <a:cubicBezTo>
                    <a:pt x="280" y="84"/>
                    <a:pt x="280" y="88"/>
                    <a:pt x="275" y="85"/>
                  </a:cubicBezTo>
                  <a:cubicBezTo>
                    <a:pt x="272" y="82"/>
                    <a:pt x="274" y="85"/>
                    <a:pt x="269" y="85"/>
                  </a:cubicBezTo>
                  <a:cubicBezTo>
                    <a:pt x="263" y="84"/>
                    <a:pt x="260" y="87"/>
                    <a:pt x="260" y="90"/>
                  </a:cubicBezTo>
                  <a:cubicBezTo>
                    <a:pt x="262" y="94"/>
                    <a:pt x="262" y="88"/>
                    <a:pt x="263" y="88"/>
                  </a:cubicBezTo>
                  <a:close/>
                  <a:moveTo>
                    <a:pt x="233" y="76"/>
                  </a:moveTo>
                  <a:cubicBezTo>
                    <a:pt x="233" y="71"/>
                    <a:pt x="240" y="74"/>
                    <a:pt x="240" y="74"/>
                  </a:cubicBezTo>
                  <a:cubicBezTo>
                    <a:pt x="240" y="76"/>
                    <a:pt x="233" y="77"/>
                    <a:pt x="233" y="76"/>
                  </a:cubicBezTo>
                  <a:close/>
                  <a:moveTo>
                    <a:pt x="240" y="76"/>
                  </a:moveTo>
                  <a:cubicBezTo>
                    <a:pt x="242" y="73"/>
                    <a:pt x="251" y="74"/>
                    <a:pt x="248" y="74"/>
                  </a:cubicBezTo>
                  <a:cubicBezTo>
                    <a:pt x="246" y="76"/>
                    <a:pt x="240" y="77"/>
                    <a:pt x="240" y="76"/>
                  </a:cubicBezTo>
                  <a:close/>
                  <a:moveTo>
                    <a:pt x="259" y="74"/>
                  </a:moveTo>
                  <a:cubicBezTo>
                    <a:pt x="262" y="73"/>
                    <a:pt x="265" y="74"/>
                    <a:pt x="262" y="71"/>
                  </a:cubicBezTo>
                  <a:cubicBezTo>
                    <a:pt x="259" y="70"/>
                    <a:pt x="257" y="70"/>
                    <a:pt x="257" y="73"/>
                  </a:cubicBezTo>
                  <a:cubicBezTo>
                    <a:pt x="257" y="74"/>
                    <a:pt x="257" y="74"/>
                    <a:pt x="259" y="74"/>
                  </a:cubicBezTo>
                  <a:close/>
                  <a:moveTo>
                    <a:pt x="275" y="76"/>
                  </a:moveTo>
                  <a:cubicBezTo>
                    <a:pt x="277" y="77"/>
                    <a:pt x="280" y="79"/>
                    <a:pt x="280" y="76"/>
                  </a:cubicBezTo>
                  <a:cubicBezTo>
                    <a:pt x="281" y="74"/>
                    <a:pt x="280" y="73"/>
                    <a:pt x="277" y="74"/>
                  </a:cubicBezTo>
                  <a:cubicBezTo>
                    <a:pt x="275" y="74"/>
                    <a:pt x="274" y="76"/>
                    <a:pt x="275" y="76"/>
                  </a:cubicBezTo>
                  <a:close/>
                  <a:moveTo>
                    <a:pt x="285" y="67"/>
                  </a:moveTo>
                  <a:cubicBezTo>
                    <a:pt x="285" y="65"/>
                    <a:pt x="281" y="67"/>
                    <a:pt x="281" y="67"/>
                  </a:cubicBezTo>
                  <a:cubicBezTo>
                    <a:pt x="283" y="68"/>
                    <a:pt x="283" y="68"/>
                    <a:pt x="285" y="70"/>
                  </a:cubicBezTo>
                  <a:cubicBezTo>
                    <a:pt x="285" y="71"/>
                    <a:pt x="286" y="67"/>
                    <a:pt x="285" y="67"/>
                  </a:cubicBezTo>
                  <a:close/>
                  <a:moveTo>
                    <a:pt x="285" y="59"/>
                  </a:moveTo>
                  <a:cubicBezTo>
                    <a:pt x="285" y="59"/>
                    <a:pt x="286" y="62"/>
                    <a:pt x="288" y="60"/>
                  </a:cubicBezTo>
                  <a:cubicBezTo>
                    <a:pt x="289" y="60"/>
                    <a:pt x="286" y="57"/>
                    <a:pt x="283" y="57"/>
                  </a:cubicBezTo>
                  <a:cubicBezTo>
                    <a:pt x="280" y="59"/>
                    <a:pt x="278" y="59"/>
                    <a:pt x="280" y="60"/>
                  </a:cubicBezTo>
                  <a:cubicBezTo>
                    <a:pt x="281" y="60"/>
                    <a:pt x="283" y="62"/>
                    <a:pt x="285" y="62"/>
                  </a:cubicBezTo>
                  <a:cubicBezTo>
                    <a:pt x="286" y="60"/>
                    <a:pt x="283" y="59"/>
                    <a:pt x="285" y="59"/>
                  </a:cubicBezTo>
                  <a:close/>
                  <a:moveTo>
                    <a:pt x="263" y="63"/>
                  </a:moveTo>
                  <a:cubicBezTo>
                    <a:pt x="262" y="60"/>
                    <a:pt x="260" y="57"/>
                    <a:pt x="260" y="54"/>
                  </a:cubicBezTo>
                  <a:cubicBezTo>
                    <a:pt x="262" y="52"/>
                    <a:pt x="263" y="52"/>
                    <a:pt x="266" y="54"/>
                  </a:cubicBezTo>
                  <a:cubicBezTo>
                    <a:pt x="269" y="56"/>
                    <a:pt x="268" y="52"/>
                    <a:pt x="265" y="51"/>
                  </a:cubicBezTo>
                  <a:cubicBezTo>
                    <a:pt x="262" y="49"/>
                    <a:pt x="265" y="48"/>
                    <a:pt x="266" y="48"/>
                  </a:cubicBezTo>
                  <a:cubicBezTo>
                    <a:pt x="268" y="46"/>
                    <a:pt x="268" y="42"/>
                    <a:pt x="265" y="42"/>
                  </a:cubicBezTo>
                  <a:cubicBezTo>
                    <a:pt x="262" y="43"/>
                    <a:pt x="260" y="51"/>
                    <a:pt x="260" y="49"/>
                  </a:cubicBezTo>
                  <a:cubicBezTo>
                    <a:pt x="259" y="46"/>
                    <a:pt x="260" y="48"/>
                    <a:pt x="262" y="43"/>
                  </a:cubicBezTo>
                  <a:cubicBezTo>
                    <a:pt x="263" y="40"/>
                    <a:pt x="260" y="40"/>
                    <a:pt x="260" y="39"/>
                  </a:cubicBezTo>
                  <a:cubicBezTo>
                    <a:pt x="262" y="37"/>
                    <a:pt x="263" y="34"/>
                    <a:pt x="260" y="35"/>
                  </a:cubicBezTo>
                  <a:cubicBezTo>
                    <a:pt x="257" y="39"/>
                    <a:pt x="257" y="45"/>
                    <a:pt x="257" y="48"/>
                  </a:cubicBezTo>
                  <a:cubicBezTo>
                    <a:pt x="259" y="49"/>
                    <a:pt x="257" y="51"/>
                    <a:pt x="259" y="52"/>
                  </a:cubicBezTo>
                  <a:cubicBezTo>
                    <a:pt x="260" y="56"/>
                    <a:pt x="257" y="57"/>
                    <a:pt x="260" y="60"/>
                  </a:cubicBezTo>
                  <a:cubicBezTo>
                    <a:pt x="262" y="63"/>
                    <a:pt x="263" y="67"/>
                    <a:pt x="265" y="67"/>
                  </a:cubicBezTo>
                  <a:cubicBezTo>
                    <a:pt x="265" y="65"/>
                    <a:pt x="265" y="65"/>
                    <a:pt x="263" y="63"/>
                  </a:cubicBezTo>
                  <a:close/>
                  <a:moveTo>
                    <a:pt x="263" y="37"/>
                  </a:moveTo>
                  <a:cubicBezTo>
                    <a:pt x="263" y="34"/>
                    <a:pt x="265" y="29"/>
                    <a:pt x="266" y="32"/>
                  </a:cubicBezTo>
                  <a:cubicBezTo>
                    <a:pt x="268" y="34"/>
                    <a:pt x="263" y="40"/>
                    <a:pt x="263" y="37"/>
                  </a:cubicBezTo>
                  <a:close/>
                  <a:moveTo>
                    <a:pt x="213" y="110"/>
                  </a:moveTo>
                  <a:cubicBezTo>
                    <a:pt x="213" y="108"/>
                    <a:pt x="213" y="105"/>
                    <a:pt x="213" y="107"/>
                  </a:cubicBezTo>
                  <a:cubicBezTo>
                    <a:pt x="214" y="110"/>
                    <a:pt x="214" y="112"/>
                    <a:pt x="213" y="110"/>
                  </a:cubicBezTo>
                  <a:close/>
                  <a:moveTo>
                    <a:pt x="219" y="108"/>
                  </a:moveTo>
                  <a:cubicBezTo>
                    <a:pt x="219" y="107"/>
                    <a:pt x="219" y="105"/>
                    <a:pt x="219" y="104"/>
                  </a:cubicBezTo>
                  <a:cubicBezTo>
                    <a:pt x="221" y="101"/>
                    <a:pt x="216" y="102"/>
                    <a:pt x="216" y="105"/>
                  </a:cubicBezTo>
                  <a:cubicBezTo>
                    <a:pt x="217" y="107"/>
                    <a:pt x="214" y="112"/>
                    <a:pt x="217" y="110"/>
                  </a:cubicBezTo>
                  <a:cubicBezTo>
                    <a:pt x="219" y="108"/>
                    <a:pt x="219" y="108"/>
                    <a:pt x="219" y="108"/>
                  </a:cubicBezTo>
                  <a:close/>
                  <a:moveTo>
                    <a:pt x="221" y="112"/>
                  </a:moveTo>
                  <a:cubicBezTo>
                    <a:pt x="222" y="108"/>
                    <a:pt x="225" y="112"/>
                    <a:pt x="222" y="108"/>
                  </a:cubicBezTo>
                  <a:cubicBezTo>
                    <a:pt x="219" y="104"/>
                    <a:pt x="225" y="105"/>
                    <a:pt x="224" y="101"/>
                  </a:cubicBezTo>
                  <a:cubicBezTo>
                    <a:pt x="222" y="97"/>
                    <a:pt x="221" y="102"/>
                    <a:pt x="221" y="107"/>
                  </a:cubicBezTo>
                  <a:cubicBezTo>
                    <a:pt x="221" y="112"/>
                    <a:pt x="216" y="112"/>
                    <a:pt x="219" y="113"/>
                  </a:cubicBezTo>
                  <a:cubicBezTo>
                    <a:pt x="221" y="113"/>
                    <a:pt x="221" y="113"/>
                    <a:pt x="221" y="112"/>
                  </a:cubicBezTo>
                  <a:close/>
                  <a:moveTo>
                    <a:pt x="221" y="73"/>
                  </a:moveTo>
                  <a:cubicBezTo>
                    <a:pt x="221" y="70"/>
                    <a:pt x="221" y="68"/>
                    <a:pt x="222" y="68"/>
                  </a:cubicBezTo>
                  <a:cubicBezTo>
                    <a:pt x="224" y="68"/>
                    <a:pt x="221" y="73"/>
                    <a:pt x="221" y="73"/>
                  </a:cubicBezTo>
                  <a:close/>
                  <a:moveTo>
                    <a:pt x="225" y="70"/>
                  </a:moveTo>
                  <a:cubicBezTo>
                    <a:pt x="227" y="68"/>
                    <a:pt x="227" y="71"/>
                    <a:pt x="225" y="71"/>
                  </a:cubicBezTo>
                  <a:cubicBezTo>
                    <a:pt x="225" y="73"/>
                    <a:pt x="224" y="70"/>
                    <a:pt x="225" y="70"/>
                  </a:cubicBezTo>
                  <a:close/>
                  <a:moveTo>
                    <a:pt x="257" y="63"/>
                  </a:moveTo>
                  <a:cubicBezTo>
                    <a:pt x="257" y="65"/>
                    <a:pt x="259" y="65"/>
                    <a:pt x="259" y="62"/>
                  </a:cubicBezTo>
                  <a:cubicBezTo>
                    <a:pt x="259" y="60"/>
                    <a:pt x="257" y="59"/>
                    <a:pt x="257" y="60"/>
                  </a:cubicBezTo>
                  <a:cubicBezTo>
                    <a:pt x="256" y="62"/>
                    <a:pt x="256" y="62"/>
                    <a:pt x="257" y="63"/>
                  </a:cubicBezTo>
                  <a:close/>
                  <a:moveTo>
                    <a:pt x="288" y="135"/>
                  </a:moveTo>
                  <a:cubicBezTo>
                    <a:pt x="285" y="136"/>
                    <a:pt x="289" y="125"/>
                    <a:pt x="291" y="129"/>
                  </a:cubicBezTo>
                  <a:cubicBezTo>
                    <a:pt x="291" y="130"/>
                    <a:pt x="291" y="133"/>
                    <a:pt x="288" y="135"/>
                  </a:cubicBezTo>
                  <a:close/>
                  <a:moveTo>
                    <a:pt x="310" y="124"/>
                  </a:moveTo>
                  <a:cubicBezTo>
                    <a:pt x="309" y="125"/>
                    <a:pt x="309" y="115"/>
                    <a:pt x="312" y="119"/>
                  </a:cubicBezTo>
                  <a:cubicBezTo>
                    <a:pt x="313" y="122"/>
                    <a:pt x="313" y="124"/>
                    <a:pt x="310" y="124"/>
                  </a:cubicBezTo>
                  <a:close/>
                  <a:moveTo>
                    <a:pt x="245" y="133"/>
                  </a:moveTo>
                  <a:cubicBezTo>
                    <a:pt x="246" y="132"/>
                    <a:pt x="253" y="130"/>
                    <a:pt x="253" y="132"/>
                  </a:cubicBezTo>
                  <a:cubicBezTo>
                    <a:pt x="253" y="133"/>
                    <a:pt x="242" y="135"/>
                    <a:pt x="245" y="133"/>
                  </a:cubicBezTo>
                  <a:close/>
                  <a:moveTo>
                    <a:pt x="169" y="94"/>
                  </a:moveTo>
                  <a:cubicBezTo>
                    <a:pt x="169" y="91"/>
                    <a:pt x="169" y="88"/>
                    <a:pt x="167" y="90"/>
                  </a:cubicBezTo>
                  <a:cubicBezTo>
                    <a:pt x="166" y="91"/>
                    <a:pt x="167" y="93"/>
                    <a:pt x="167" y="96"/>
                  </a:cubicBezTo>
                  <a:cubicBezTo>
                    <a:pt x="166" y="97"/>
                    <a:pt x="167" y="97"/>
                    <a:pt x="169" y="94"/>
                  </a:cubicBezTo>
                  <a:close/>
                  <a:moveTo>
                    <a:pt x="100" y="88"/>
                  </a:moveTo>
                  <a:cubicBezTo>
                    <a:pt x="102" y="87"/>
                    <a:pt x="103" y="90"/>
                    <a:pt x="105" y="87"/>
                  </a:cubicBezTo>
                  <a:cubicBezTo>
                    <a:pt x="106" y="85"/>
                    <a:pt x="105" y="84"/>
                    <a:pt x="102" y="82"/>
                  </a:cubicBezTo>
                  <a:cubicBezTo>
                    <a:pt x="99" y="80"/>
                    <a:pt x="99" y="85"/>
                    <a:pt x="99" y="88"/>
                  </a:cubicBezTo>
                  <a:cubicBezTo>
                    <a:pt x="100" y="88"/>
                    <a:pt x="100" y="90"/>
                    <a:pt x="100" y="88"/>
                  </a:cubicBezTo>
                  <a:close/>
                  <a:moveTo>
                    <a:pt x="83" y="77"/>
                  </a:moveTo>
                  <a:cubicBezTo>
                    <a:pt x="86" y="77"/>
                    <a:pt x="85" y="84"/>
                    <a:pt x="88" y="85"/>
                  </a:cubicBezTo>
                  <a:cubicBezTo>
                    <a:pt x="90" y="87"/>
                    <a:pt x="90" y="88"/>
                    <a:pt x="93" y="87"/>
                  </a:cubicBezTo>
                  <a:cubicBezTo>
                    <a:pt x="94" y="87"/>
                    <a:pt x="91" y="85"/>
                    <a:pt x="91" y="84"/>
                  </a:cubicBezTo>
                  <a:cubicBezTo>
                    <a:pt x="93" y="82"/>
                    <a:pt x="93" y="82"/>
                    <a:pt x="90" y="82"/>
                  </a:cubicBezTo>
                  <a:cubicBezTo>
                    <a:pt x="86" y="80"/>
                    <a:pt x="90" y="71"/>
                    <a:pt x="83" y="71"/>
                  </a:cubicBezTo>
                  <a:cubicBezTo>
                    <a:pt x="80" y="73"/>
                    <a:pt x="82" y="74"/>
                    <a:pt x="80" y="76"/>
                  </a:cubicBezTo>
                  <a:cubicBezTo>
                    <a:pt x="77" y="77"/>
                    <a:pt x="82" y="77"/>
                    <a:pt x="83" y="77"/>
                  </a:cubicBezTo>
                  <a:close/>
                  <a:moveTo>
                    <a:pt x="105" y="15"/>
                  </a:moveTo>
                  <a:cubicBezTo>
                    <a:pt x="105" y="15"/>
                    <a:pt x="102" y="18"/>
                    <a:pt x="103" y="20"/>
                  </a:cubicBezTo>
                  <a:cubicBezTo>
                    <a:pt x="105" y="20"/>
                    <a:pt x="102" y="21"/>
                    <a:pt x="103" y="21"/>
                  </a:cubicBezTo>
                  <a:cubicBezTo>
                    <a:pt x="106" y="23"/>
                    <a:pt x="105" y="17"/>
                    <a:pt x="105" y="15"/>
                  </a:cubicBezTo>
                  <a:close/>
                  <a:moveTo>
                    <a:pt x="9" y="32"/>
                  </a:moveTo>
                  <a:cubicBezTo>
                    <a:pt x="10" y="34"/>
                    <a:pt x="12" y="35"/>
                    <a:pt x="12" y="34"/>
                  </a:cubicBezTo>
                  <a:cubicBezTo>
                    <a:pt x="10" y="32"/>
                    <a:pt x="7" y="28"/>
                    <a:pt x="6" y="29"/>
                  </a:cubicBezTo>
                  <a:cubicBezTo>
                    <a:pt x="6" y="31"/>
                    <a:pt x="6" y="32"/>
                    <a:pt x="9" y="32"/>
                  </a:cubicBezTo>
                  <a:close/>
                  <a:moveTo>
                    <a:pt x="21" y="51"/>
                  </a:moveTo>
                  <a:cubicBezTo>
                    <a:pt x="22" y="54"/>
                    <a:pt x="24" y="48"/>
                    <a:pt x="22" y="46"/>
                  </a:cubicBezTo>
                  <a:cubicBezTo>
                    <a:pt x="19" y="45"/>
                    <a:pt x="19" y="42"/>
                    <a:pt x="16" y="42"/>
                  </a:cubicBezTo>
                  <a:cubicBezTo>
                    <a:pt x="15" y="43"/>
                    <a:pt x="18" y="46"/>
                    <a:pt x="21" y="51"/>
                  </a:cubicBezTo>
                  <a:close/>
                  <a:moveTo>
                    <a:pt x="29" y="67"/>
                  </a:moveTo>
                  <a:cubicBezTo>
                    <a:pt x="30" y="65"/>
                    <a:pt x="35" y="73"/>
                    <a:pt x="33" y="74"/>
                  </a:cubicBezTo>
                  <a:cubicBezTo>
                    <a:pt x="32" y="74"/>
                    <a:pt x="26" y="68"/>
                    <a:pt x="29" y="67"/>
                  </a:cubicBezTo>
                  <a:close/>
                  <a:moveTo>
                    <a:pt x="36" y="77"/>
                  </a:moveTo>
                  <a:cubicBezTo>
                    <a:pt x="36" y="76"/>
                    <a:pt x="39" y="79"/>
                    <a:pt x="38" y="80"/>
                  </a:cubicBezTo>
                  <a:cubicBezTo>
                    <a:pt x="38" y="80"/>
                    <a:pt x="35" y="79"/>
                    <a:pt x="36" y="77"/>
                  </a:cubicBezTo>
                  <a:close/>
                  <a:moveTo>
                    <a:pt x="39" y="85"/>
                  </a:moveTo>
                  <a:cubicBezTo>
                    <a:pt x="41" y="85"/>
                    <a:pt x="42" y="90"/>
                    <a:pt x="42" y="88"/>
                  </a:cubicBezTo>
                  <a:cubicBezTo>
                    <a:pt x="44" y="87"/>
                    <a:pt x="41" y="80"/>
                    <a:pt x="39" y="82"/>
                  </a:cubicBezTo>
                  <a:cubicBezTo>
                    <a:pt x="38" y="84"/>
                    <a:pt x="39" y="85"/>
                    <a:pt x="39" y="85"/>
                  </a:cubicBezTo>
                  <a:close/>
                  <a:moveTo>
                    <a:pt x="74" y="63"/>
                  </a:moveTo>
                  <a:cubicBezTo>
                    <a:pt x="71" y="65"/>
                    <a:pt x="73" y="60"/>
                    <a:pt x="74" y="60"/>
                  </a:cubicBezTo>
                  <a:cubicBezTo>
                    <a:pt x="76" y="60"/>
                    <a:pt x="76" y="63"/>
                    <a:pt x="74" y="63"/>
                  </a:cubicBezTo>
                  <a:close/>
                  <a:moveTo>
                    <a:pt x="76" y="57"/>
                  </a:moveTo>
                  <a:cubicBezTo>
                    <a:pt x="74" y="56"/>
                    <a:pt x="74" y="57"/>
                    <a:pt x="74" y="59"/>
                  </a:cubicBezTo>
                  <a:cubicBezTo>
                    <a:pt x="74" y="60"/>
                    <a:pt x="79" y="60"/>
                    <a:pt x="79" y="60"/>
                  </a:cubicBezTo>
                  <a:cubicBezTo>
                    <a:pt x="79" y="60"/>
                    <a:pt x="77" y="59"/>
                    <a:pt x="76" y="57"/>
                  </a:cubicBezTo>
                  <a:close/>
                  <a:moveTo>
                    <a:pt x="53" y="35"/>
                  </a:moveTo>
                  <a:cubicBezTo>
                    <a:pt x="54" y="37"/>
                    <a:pt x="53" y="40"/>
                    <a:pt x="51" y="40"/>
                  </a:cubicBezTo>
                  <a:cubicBezTo>
                    <a:pt x="50" y="39"/>
                    <a:pt x="51" y="35"/>
                    <a:pt x="53" y="35"/>
                  </a:cubicBezTo>
                  <a:close/>
                  <a:moveTo>
                    <a:pt x="67" y="48"/>
                  </a:moveTo>
                  <a:cubicBezTo>
                    <a:pt x="67" y="48"/>
                    <a:pt x="68" y="51"/>
                    <a:pt x="67" y="51"/>
                  </a:cubicBezTo>
                  <a:cubicBezTo>
                    <a:pt x="65" y="51"/>
                    <a:pt x="65" y="48"/>
                    <a:pt x="67" y="48"/>
                  </a:cubicBezTo>
                  <a:close/>
                  <a:moveTo>
                    <a:pt x="58" y="43"/>
                  </a:moveTo>
                  <a:cubicBezTo>
                    <a:pt x="59" y="45"/>
                    <a:pt x="59" y="45"/>
                    <a:pt x="59" y="43"/>
                  </a:cubicBezTo>
                  <a:cubicBezTo>
                    <a:pt x="59" y="42"/>
                    <a:pt x="56" y="40"/>
                    <a:pt x="54" y="42"/>
                  </a:cubicBezTo>
                  <a:cubicBezTo>
                    <a:pt x="54" y="42"/>
                    <a:pt x="56" y="42"/>
                    <a:pt x="58" y="43"/>
                  </a:cubicBezTo>
                  <a:close/>
                  <a:moveTo>
                    <a:pt x="58" y="43"/>
                  </a:moveTo>
                  <a:cubicBezTo>
                    <a:pt x="59" y="45"/>
                    <a:pt x="59" y="49"/>
                    <a:pt x="58" y="48"/>
                  </a:cubicBezTo>
                  <a:cubicBezTo>
                    <a:pt x="58" y="46"/>
                    <a:pt x="56" y="42"/>
                    <a:pt x="58" y="43"/>
                  </a:cubicBezTo>
                  <a:close/>
                  <a:moveTo>
                    <a:pt x="64" y="49"/>
                  </a:moveTo>
                  <a:cubicBezTo>
                    <a:pt x="64" y="48"/>
                    <a:pt x="61" y="48"/>
                    <a:pt x="61" y="46"/>
                  </a:cubicBezTo>
                  <a:cubicBezTo>
                    <a:pt x="59" y="45"/>
                    <a:pt x="59" y="46"/>
                    <a:pt x="59" y="48"/>
                  </a:cubicBezTo>
                  <a:cubicBezTo>
                    <a:pt x="59" y="49"/>
                    <a:pt x="59" y="49"/>
                    <a:pt x="61" y="49"/>
                  </a:cubicBezTo>
                  <a:cubicBezTo>
                    <a:pt x="62" y="49"/>
                    <a:pt x="64" y="51"/>
                    <a:pt x="64" y="49"/>
                  </a:cubicBezTo>
                  <a:close/>
                  <a:moveTo>
                    <a:pt x="62" y="48"/>
                  </a:moveTo>
                  <a:cubicBezTo>
                    <a:pt x="64" y="48"/>
                    <a:pt x="64" y="48"/>
                    <a:pt x="64" y="48"/>
                  </a:cubicBezTo>
                  <a:cubicBezTo>
                    <a:pt x="64" y="46"/>
                    <a:pt x="61" y="45"/>
                    <a:pt x="61" y="46"/>
                  </a:cubicBezTo>
                  <a:cubicBezTo>
                    <a:pt x="61" y="46"/>
                    <a:pt x="61" y="46"/>
                    <a:pt x="62" y="48"/>
                  </a:cubicBezTo>
                  <a:close/>
                  <a:moveTo>
                    <a:pt x="65" y="49"/>
                  </a:moveTo>
                  <a:cubicBezTo>
                    <a:pt x="65" y="52"/>
                    <a:pt x="65" y="52"/>
                    <a:pt x="65" y="52"/>
                  </a:cubicBezTo>
                  <a:cubicBezTo>
                    <a:pt x="64" y="52"/>
                    <a:pt x="64" y="49"/>
                    <a:pt x="65" y="49"/>
                  </a:cubicBezTo>
                  <a:close/>
                  <a:moveTo>
                    <a:pt x="26" y="62"/>
                  </a:moveTo>
                  <a:cubicBezTo>
                    <a:pt x="24" y="60"/>
                    <a:pt x="26" y="59"/>
                    <a:pt x="27" y="59"/>
                  </a:cubicBezTo>
                  <a:cubicBezTo>
                    <a:pt x="29" y="60"/>
                    <a:pt x="27" y="63"/>
                    <a:pt x="26" y="62"/>
                  </a:cubicBezTo>
                  <a:close/>
                  <a:moveTo>
                    <a:pt x="330" y="74"/>
                  </a:moveTo>
                  <a:cubicBezTo>
                    <a:pt x="335" y="74"/>
                    <a:pt x="332" y="73"/>
                    <a:pt x="326" y="73"/>
                  </a:cubicBezTo>
                  <a:cubicBezTo>
                    <a:pt x="320" y="73"/>
                    <a:pt x="323" y="73"/>
                    <a:pt x="326" y="74"/>
                  </a:cubicBezTo>
                  <a:cubicBezTo>
                    <a:pt x="326" y="76"/>
                    <a:pt x="326" y="76"/>
                    <a:pt x="330" y="74"/>
                  </a:cubicBezTo>
                  <a:close/>
                  <a:moveTo>
                    <a:pt x="327" y="67"/>
                  </a:moveTo>
                  <a:cubicBezTo>
                    <a:pt x="326" y="65"/>
                    <a:pt x="327" y="63"/>
                    <a:pt x="323" y="63"/>
                  </a:cubicBezTo>
                  <a:cubicBezTo>
                    <a:pt x="318" y="62"/>
                    <a:pt x="321" y="65"/>
                    <a:pt x="323" y="67"/>
                  </a:cubicBezTo>
                  <a:cubicBezTo>
                    <a:pt x="326" y="67"/>
                    <a:pt x="323" y="70"/>
                    <a:pt x="327" y="68"/>
                  </a:cubicBezTo>
                  <a:cubicBezTo>
                    <a:pt x="329" y="68"/>
                    <a:pt x="329" y="68"/>
                    <a:pt x="327" y="67"/>
                  </a:cubicBezTo>
                  <a:close/>
                  <a:moveTo>
                    <a:pt x="275" y="135"/>
                  </a:moveTo>
                  <a:cubicBezTo>
                    <a:pt x="272" y="132"/>
                    <a:pt x="275" y="133"/>
                    <a:pt x="275" y="135"/>
                  </a:cubicBezTo>
                  <a:cubicBezTo>
                    <a:pt x="277" y="135"/>
                    <a:pt x="275" y="136"/>
                    <a:pt x="275" y="135"/>
                  </a:cubicBezTo>
                  <a:close/>
                  <a:moveTo>
                    <a:pt x="298" y="115"/>
                  </a:moveTo>
                  <a:cubicBezTo>
                    <a:pt x="298" y="110"/>
                    <a:pt x="300" y="113"/>
                    <a:pt x="300" y="113"/>
                  </a:cubicBezTo>
                  <a:cubicBezTo>
                    <a:pt x="300" y="115"/>
                    <a:pt x="298" y="116"/>
                    <a:pt x="298" y="115"/>
                  </a:cubicBezTo>
                  <a:close/>
                  <a:moveTo>
                    <a:pt x="300" y="116"/>
                  </a:moveTo>
                  <a:cubicBezTo>
                    <a:pt x="300" y="112"/>
                    <a:pt x="303" y="107"/>
                    <a:pt x="303" y="108"/>
                  </a:cubicBezTo>
                  <a:cubicBezTo>
                    <a:pt x="303" y="110"/>
                    <a:pt x="300" y="116"/>
                    <a:pt x="300" y="116"/>
                  </a:cubicBezTo>
                  <a:close/>
                  <a:moveTo>
                    <a:pt x="260" y="138"/>
                  </a:moveTo>
                  <a:cubicBezTo>
                    <a:pt x="259" y="136"/>
                    <a:pt x="260" y="136"/>
                    <a:pt x="262" y="136"/>
                  </a:cubicBezTo>
                  <a:cubicBezTo>
                    <a:pt x="263" y="138"/>
                    <a:pt x="262" y="138"/>
                    <a:pt x="260" y="138"/>
                  </a:cubicBezTo>
                  <a:close/>
                  <a:moveTo>
                    <a:pt x="312" y="118"/>
                  </a:moveTo>
                  <a:cubicBezTo>
                    <a:pt x="310" y="118"/>
                    <a:pt x="310" y="116"/>
                    <a:pt x="310" y="116"/>
                  </a:cubicBezTo>
                  <a:cubicBezTo>
                    <a:pt x="310" y="118"/>
                    <a:pt x="310" y="118"/>
                    <a:pt x="310" y="118"/>
                  </a:cubicBezTo>
                  <a:cubicBezTo>
                    <a:pt x="312" y="119"/>
                    <a:pt x="312" y="119"/>
                    <a:pt x="313" y="121"/>
                  </a:cubicBezTo>
                  <a:cubicBezTo>
                    <a:pt x="313" y="121"/>
                    <a:pt x="313" y="119"/>
                    <a:pt x="312" y="118"/>
                  </a:cubicBezTo>
                  <a:close/>
                  <a:moveTo>
                    <a:pt x="315" y="115"/>
                  </a:moveTo>
                  <a:cubicBezTo>
                    <a:pt x="315" y="110"/>
                    <a:pt x="313" y="108"/>
                    <a:pt x="312" y="112"/>
                  </a:cubicBezTo>
                  <a:cubicBezTo>
                    <a:pt x="312" y="113"/>
                    <a:pt x="310" y="112"/>
                    <a:pt x="310" y="113"/>
                  </a:cubicBezTo>
                  <a:cubicBezTo>
                    <a:pt x="310" y="113"/>
                    <a:pt x="312" y="113"/>
                    <a:pt x="312" y="115"/>
                  </a:cubicBezTo>
                  <a:cubicBezTo>
                    <a:pt x="310" y="118"/>
                    <a:pt x="312" y="118"/>
                    <a:pt x="313" y="119"/>
                  </a:cubicBezTo>
                  <a:cubicBezTo>
                    <a:pt x="315" y="119"/>
                    <a:pt x="315" y="118"/>
                    <a:pt x="315" y="115"/>
                  </a:cubicBezTo>
                  <a:close/>
                  <a:moveTo>
                    <a:pt x="347" y="140"/>
                  </a:moveTo>
                  <a:cubicBezTo>
                    <a:pt x="349" y="140"/>
                    <a:pt x="347" y="138"/>
                    <a:pt x="347" y="138"/>
                  </a:cubicBezTo>
                  <a:cubicBezTo>
                    <a:pt x="347" y="136"/>
                    <a:pt x="347" y="136"/>
                    <a:pt x="345" y="138"/>
                  </a:cubicBezTo>
                  <a:cubicBezTo>
                    <a:pt x="345" y="140"/>
                    <a:pt x="345" y="140"/>
                    <a:pt x="347" y="140"/>
                  </a:cubicBezTo>
                  <a:close/>
                  <a:moveTo>
                    <a:pt x="245" y="80"/>
                  </a:moveTo>
                  <a:cubicBezTo>
                    <a:pt x="246" y="82"/>
                    <a:pt x="246" y="80"/>
                    <a:pt x="246" y="79"/>
                  </a:cubicBezTo>
                  <a:cubicBezTo>
                    <a:pt x="245" y="77"/>
                    <a:pt x="246" y="76"/>
                    <a:pt x="245" y="76"/>
                  </a:cubicBezTo>
                  <a:cubicBezTo>
                    <a:pt x="245" y="77"/>
                    <a:pt x="245" y="79"/>
                    <a:pt x="245" y="80"/>
                  </a:cubicBezTo>
                  <a:close/>
                  <a:moveTo>
                    <a:pt x="256" y="60"/>
                  </a:moveTo>
                  <a:cubicBezTo>
                    <a:pt x="256" y="59"/>
                    <a:pt x="256" y="62"/>
                    <a:pt x="256" y="62"/>
                  </a:cubicBezTo>
                  <a:cubicBezTo>
                    <a:pt x="254" y="62"/>
                    <a:pt x="254" y="60"/>
                    <a:pt x="256" y="60"/>
                  </a:cubicBezTo>
                  <a:close/>
                  <a:moveTo>
                    <a:pt x="259" y="65"/>
                  </a:moveTo>
                  <a:cubicBezTo>
                    <a:pt x="260" y="63"/>
                    <a:pt x="262" y="63"/>
                    <a:pt x="260" y="65"/>
                  </a:cubicBezTo>
                  <a:cubicBezTo>
                    <a:pt x="260" y="67"/>
                    <a:pt x="259" y="65"/>
                    <a:pt x="259" y="65"/>
                  </a:cubicBezTo>
                  <a:close/>
                  <a:moveTo>
                    <a:pt x="260" y="94"/>
                  </a:moveTo>
                  <a:cubicBezTo>
                    <a:pt x="260" y="93"/>
                    <a:pt x="265" y="90"/>
                    <a:pt x="265" y="91"/>
                  </a:cubicBezTo>
                  <a:cubicBezTo>
                    <a:pt x="263" y="93"/>
                    <a:pt x="262" y="94"/>
                    <a:pt x="260" y="94"/>
                  </a:cubicBezTo>
                  <a:close/>
                  <a:moveTo>
                    <a:pt x="256" y="65"/>
                  </a:moveTo>
                  <a:cubicBezTo>
                    <a:pt x="254" y="65"/>
                    <a:pt x="256" y="63"/>
                    <a:pt x="256" y="63"/>
                  </a:cubicBezTo>
                  <a:cubicBezTo>
                    <a:pt x="257" y="65"/>
                    <a:pt x="257" y="65"/>
                    <a:pt x="256" y="65"/>
                  </a:cubicBezTo>
                  <a:close/>
                  <a:moveTo>
                    <a:pt x="280" y="67"/>
                  </a:moveTo>
                  <a:cubicBezTo>
                    <a:pt x="280" y="65"/>
                    <a:pt x="281" y="65"/>
                    <a:pt x="283" y="65"/>
                  </a:cubicBezTo>
                  <a:cubicBezTo>
                    <a:pt x="285" y="65"/>
                    <a:pt x="280" y="67"/>
                    <a:pt x="280" y="67"/>
                  </a:cubicBezTo>
                  <a:close/>
                  <a:moveTo>
                    <a:pt x="76" y="49"/>
                  </a:moveTo>
                  <a:cubicBezTo>
                    <a:pt x="74" y="48"/>
                    <a:pt x="71" y="46"/>
                    <a:pt x="74" y="45"/>
                  </a:cubicBezTo>
                  <a:cubicBezTo>
                    <a:pt x="77" y="43"/>
                    <a:pt x="76" y="49"/>
                    <a:pt x="76" y="49"/>
                  </a:cubicBezTo>
                  <a:close/>
                  <a:moveTo>
                    <a:pt x="71" y="46"/>
                  </a:moveTo>
                  <a:cubicBezTo>
                    <a:pt x="71" y="45"/>
                    <a:pt x="73" y="46"/>
                    <a:pt x="71" y="48"/>
                  </a:cubicBezTo>
                  <a:cubicBezTo>
                    <a:pt x="71" y="48"/>
                    <a:pt x="70" y="46"/>
                    <a:pt x="71" y="46"/>
                  </a:cubicBezTo>
                  <a:close/>
                  <a:moveTo>
                    <a:pt x="71" y="49"/>
                  </a:moveTo>
                  <a:cubicBezTo>
                    <a:pt x="71" y="48"/>
                    <a:pt x="73" y="48"/>
                    <a:pt x="73" y="49"/>
                  </a:cubicBezTo>
                  <a:cubicBezTo>
                    <a:pt x="73" y="49"/>
                    <a:pt x="73" y="51"/>
                    <a:pt x="71" y="49"/>
                  </a:cubicBezTo>
                  <a:close/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902" name="Freeform 223">
              <a:extLst>
                <a:ext uri="{FF2B5EF4-FFF2-40B4-BE49-F238E27FC236}">
                  <a16:creationId xmlns:a16="http://schemas.microsoft.com/office/drawing/2014/main" id="{46B7E1E7-44DD-8F83-49DB-3B2724B44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85865" y="3939378"/>
              <a:ext cx="22495" cy="53023"/>
            </a:xfrm>
            <a:custGeom>
              <a:avLst/>
              <a:gdLst/>
              <a:ahLst/>
              <a:cxnLst>
                <a:cxn ang="0">
                  <a:pos x="4" y="17"/>
                </a:cxn>
                <a:cxn ang="0">
                  <a:pos x="3" y="17"/>
                </a:cxn>
                <a:cxn ang="0">
                  <a:pos x="1" y="16"/>
                </a:cxn>
                <a:cxn ang="0">
                  <a:pos x="1" y="5"/>
                </a:cxn>
                <a:cxn ang="0">
                  <a:pos x="4" y="2"/>
                </a:cxn>
                <a:cxn ang="0">
                  <a:pos x="6" y="6"/>
                </a:cxn>
                <a:cxn ang="0">
                  <a:pos x="7" y="11"/>
                </a:cxn>
                <a:cxn ang="0">
                  <a:pos x="4" y="17"/>
                </a:cxn>
                <a:cxn ang="0">
                  <a:pos x="4" y="17"/>
                </a:cxn>
              </a:cxnLst>
              <a:rect l="0" t="0" r="r" b="b"/>
              <a:pathLst>
                <a:path w="7" h="17">
                  <a:moveTo>
                    <a:pt x="4" y="17"/>
                  </a:moveTo>
                  <a:cubicBezTo>
                    <a:pt x="4" y="17"/>
                    <a:pt x="4" y="17"/>
                    <a:pt x="3" y="17"/>
                  </a:cubicBezTo>
                  <a:cubicBezTo>
                    <a:pt x="3" y="17"/>
                    <a:pt x="1" y="17"/>
                    <a:pt x="1" y="16"/>
                  </a:cubicBezTo>
                  <a:cubicBezTo>
                    <a:pt x="1" y="8"/>
                    <a:pt x="0" y="9"/>
                    <a:pt x="1" y="5"/>
                  </a:cubicBezTo>
                  <a:cubicBezTo>
                    <a:pt x="3" y="3"/>
                    <a:pt x="3" y="0"/>
                    <a:pt x="4" y="2"/>
                  </a:cubicBezTo>
                  <a:cubicBezTo>
                    <a:pt x="6" y="3"/>
                    <a:pt x="7" y="5"/>
                    <a:pt x="6" y="6"/>
                  </a:cubicBezTo>
                  <a:cubicBezTo>
                    <a:pt x="6" y="9"/>
                    <a:pt x="7" y="9"/>
                    <a:pt x="7" y="11"/>
                  </a:cubicBezTo>
                  <a:cubicBezTo>
                    <a:pt x="7" y="14"/>
                    <a:pt x="6" y="17"/>
                    <a:pt x="4" y="17"/>
                  </a:cubicBezTo>
                  <a:cubicBezTo>
                    <a:pt x="4" y="17"/>
                    <a:pt x="4" y="17"/>
                    <a:pt x="4" y="17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903" name="Freeform 224">
              <a:extLst>
                <a:ext uri="{FF2B5EF4-FFF2-40B4-BE49-F238E27FC236}">
                  <a16:creationId xmlns:a16="http://schemas.microsoft.com/office/drawing/2014/main" id="{F6714D4E-6C3A-B474-D6FC-FC1996A87F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20835" y="3936163"/>
              <a:ext cx="11247" cy="22494"/>
            </a:xfrm>
            <a:custGeom>
              <a:avLst/>
              <a:gdLst/>
              <a:ahLst/>
              <a:cxnLst>
                <a:cxn ang="0">
                  <a:pos x="1" y="7"/>
                </a:cxn>
                <a:cxn ang="0">
                  <a:pos x="0" y="3"/>
                </a:cxn>
                <a:cxn ang="0">
                  <a:pos x="1" y="1"/>
                </a:cxn>
                <a:cxn ang="0">
                  <a:pos x="3" y="0"/>
                </a:cxn>
                <a:cxn ang="0">
                  <a:pos x="3" y="4"/>
                </a:cxn>
                <a:cxn ang="0">
                  <a:pos x="1" y="7"/>
                </a:cxn>
              </a:cxnLst>
              <a:rect l="0" t="0" r="r" b="b"/>
              <a:pathLst>
                <a:path w="4" h="7">
                  <a:moveTo>
                    <a:pt x="1" y="7"/>
                  </a:moveTo>
                  <a:cubicBezTo>
                    <a:pt x="0" y="7"/>
                    <a:pt x="1" y="3"/>
                    <a:pt x="0" y="3"/>
                  </a:cubicBezTo>
                  <a:cubicBezTo>
                    <a:pt x="1" y="1"/>
                    <a:pt x="0" y="1"/>
                    <a:pt x="1" y="1"/>
                  </a:cubicBezTo>
                  <a:cubicBezTo>
                    <a:pt x="3" y="3"/>
                    <a:pt x="1" y="0"/>
                    <a:pt x="3" y="0"/>
                  </a:cubicBezTo>
                  <a:cubicBezTo>
                    <a:pt x="4" y="0"/>
                    <a:pt x="3" y="3"/>
                    <a:pt x="3" y="4"/>
                  </a:cubicBezTo>
                  <a:cubicBezTo>
                    <a:pt x="3" y="4"/>
                    <a:pt x="1" y="6"/>
                    <a:pt x="1" y="7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904" name="Freeform 225">
              <a:extLst>
                <a:ext uri="{FF2B5EF4-FFF2-40B4-BE49-F238E27FC236}">
                  <a16:creationId xmlns:a16="http://schemas.microsoft.com/office/drawing/2014/main" id="{3FD92A2B-310A-193C-9702-15DEE01ADE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95506" y="3945804"/>
              <a:ext cx="133363" cy="118900"/>
            </a:xfrm>
            <a:custGeom>
              <a:avLst/>
              <a:gdLst/>
              <a:ahLst/>
              <a:cxnLst>
                <a:cxn ang="0">
                  <a:pos x="41" y="4"/>
                </a:cxn>
                <a:cxn ang="0">
                  <a:pos x="40" y="0"/>
                </a:cxn>
                <a:cxn ang="0">
                  <a:pos x="38" y="4"/>
                </a:cxn>
                <a:cxn ang="0">
                  <a:pos x="34" y="9"/>
                </a:cxn>
                <a:cxn ang="0">
                  <a:pos x="26" y="15"/>
                </a:cxn>
                <a:cxn ang="0">
                  <a:pos x="26" y="18"/>
                </a:cxn>
                <a:cxn ang="0">
                  <a:pos x="11" y="20"/>
                </a:cxn>
                <a:cxn ang="0">
                  <a:pos x="6" y="20"/>
                </a:cxn>
                <a:cxn ang="0">
                  <a:pos x="3" y="18"/>
                </a:cxn>
                <a:cxn ang="0">
                  <a:pos x="3" y="15"/>
                </a:cxn>
                <a:cxn ang="0">
                  <a:pos x="1" y="15"/>
                </a:cxn>
                <a:cxn ang="0">
                  <a:pos x="0" y="15"/>
                </a:cxn>
                <a:cxn ang="0">
                  <a:pos x="3" y="20"/>
                </a:cxn>
                <a:cxn ang="0">
                  <a:pos x="6" y="27"/>
                </a:cxn>
                <a:cxn ang="0">
                  <a:pos x="15" y="32"/>
                </a:cxn>
                <a:cxn ang="0">
                  <a:pos x="34" y="33"/>
                </a:cxn>
                <a:cxn ang="0">
                  <a:pos x="35" y="26"/>
                </a:cxn>
                <a:cxn ang="0">
                  <a:pos x="35" y="21"/>
                </a:cxn>
                <a:cxn ang="0">
                  <a:pos x="38" y="20"/>
                </a:cxn>
                <a:cxn ang="0">
                  <a:pos x="38" y="18"/>
                </a:cxn>
                <a:cxn ang="0">
                  <a:pos x="38" y="15"/>
                </a:cxn>
                <a:cxn ang="0">
                  <a:pos x="40" y="12"/>
                </a:cxn>
                <a:cxn ang="0">
                  <a:pos x="43" y="10"/>
                </a:cxn>
                <a:cxn ang="0">
                  <a:pos x="41" y="4"/>
                </a:cxn>
              </a:cxnLst>
              <a:rect l="0" t="0" r="r" b="b"/>
              <a:pathLst>
                <a:path w="43" h="38">
                  <a:moveTo>
                    <a:pt x="41" y="4"/>
                  </a:moveTo>
                  <a:cubicBezTo>
                    <a:pt x="40" y="4"/>
                    <a:pt x="41" y="0"/>
                    <a:pt x="40" y="0"/>
                  </a:cubicBezTo>
                  <a:cubicBezTo>
                    <a:pt x="38" y="6"/>
                    <a:pt x="40" y="0"/>
                    <a:pt x="38" y="4"/>
                  </a:cubicBezTo>
                  <a:cubicBezTo>
                    <a:pt x="37" y="6"/>
                    <a:pt x="35" y="6"/>
                    <a:pt x="34" y="9"/>
                  </a:cubicBezTo>
                  <a:cubicBezTo>
                    <a:pt x="31" y="12"/>
                    <a:pt x="28" y="15"/>
                    <a:pt x="26" y="15"/>
                  </a:cubicBezTo>
                  <a:cubicBezTo>
                    <a:pt x="26" y="16"/>
                    <a:pt x="29" y="15"/>
                    <a:pt x="26" y="18"/>
                  </a:cubicBezTo>
                  <a:cubicBezTo>
                    <a:pt x="23" y="23"/>
                    <a:pt x="17" y="18"/>
                    <a:pt x="11" y="20"/>
                  </a:cubicBezTo>
                  <a:cubicBezTo>
                    <a:pt x="6" y="21"/>
                    <a:pt x="6" y="21"/>
                    <a:pt x="6" y="20"/>
                  </a:cubicBezTo>
                  <a:cubicBezTo>
                    <a:pt x="6" y="16"/>
                    <a:pt x="5" y="18"/>
                    <a:pt x="3" y="18"/>
                  </a:cubicBezTo>
                  <a:cubicBezTo>
                    <a:pt x="0" y="18"/>
                    <a:pt x="3" y="15"/>
                    <a:pt x="3" y="15"/>
                  </a:cubicBezTo>
                  <a:cubicBezTo>
                    <a:pt x="3" y="13"/>
                    <a:pt x="1" y="15"/>
                    <a:pt x="1" y="15"/>
                  </a:cubicBezTo>
                  <a:cubicBezTo>
                    <a:pt x="1" y="15"/>
                    <a:pt x="1" y="15"/>
                    <a:pt x="0" y="15"/>
                  </a:cubicBezTo>
                  <a:cubicBezTo>
                    <a:pt x="0" y="18"/>
                    <a:pt x="0" y="18"/>
                    <a:pt x="3" y="20"/>
                  </a:cubicBezTo>
                  <a:cubicBezTo>
                    <a:pt x="6" y="23"/>
                    <a:pt x="6" y="23"/>
                    <a:pt x="6" y="27"/>
                  </a:cubicBezTo>
                  <a:cubicBezTo>
                    <a:pt x="8" y="30"/>
                    <a:pt x="6" y="30"/>
                    <a:pt x="15" y="32"/>
                  </a:cubicBezTo>
                  <a:cubicBezTo>
                    <a:pt x="24" y="33"/>
                    <a:pt x="32" y="38"/>
                    <a:pt x="34" y="33"/>
                  </a:cubicBezTo>
                  <a:cubicBezTo>
                    <a:pt x="34" y="32"/>
                    <a:pt x="32" y="30"/>
                    <a:pt x="35" y="26"/>
                  </a:cubicBezTo>
                  <a:cubicBezTo>
                    <a:pt x="37" y="21"/>
                    <a:pt x="37" y="23"/>
                    <a:pt x="35" y="21"/>
                  </a:cubicBezTo>
                  <a:cubicBezTo>
                    <a:pt x="35" y="21"/>
                    <a:pt x="37" y="21"/>
                    <a:pt x="38" y="20"/>
                  </a:cubicBezTo>
                  <a:cubicBezTo>
                    <a:pt x="41" y="20"/>
                    <a:pt x="40" y="18"/>
                    <a:pt x="38" y="18"/>
                  </a:cubicBezTo>
                  <a:cubicBezTo>
                    <a:pt x="37" y="18"/>
                    <a:pt x="38" y="18"/>
                    <a:pt x="38" y="15"/>
                  </a:cubicBezTo>
                  <a:cubicBezTo>
                    <a:pt x="38" y="12"/>
                    <a:pt x="38" y="9"/>
                    <a:pt x="40" y="12"/>
                  </a:cubicBezTo>
                  <a:cubicBezTo>
                    <a:pt x="41" y="15"/>
                    <a:pt x="40" y="12"/>
                    <a:pt x="43" y="10"/>
                  </a:cubicBezTo>
                  <a:cubicBezTo>
                    <a:pt x="43" y="7"/>
                    <a:pt x="43" y="6"/>
                    <a:pt x="41" y="4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905" name="Freeform 226">
              <a:extLst>
                <a:ext uri="{FF2B5EF4-FFF2-40B4-BE49-F238E27FC236}">
                  <a16:creationId xmlns:a16="http://schemas.microsoft.com/office/drawing/2014/main" id="{62C3D1A5-C705-2961-3239-93F8A6CC4D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98341" y="3912063"/>
              <a:ext cx="30529" cy="17674"/>
            </a:xfrm>
            <a:custGeom>
              <a:avLst/>
              <a:gdLst/>
              <a:ahLst/>
              <a:cxnLst>
                <a:cxn ang="0">
                  <a:pos x="2" y="6"/>
                </a:cxn>
                <a:cxn ang="0">
                  <a:pos x="5" y="3"/>
                </a:cxn>
                <a:cxn ang="0">
                  <a:pos x="8" y="1"/>
                </a:cxn>
                <a:cxn ang="0">
                  <a:pos x="2" y="6"/>
                </a:cxn>
              </a:cxnLst>
              <a:rect l="0" t="0" r="r" b="b"/>
              <a:pathLst>
                <a:path w="10" h="6">
                  <a:moveTo>
                    <a:pt x="2" y="6"/>
                  </a:moveTo>
                  <a:cubicBezTo>
                    <a:pt x="0" y="4"/>
                    <a:pt x="5" y="4"/>
                    <a:pt x="5" y="3"/>
                  </a:cubicBezTo>
                  <a:cubicBezTo>
                    <a:pt x="5" y="1"/>
                    <a:pt x="10" y="0"/>
                    <a:pt x="8" y="1"/>
                  </a:cubicBezTo>
                  <a:cubicBezTo>
                    <a:pt x="7" y="4"/>
                    <a:pt x="2" y="6"/>
                    <a:pt x="2" y="6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906" name="Freeform 227">
              <a:extLst>
                <a:ext uri="{FF2B5EF4-FFF2-40B4-BE49-F238E27FC236}">
                  <a16:creationId xmlns:a16="http://schemas.microsoft.com/office/drawing/2014/main" id="{84201847-385C-505F-CFD8-20C1B26D4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23201" y="3817264"/>
              <a:ext cx="6427" cy="16068"/>
            </a:xfrm>
            <a:custGeom>
              <a:avLst/>
              <a:gdLst/>
              <a:ahLst/>
              <a:cxnLst>
                <a:cxn ang="0">
                  <a:pos x="2" y="5"/>
                </a:cxn>
                <a:cxn ang="0">
                  <a:pos x="0" y="2"/>
                </a:cxn>
                <a:cxn ang="0">
                  <a:pos x="2" y="5"/>
                </a:cxn>
              </a:cxnLst>
              <a:rect l="0" t="0" r="r" b="b"/>
              <a:pathLst>
                <a:path w="2" h="5">
                  <a:moveTo>
                    <a:pt x="2" y="5"/>
                  </a:moveTo>
                  <a:cubicBezTo>
                    <a:pt x="0" y="5"/>
                    <a:pt x="0" y="2"/>
                    <a:pt x="0" y="2"/>
                  </a:cubicBezTo>
                  <a:cubicBezTo>
                    <a:pt x="0" y="0"/>
                    <a:pt x="2" y="3"/>
                    <a:pt x="2" y="5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907" name="Freeform 228">
              <a:extLst>
                <a:ext uri="{FF2B5EF4-FFF2-40B4-BE49-F238E27FC236}">
                  <a16:creationId xmlns:a16="http://schemas.microsoft.com/office/drawing/2014/main" id="{888357DF-4322-F3AF-F634-0909BBBDA0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97025" y="3730500"/>
              <a:ext cx="17675" cy="46596"/>
            </a:xfrm>
            <a:custGeom>
              <a:avLst/>
              <a:gdLst/>
              <a:ahLst/>
              <a:cxnLst>
                <a:cxn ang="0">
                  <a:pos x="4" y="3"/>
                </a:cxn>
                <a:cxn ang="0">
                  <a:pos x="4" y="11"/>
                </a:cxn>
                <a:cxn ang="0">
                  <a:pos x="0" y="15"/>
                </a:cxn>
                <a:cxn ang="0">
                  <a:pos x="0" y="13"/>
                </a:cxn>
                <a:cxn ang="0">
                  <a:pos x="1" y="8"/>
                </a:cxn>
                <a:cxn ang="0">
                  <a:pos x="0" y="8"/>
                </a:cxn>
                <a:cxn ang="0">
                  <a:pos x="1" y="8"/>
                </a:cxn>
                <a:cxn ang="0">
                  <a:pos x="1" y="2"/>
                </a:cxn>
                <a:cxn ang="0">
                  <a:pos x="4" y="3"/>
                </a:cxn>
              </a:cxnLst>
              <a:rect l="0" t="0" r="r" b="b"/>
              <a:pathLst>
                <a:path w="6" h="15">
                  <a:moveTo>
                    <a:pt x="4" y="3"/>
                  </a:moveTo>
                  <a:cubicBezTo>
                    <a:pt x="4" y="5"/>
                    <a:pt x="6" y="10"/>
                    <a:pt x="4" y="11"/>
                  </a:cubicBezTo>
                  <a:cubicBezTo>
                    <a:pt x="3" y="13"/>
                    <a:pt x="3" y="15"/>
                    <a:pt x="0" y="15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1"/>
                    <a:pt x="3" y="10"/>
                    <a:pt x="1" y="8"/>
                  </a:cubicBezTo>
                  <a:cubicBezTo>
                    <a:pt x="1" y="8"/>
                    <a:pt x="0" y="10"/>
                    <a:pt x="0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6"/>
                    <a:pt x="0" y="3"/>
                    <a:pt x="1" y="2"/>
                  </a:cubicBezTo>
                  <a:cubicBezTo>
                    <a:pt x="3" y="0"/>
                    <a:pt x="4" y="3"/>
                    <a:pt x="4" y="3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908" name="Freeform 229">
              <a:extLst>
                <a:ext uri="{FF2B5EF4-FFF2-40B4-BE49-F238E27FC236}">
                  <a16:creationId xmlns:a16="http://schemas.microsoft.com/office/drawing/2014/main" id="{70D9BFED-D653-64B6-B179-2A49A0BB5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4170" y="3706398"/>
              <a:ext cx="30529" cy="126933"/>
            </a:xfrm>
            <a:custGeom>
              <a:avLst/>
              <a:gdLst/>
              <a:ahLst/>
              <a:cxnLst>
                <a:cxn ang="0">
                  <a:pos x="9" y="11"/>
                </a:cxn>
                <a:cxn ang="0">
                  <a:pos x="9" y="10"/>
                </a:cxn>
                <a:cxn ang="0">
                  <a:pos x="10" y="7"/>
                </a:cxn>
                <a:cxn ang="0">
                  <a:pos x="10" y="5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9" y="2"/>
                </a:cxn>
                <a:cxn ang="0">
                  <a:pos x="9" y="4"/>
                </a:cxn>
                <a:cxn ang="0">
                  <a:pos x="6" y="4"/>
                </a:cxn>
                <a:cxn ang="0">
                  <a:pos x="1" y="19"/>
                </a:cxn>
                <a:cxn ang="0">
                  <a:pos x="0" y="22"/>
                </a:cxn>
                <a:cxn ang="0">
                  <a:pos x="0" y="24"/>
                </a:cxn>
                <a:cxn ang="0">
                  <a:pos x="4" y="41"/>
                </a:cxn>
                <a:cxn ang="0">
                  <a:pos x="4" y="41"/>
                </a:cxn>
                <a:cxn ang="0">
                  <a:pos x="6" y="34"/>
                </a:cxn>
                <a:cxn ang="0">
                  <a:pos x="9" y="24"/>
                </a:cxn>
                <a:cxn ang="0">
                  <a:pos x="9" y="19"/>
                </a:cxn>
                <a:cxn ang="0">
                  <a:pos x="4" y="22"/>
                </a:cxn>
                <a:cxn ang="0">
                  <a:pos x="4" y="21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6" y="16"/>
                </a:cxn>
                <a:cxn ang="0">
                  <a:pos x="6" y="10"/>
                </a:cxn>
                <a:cxn ang="0">
                  <a:pos x="9" y="11"/>
                </a:cxn>
              </a:cxnLst>
              <a:rect l="0" t="0" r="r" b="b"/>
              <a:pathLst>
                <a:path w="10" h="41">
                  <a:moveTo>
                    <a:pt x="9" y="11"/>
                  </a:moveTo>
                  <a:cubicBezTo>
                    <a:pt x="9" y="10"/>
                    <a:pt x="9" y="10"/>
                    <a:pt x="9" y="10"/>
                  </a:cubicBezTo>
                  <a:cubicBezTo>
                    <a:pt x="9" y="8"/>
                    <a:pt x="9" y="7"/>
                    <a:pt x="10" y="7"/>
                  </a:cubicBezTo>
                  <a:cubicBezTo>
                    <a:pt x="10" y="7"/>
                    <a:pt x="10" y="7"/>
                    <a:pt x="10" y="5"/>
                  </a:cubicBezTo>
                  <a:cubicBezTo>
                    <a:pt x="10" y="5"/>
                    <a:pt x="10" y="4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2"/>
                    <a:pt x="9" y="0"/>
                    <a:pt x="9" y="2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7" y="4"/>
                    <a:pt x="6" y="4"/>
                  </a:cubicBezTo>
                  <a:cubicBezTo>
                    <a:pt x="4" y="7"/>
                    <a:pt x="3" y="17"/>
                    <a:pt x="1" y="19"/>
                  </a:cubicBezTo>
                  <a:cubicBezTo>
                    <a:pt x="3" y="19"/>
                    <a:pt x="0" y="22"/>
                    <a:pt x="0" y="22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1" y="28"/>
                    <a:pt x="3" y="34"/>
                    <a:pt x="4" y="41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4" y="41"/>
                    <a:pt x="6" y="36"/>
                    <a:pt x="6" y="34"/>
                  </a:cubicBezTo>
                  <a:cubicBezTo>
                    <a:pt x="6" y="30"/>
                    <a:pt x="9" y="25"/>
                    <a:pt x="9" y="24"/>
                  </a:cubicBezTo>
                  <a:cubicBezTo>
                    <a:pt x="9" y="22"/>
                    <a:pt x="9" y="21"/>
                    <a:pt x="9" y="19"/>
                  </a:cubicBezTo>
                  <a:cubicBezTo>
                    <a:pt x="7" y="21"/>
                    <a:pt x="7" y="22"/>
                    <a:pt x="4" y="22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4" y="19"/>
                    <a:pt x="7" y="17"/>
                    <a:pt x="6" y="16"/>
                  </a:cubicBezTo>
                  <a:cubicBezTo>
                    <a:pt x="6" y="16"/>
                    <a:pt x="4" y="17"/>
                    <a:pt x="4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4"/>
                    <a:pt x="4" y="11"/>
                    <a:pt x="6" y="10"/>
                  </a:cubicBezTo>
                  <a:cubicBezTo>
                    <a:pt x="7" y="8"/>
                    <a:pt x="9" y="11"/>
                    <a:pt x="9" y="11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909" name="Freeform 230">
              <a:extLst>
                <a:ext uri="{FF2B5EF4-FFF2-40B4-BE49-F238E27FC236}">
                  <a16:creationId xmlns:a16="http://schemas.microsoft.com/office/drawing/2014/main" id="{AF47A3BE-701E-55D5-1E41-BCC1D94114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77743" y="3765848"/>
              <a:ext cx="12854" cy="1446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0" y="3"/>
                </a:cxn>
                <a:cxn ang="0">
                  <a:pos x="1" y="5"/>
                </a:cxn>
                <a:cxn ang="0">
                  <a:pos x="1" y="3"/>
                </a:cxn>
                <a:cxn ang="0">
                  <a:pos x="3" y="0"/>
                </a:cxn>
              </a:cxnLst>
              <a:rect l="0" t="0" r="r" b="b"/>
              <a:pathLst>
                <a:path w="4" h="5">
                  <a:moveTo>
                    <a:pt x="3" y="0"/>
                  </a:moveTo>
                  <a:cubicBezTo>
                    <a:pt x="1" y="1"/>
                    <a:pt x="1" y="1"/>
                    <a:pt x="0" y="3"/>
                  </a:cubicBezTo>
                  <a:cubicBezTo>
                    <a:pt x="0" y="3"/>
                    <a:pt x="0" y="5"/>
                    <a:pt x="1" y="5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4" y="0"/>
                    <a:pt x="3" y="0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910" name="Freeform 231">
              <a:extLst>
                <a:ext uri="{FF2B5EF4-FFF2-40B4-BE49-F238E27FC236}">
                  <a16:creationId xmlns:a16="http://schemas.microsoft.com/office/drawing/2014/main" id="{90E1A7AA-B604-237E-4787-EBB2115EFA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19431" y="3415577"/>
              <a:ext cx="212095" cy="244227"/>
            </a:xfrm>
            <a:custGeom>
              <a:avLst/>
              <a:gdLst/>
              <a:ahLst/>
              <a:cxnLst>
                <a:cxn ang="0">
                  <a:pos x="32" y="6"/>
                </a:cxn>
                <a:cxn ang="0">
                  <a:pos x="44" y="6"/>
                </a:cxn>
                <a:cxn ang="0">
                  <a:pos x="54" y="8"/>
                </a:cxn>
                <a:cxn ang="0">
                  <a:pos x="41" y="11"/>
                </a:cxn>
                <a:cxn ang="0">
                  <a:pos x="36" y="19"/>
                </a:cxn>
                <a:cxn ang="0">
                  <a:pos x="32" y="20"/>
                </a:cxn>
                <a:cxn ang="0">
                  <a:pos x="25" y="15"/>
                </a:cxn>
                <a:cxn ang="0">
                  <a:pos x="27" y="28"/>
                </a:cxn>
                <a:cxn ang="0">
                  <a:pos x="32" y="39"/>
                </a:cxn>
                <a:cxn ang="0">
                  <a:pos x="32" y="43"/>
                </a:cxn>
                <a:cxn ang="0">
                  <a:pos x="30" y="50"/>
                </a:cxn>
                <a:cxn ang="0">
                  <a:pos x="29" y="60"/>
                </a:cxn>
                <a:cxn ang="0">
                  <a:pos x="19" y="56"/>
                </a:cxn>
                <a:cxn ang="0">
                  <a:pos x="12" y="45"/>
                </a:cxn>
                <a:cxn ang="0">
                  <a:pos x="21" y="40"/>
                </a:cxn>
                <a:cxn ang="0">
                  <a:pos x="22" y="39"/>
                </a:cxn>
                <a:cxn ang="0">
                  <a:pos x="9" y="36"/>
                </a:cxn>
                <a:cxn ang="0">
                  <a:pos x="4" y="25"/>
                </a:cxn>
                <a:cxn ang="0">
                  <a:pos x="9" y="19"/>
                </a:cxn>
                <a:cxn ang="0">
                  <a:pos x="21" y="8"/>
                </a:cxn>
                <a:cxn ang="0">
                  <a:pos x="7" y="43"/>
                </a:cxn>
                <a:cxn ang="0">
                  <a:pos x="7" y="39"/>
                </a:cxn>
                <a:cxn ang="0">
                  <a:pos x="27" y="60"/>
                </a:cxn>
                <a:cxn ang="0">
                  <a:pos x="41" y="74"/>
                </a:cxn>
                <a:cxn ang="0">
                  <a:pos x="47" y="73"/>
                </a:cxn>
                <a:cxn ang="0">
                  <a:pos x="33" y="68"/>
                </a:cxn>
                <a:cxn ang="0">
                  <a:pos x="68" y="60"/>
                </a:cxn>
                <a:cxn ang="0">
                  <a:pos x="68" y="60"/>
                </a:cxn>
                <a:cxn ang="0">
                  <a:pos x="50" y="39"/>
                </a:cxn>
                <a:cxn ang="0">
                  <a:pos x="53" y="28"/>
                </a:cxn>
                <a:cxn ang="0">
                  <a:pos x="54" y="31"/>
                </a:cxn>
                <a:cxn ang="0">
                  <a:pos x="41" y="12"/>
                </a:cxn>
                <a:cxn ang="0">
                  <a:pos x="38" y="43"/>
                </a:cxn>
                <a:cxn ang="0">
                  <a:pos x="30" y="33"/>
                </a:cxn>
                <a:cxn ang="0">
                  <a:pos x="47" y="53"/>
                </a:cxn>
                <a:cxn ang="0">
                  <a:pos x="60" y="71"/>
                </a:cxn>
                <a:cxn ang="0">
                  <a:pos x="4" y="28"/>
                </a:cxn>
                <a:cxn ang="0">
                  <a:pos x="4" y="28"/>
                </a:cxn>
                <a:cxn ang="0">
                  <a:pos x="45" y="22"/>
                </a:cxn>
                <a:cxn ang="0">
                  <a:pos x="48" y="20"/>
                </a:cxn>
                <a:cxn ang="0">
                  <a:pos x="44" y="54"/>
                </a:cxn>
                <a:cxn ang="0">
                  <a:pos x="38" y="57"/>
                </a:cxn>
                <a:cxn ang="0">
                  <a:pos x="38" y="48"/>
                </a:cxn>
                <a:cxn ang="0">
                  <a:pos x="38" y="51"/>
                </a:cxn>
                <a:cxn ang="0">
                  <a:pos x="50" y="48"/>
                </a:cxn>
                <a:cxn ang="0">
                  <a:pos x="7" y="37"/>
                </a:cxn>
                <a:cxn ang="0">
                  <a:pos x="41" y="34"/>
                </a:cxn>
                <a:cxn ang="0">
                  <a:pos x="42" y="48"/>
                </a:cxn>
                <a:cxn ang="0">
                  <a:pos x="42" y="48"/>
                </a:cxn>
              </a:cxnLst>
              <a:rect l="0" t="0" r="r" b="b"/>
              <a:pathLst>
                <a:path w="68" h="78">
                  <a:moveTo>
                    <a:pt x="21" y="8"/>
                  </a:moveTo>
                  <a:cubicBezTo>
                    <a:pt x="25" y="11"/>
                    <a:pt x="24" y="6"/>
                    <a:pt x="27" y="6"/>
                  </a:cubicBezTo>
                  <a:cubicBezTo>
                    <a:pt x="29" y="8"/>
                    <a:pt x="27" y="5"/>
                    <a:pt x="32" y="6"/>
                  </a:cubicBezTo>
                  <a:cubicBezTo>
                    <a:pt x="35" y="6"/>
                    <a:pt x="36" y="3"/>
                    <a:pt x="38" y="5"/>
                  </a:cubicBezTo>
                  <a:cubicBezTo>
                    <a:pt x="39" y="5"/>
                    <a:pt x="38" y="2"/>
                    <a:pt x="41" y="5"/>
                  </a:cubicBezTo>
                  <a:cubicBezTo>
                    <a:pt x="42" y="8"/>
                    <a:pt x="42" y="3"/>
                    <a:pt x="44" y="6"/>
                  </a:cubicBezTo>
                  <a:cubicBezTo>
                    <a:pt x="45" y="9"/>
                    <a:pt x="47" y="6"/>
                    <a:pt x="50" y="6"/>
                  </a:cubicBezTo>
                  <a:cubicBezTo>
                    <a:pt x="54" y="6"/>
                    <a:pt x="48" y="0"/>
                    <a:pt x="53" y="2"/>
                  </a:cubicBezTo>
                  <a:cubicBezTo>
                    <a:pt x="56" y="5"/>
                    <a:pt x="56" y="6"/>
                    <a:pt x="54" y="8"/>
                  </a:cubicBezTo>
                  <a:cubicBezTo>
                    <a:pt x="53" y="8"/>
                    <a:pt x="54" y="11"/>
                    <a:pt x="51" y="12"/>
                  </a:cubicBezTo>
                  <a:cubicBezTo>
                    <a:pt x="51" y="11"/>
                    <a:pt x="48" y="12"/>
                    <a:pt x="45" y="11"/>
                  </a:cubicBezTo>
                  <a:cubicBezTo>
                    <a:pt x="42" y="9"/>
                    <a:pt x="44" y="12"/>
                    <a:pt x="41" y="11"/>
                  </a:cubicBezTo>
                  <a:cubicBezTo>
                    <a:pt x="38" y="9"/>
                    <a:pt x="38" y="12"/>
                    <a:pt x="35" y="14"/>
                  </a:cubicBezTo>
                  <a:cubicBezTo>
                    <a:pt x="32" y="14"/>
                    <a:pt x="35" y="14"/>
                    <a:pt x="33" y="15"/>
                  </a:cubicBezTo>
                  <a:cubicBezTo>
                    <a:pt x="33" y="17"/>
                    <a:pt x="35" y="15"/>
                    <a:pt x="36" y="19"/>
                  </a:cubicBezTo>
                  <a:cubicBezTo>
                    <a:pt x="39" y="20"/>
                    <a:pt x="38" y="20"/>
                    <a:pt x="36" y="19"/>
                  </a:cubicBezTo>
                  <a:cubicBezTo>
                    <a:pt x="33" y="17"/>
                    <a:pt x="32" y="17"/>
                    <a:pt x="35" y="19"/>
                  </a:cubicBezTo>
                  <a:cubicBezTo>
                    <a:pt x="36" y="22"/>
                    <a:pt x="35" y="22"/>
                    <a:pt x="32" y="20"/>
                  </a:cubicBezTo>
                  <a:cubicBezTo>
                    <a:pt x="30" y="17"/>
                    <a:pt x="30" y="19"/>
                    <a:pt x="32" y="20"/>
                  </a:cubicBezTo>
                  <a:cubicBezTo>
                    <a:pt x="33" y="23"/>
                    <a:pt x="30" y="23"/>
                    <a:pt x="29" y="20"/>
                  </a:cubicBezTo>
                  <a:cubicBezTo>
                    <a:pt x="29" y="15"/>
                    <a:pt x="25" y="19"/>
                    <a:pt x="25" y="15"/>
                  </a:cubicBezTo>
                  <a:cubicBezTo>
                    <a:pt x="27" y="12"/>
                    <a:pt x="24" y="15"/>
                    <a:pt x="24" y="17"/>
                  </a:cubicBezTo>
                  <a:cubicBezTo>
                    <a:pt x="21" y="22"/>
                    <a:pt x="32" y="28"/>
                    <a:pt x="29" y="31"/>
                  </a:cubicBezTo>
                  <a:cubicBezTo>
                    <a:pt x="27" y="33"/>
                    <a:pt x="29" y="28"/>
                    <a:pt x="27" y="28"/>
                  </a:cubicBezTo>
                  <a:cubicBezTo>
                    <a:pt x="24" y="28"/>
                    <a:pt x="30" y="33"/>
                    <a:pt x="24" y="33"/>
                  </a:cubicBezTo>
                  <a:cubicBezTo>
                    <a:pt x="21" y="34"/>
                    <a:pt x="29" y="34"/>
                    <a:pt x="29" y="36"/>
                  </a:cubicBezTo>
                  <a:cubicBezTo>
                    <a:pt x="30" y="39"/>
                    <a:pt x="30" y="37"/>
                    <a:pt x="32" y="39"/>
                  </a:cubicBezTo>
                  <a:cubicBezTo>
                    <a:pt x="32" y="40"/>
                    <a:pt x="36" y="40"/>
                    <a:pt x="35" y="42"/>
                  </a:cubicBezTo>
                  <a:cubicBezTo>
                    <a:pt x="35" y="43"/>
                    <a:pt x="36" y="46"/>
                    <a:pt x="35" y="46"/>
                  </a:cubicBezTo>
                  <a:cubicBezTo>
                    <a:pt x="35" y="46"/>
                    <a:pt x="33" y="45"/>
                    <a:pt x="32" y="43"/>
                  </a:cubicBezTo>
                  <a:cubicBezTo>
                    <a:pt x="30" y="42"/>
                    <a:pt x="27" y="43"/>
                    <a:pt x="27" y="45"/>
                  </a:cubicBezTo>
                  <a:cubicBezTo>
                    <a:pt x="29" y="46"/>
                    <a:pt x="27" y="46"/>
                    <a:pt x="29" y="46"/>
                  </a:cubicBezTo>
                  <a:cubicBezTo>
                    <a:pt x="30" y="48"/>
                    <a:pt x="32" y="50"/>
                    <a:pt x="30" y="50"/>
                  </a:cubicBezTo>
                  <a:cubicBezTo>
                    <a:pt x="29" y="50"/>
                    <a:pt x="29" y="51"/>
                    <a:pt x="27" y="50"/>
                  </a:cubicBezTo>
                  <a:cubicBezTo>
                    <a:pt x="27" y="48"/>
                    <a:pt x="27" y="48"/>
                    <a:pt x="25" y="48"/>
                  </a:cubicBezTo>
                  <a:cubicBezTo>
                    <a:pt x="22" y="48"/>
                    <a:pt x="30" y="59"/>
                    <a:pt x="29" y="60"/>
                  </a:cubicBezTo>
                  <a:cubicBezTo>
                    <a:pt x="25" y="60"/>
                    <a:pt x="24" y="53"/>
                    <a:pt x="24" y="57"/>
                  </a:cubicBezTo>
                  <a:cubicBezTo>
                    <a:pt x="22" y="60"/>
                    <a:pt x="21" y="62"/>
                    <a:pt x="21" y="59"/>
                  </a:cubicBezTo>
                  <a:cubicBezTo>
                    <a:pt x="21" y="56"/>
                    <a:pt x="19" y="51"/>
                    <a:pt x="19" y="56"/>
                  </a:cubicBezTo>
                  <a:cubicBezTo>
                    <a:pt x="18" y="59"/>
                    <a:pt x="15" y="53"/>
                    <a:pt x="15" y="51"/>
                  </a:cubicBezTo>
                  <a:cubicBezTo>
                    <a:pt x="16" y="50"/>
                    <a:pt x="16" y="48"/>
                    <a:pt x="15" y="48"/>
                  </a:cubicBezTo>
                  <a:cubicBezTo>
                    <a:pt x="12" y="48"/>
                    <a:pt x="13" y="46"/>
                    <a:pt x="12" y="45"/>
                  </a:cubicBezTo>
                  <a:cubicBezTo>
                    <a:pt x="10" y="43"/>
                    <a:pt x="13" y="45"/>
                    <a:pt x="13" y="42"/>
                  </a:cubicBezTo>
                  <a:cubicBezTo>
                    <a:pt x="13" y="40"/>
                    <a:pt x="15" y="42"/>
                    <a:pt x="16" y="40"/>
                  </a:cubicBezTo>
                  <a:cubicBezTo>
                    <a:pt x="18" y="39"/>
                    <a:pt x="18" y="39"/>
                    <a:pt x="21" y="40"/>
                  </a:cubicBezTo>
                  <a:cubicBezTo>
                    <a:pt x="24" y="42"/>
                    <a:pt x="24" y="43"/>
                    <a:pt x="27" y="42"/>
                  </a:cubicBezTo>
                  <a:cubicBezTo>
                    <a:pt x="30" y="42"/>
                    <a:pt x="29" y="40"/>
                    <a:pt x="27" y="40"/>
                  </a:cubicBezTo>
                  <a:cubicBezTo>
                    <a:pt x="25" y="40"/>
                    <a:pt x="24" y="39"/>
                    <a:pt x="22" y="39"/>
                  </a:cubicBezTo>
                  <a:cubicBezTo>
                    <a:pt x="19" y="40"/>
                    <a:pt x="21" y="39"/>
                    <a:pt x="18" y="39"/>
                  </a:cubicBezTo>
                  <a:cubicBezTo>
                    <a:pt x="13" y="40"/>
                    <a:pt x="15" y="37"/>
                    <a:pt x="13" y="39"/>
                  </a:cubicBezTo>
                  <a:cubicBezTo>
                    <a:pt x="12" y="42"/>
                    <a:pt x="12" y="37"/>
                    <a:pt x="9" y="36"/>
                  </a:cubicBezTo>
                  <a:cubicBezTo>
                    <a:pt x="7" y="33"/>
                    <a:pt x="13" y="34"/>
                    <a:pt x="12" y="33"/>
                  </a:cubicBezTo>
                  <a:cubicBezTo>
                    <a:pt x="9" y="29"/>
                    <a:pt x="10" y="34"/>
                    <a:pt x="9" y="31"/>
                  </a:cubicBezTo>
                  <a:cubicBezTo>
                    <a:pt x="7" y="29"/>
                    <a:pt x="6" y="31"/>
                    <a:pt x="4" y="25"/>
                  </a:cubicBezTo>
                  <a:cubicBezTo>
                    <a:pt x="4" y="25"/>
                    <a:pt x="6" y="25"/>
                    <a:pt x="6" y="23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0"/>
                    <a:pt x="9" y="22"/>
                    <a:pt x="9" y="19"/>
                  </a:cubicBezTo>
                  <a:cubicBezTo>
                    <a:pt x="9" y="14"/>
                    <a:pt x="10" y="17"/>
                    <a:pt x="12" y="15"/>
                  </a:cubicBezTo>
                  <a:cubicBezTo>
                    <a:pt x="12" y="12"/>
                    <a:pt x="10" y="12"/>
                    <a:pt x="10" y="12"/>
                  </a:cubicBezTo>
                  <a:cubicBezTo>
                    <a:pt x="22" y="11"/>
                    <a:pt x="16" y="6"/>
                    <a:pt x="21" y="8"/>
                  </a:cubicBezTo>
                  <a:close/>
                  <a:moveTo>
                    <a:pt x="7" y="43"/>
                  </a:moveTo>
                  <a:cubicBezTo>
                    <a:pt x="9" y="43"/>
                    <a:pt x="12" y="46"/>
                    <a:pt x="10" y="46"/>
                  </a:cubicBezTo>
                  <a:cubicBezTo>
                    <a:pt x="9" y="46"/>
                    <a:pt x="7" y="45"/>
                    <a:pt x="7" y="43"/>
                  </a:cubicBezTo>
                  <a:close/>
                  <a:moveTo>
                    <a:pt x="9" y="42"/>
                  </a:moveTo>
                  <a:cubicBezTo>
                    <a:pt x="10" y="43"/>
                    <a:pt x="10" y="42"/>
                    <a:pt x="9" y="40"/>
                  </a:cubicBezTo>
                  <a:cubicBezTo>
                    <a:pt x="7" y="40"/>
                    <a:pt x="7" y="37"/>
                    <a:pt x="7" y="39"/>
                  </a:cubicBezTo>
                  <a:cubicBezTo>
                    <a:pt x="7" y="40"/>
                    <a:pt x="6" y="39"/>
                    <a:pt x="6" y="40"/>
                  </a:cubicBezTo>
                  <a:cubicBezTo>
                    <a:pt x="6" y="42"/>
                    <a:pt x="7" y="42"/>
                    <a:pt x="9" y="42"/>
                  </a:cubicBezTo>
                  <a:close/>
                  <a:moveTo>
                    <a:pt x="27" y="60"/>
                  </a:moveTo>
                  <a:cubicBezTo>
                    <a:pt x="29" y="62"/>
                    <a:pt x="27" y="65"/>
                    <a:pt x="27" y="64"/>
                  </a:cubicBezTo>
                  <a:cubicBezTo>
                    <a:pt x="25" y="62"/>
                    <a:pt x="25" y="60"/>
                    <a:pt x="27" y="60"/>
                  </a:cubicBezTo>
                  <a:close/>
                  <a:moveTo>
                    <a:pt x="41" y="74"/>
                  </a:moveTo>
                  <a:cubicBezTo>
                    <a:pt x="42" y="78"/>
                    <a:pt x="45" y="76"/>
                    <a:pt x="50" y="76"/>
                  </a:cubicBezTo>
                  <a:cubicBezTo>
                    <a:pt x="54" y="76"/>
                    <a:pt x="54" y="71"/>
                    <a:pt x="50" y="73"/>
                  </a:cubicBezTo>
                  <a:cubicBezTo>
                    <a:pt x="47" y="76"/>
                    <a:pt x="50" y="71"/>
                    <a:pt x="47" y="73"/>
                  </a:cubicBezTo>
                  <a:cubicBezTo>
                    <a:pt x="44" y="73"/>
                    <a:pt x="44" y="70"/>
                    <a:pt x="39" y="71"/>
                  </a:cubicBezTo>
                  <a:cubicBezTo>
                    <a:pt x="36" y="73"/>
                    <a:pt x="36" y="68"/>
                    <a:pt x="35" y="70"/>
                  </a:cubicBezTo>
                  <a:cubicBezTo>
                    <a:pt x="33" y="70"/>
                    <a:pt x="33" y="68"/>
                    <a:pt x="33" y="68"/>
                  </a:cubicBezTo>
                  <a:cubicBezTo>
                    <a:pt x="32" y="70"/>
                    <a:pt x="32" y="70"/>
                    <a:pt x="32" y="71"/>
                  </a:cubicBezTo>
                  <a:cubicBezTo>
                    <a:pt x="32" y="74"/>
                    <a:pt x="36" y="71"/>
                    <a:pt x="41" y="74"/>
                  </a:cubicBezTo>
                  <a:close/>
                  <a:moveTo>
                    <a:pt x="68" y="60"/>
                  </a:moveTo>
                  <a:cubicBezTo>
                    <a:pt x="68" y="59"/>
                    <a:pt x="63" y="62"/>
                    <a:pt x="63" y="64"/>
                  </a:cubicBezTo>
                  <a:cubicBezTo>
                    <a:pt x="65" y="64"/>
                    <a:pt x="63" y="65"/>
                    <a:pt x="65" y="67"/>
                  </a:cubicBezTo>
                  <a:cubicBezTo>
                    <a:pt x="67" y="67"/>
                    <a:pt x="68" y="60"/>
                    <a:pt x="68" y="60"/>
                  </a:cubicBezTo>
                  <a:close/>
                  <a:moveTo>
                    <a:pt x="50" y="37"/>
                  </a:moveTo>
                  <a:cubicBezTo>
                    <a:pt x="51" y="36"/>
                    <a:pt x="53" y="40"/>
                    <a:pt x="50" y="42"/>
                  </a:cubicBezTo>
                  <a:cubicBezTo>
                    <a:pt x="48" y="42"/>
                    <a:pt x="51" y="39"/>
                    <a:pt x="50" y="39"/>
                  </a:cubicBezTo>
                  <a:cubicBezTo>
                    <a:pt x="50" y="37"/>
                    <a:pt x="48" y="37"/>
                    <a:pt x="50" y="37"/>
                  </a:cubicBezTo>
                  <a:close/>
                  <a:moveTo>
                    <a:pt x="54" y="31"/>
                  </a:moveTo>
                  <a:cubicBezTo>
                    <a:pt x="53" y="28"/>
                    <a:pt x="54" y="29"/>
                    <a:pt x="53" y="28"/>
                  </a:cubicBezTo>
                  <a:cubicBezTo>
                    <a:pt x="53" y="28"/>
                    <a:pt x="51" y="28"/>
                    <a:pt x="50" y="29"/>
                  </a:cubicBezTo>
                  <a:cubicBezTo>
                    <a:pt x="48" y="29"/>
                    <a:pt x="50" y="31"/>
                    <a:pt x="53" y="33"/>
                  </a:cubicBezTo>
                  <a:cubicBezTo>
                    <a:pt x="54" y="33"/>
                    <a:pt x="56" y="33"/>
                    <a:pt x="54" y="31"/>
                  </a:cubicBezTo>
                  <a:close/>
                  <a:moveTo>
                    <a:pt x="41" y="12"/>
                  </a:moveTo>
                  <a:cubicBezTo>
                    <a:pt x="41" y="12"/>
                    <a:pt x="41" y="15"/>
                    <a:pt x="39" y="14"/>
                  </a:cubicBezTo>
                  <a:cubicBezTo>
                    <a:pt x="38" y="14"/>
                    <a:pt x="39" y="12"/>
                    <a:pt x="41" y="12"/>
                  </a:cubicBezTo>
                  <a:close/>
                  <a:moveTo>
                    <a:pt x="30" y="36"/>
                  </a:moveTo>
                  <a:cubicBezTo>
                    <a:pt x="33" y="37"/>
                    <a:pt x="32" y="39"/>
                    <a:pt x="33" y="39"/>
                  </a:cubicBezTo>
                  <a:cubicBezTo>
                    <a:pt x="36" y="39"/>
                    <a:pt x="36" y="43"/>
                    <a:pt x="38" y="43"/>
                  </a:cubicBezTo>
                  <a:cubicBezTo>
                    <a:pt x="39" y="45"/>
                    <a:pt x="39" y="42"/>
                    <a:pt x="38" y="42"/>
                  </a:cubicBezTo>
                  <a:cubicBezTo>
                    <a:pt x="36" y="40"/>
                    <a:pt x="36" y="39"/>
                    <a:pt x="36" y="37"/>
                  </a:cubicBezTo>
                  <a:cubicBezTo>
                    <a:pt x="36" y="34"/>
                    <a:pt x="35" y="37"/>
                    <a:pt x="30" y="33"/>
                  </a:cubicBezTo>
                  <a:cubicBezTo>
                    <a:pt x="29" y="31"/>
                    <a:pt x="25" y="33"/>
                    <a:pt x="25" y="34"/>
                  </a:cubicBezTo>
                  <a:cubicBezTo>
                    <a:pt x="27" y="34"/>
                    <a:pt x="29" y="34"/>
                    <a:pt x="30" y="36"/>
                  </a:cubicBezTo>
                  <a:close/>
                  <a:moveTo>
                    <a:pt x="47" y="53"/>
                  </a:moveTo>
                  <a:cubicBezTo>
                    <a:pt x="48" y="51"/>
                    <a:pt x="48" y="56"/>
                    <a:pt x="47" y="54"/>
                  </a:cubicBezTo>
                  <a:cubicBezTo>
                    <a:pt x="45" y="54"/>
                    <a:pt x="45" y="53"/>
                    <a:pt x="47" y="53"/>
                  </a:cubicBezTo>
                  <a:close/>
                  <a:moveTo>
                    <a:pt x="60" y="71"/>
                  </a:moveTo>
                  <a:cubicBezTo>
                    <a:pt x="59" y="71"/>
                    <a:pt x="59" y="67"/>
                    <a:pt x="60" y="68"/>
                  </a:cubicBezTo>
                  <a:cubicBezTo>
                    <a:pt x="60" y="70"/>
                    <a:pt x="60" y="71"/>
                    <a:pt x="60" y="71"/>
                  </a:cubicBezTo>
                  <a:close/>
                  <a:moveTo>
                    <a:pt x="4" y="28"/>
                  </a:moveTo>
                  <a:cubicBezTo>
                    <a:pt x="1" y="25"/>
                    <a:pt x="1" y="25"/>
                    <a:pt x="1" y="25"/>
                  </a:cubicBezTo>
                  <a:cubicBezTo>
                    <a:pt x="3" y="23"/>
                    <a:pt x="1" y="23"/>
                    <a:pt x="0" y="23"/>
                  </a:cubicBezTo>
                  <a:cubicBezTo>
                    <a:pt x="0" y="25"/>
                    <a:pt x="1" y="28"/>
                    <a:pt x="4" y="28"/>
                  </a:cubicBezTo>
                  <a:close/>
                  <a:moveTo>
                    <a:pt x="44" y="23"/>
                  </a:moveTo>
                  <a:cubicBezTo>
                    <a:pt x="45" y="22"/>
                    <a:pt x="45" y="25"/>
                    <a:pt x="45" y="23"/>
                  </a:cubicBezTo>
                  <a:cubicBezTo>
                    <a:pt x="45" y="22"/>
                    <a:pt x="47" y="20"/>
                    <a:pt x="45" y="22"/>
                  </a:cubicBezTo>
                  <a:cubicBezTo>
                    <a:pt x="45" y="22"/>
                    <a:pt x="42" y="20"/>
                    <a:pt x="42" y="22"/>
                  </a:cubicBezTo>
                  <a:cubicBezTo>
                    <a:pt x="42" y="23"/>
                    <a:pt x="44" y="23"/>
                    <a:pt x="44" y="23"/>
                  </a:cubicBezTo>
                  <a:close/>
                  <a:moveTo>
                    <a:pt x="48" y="20"/>
                  </a:moveTo>
                  <a:cubicBezTo>
                    <a:pt x="48" y="17"/>
                    <a:pt x="51" y="19"/>
                    <a:pt x="50" y="20"/>
                  </a:cubicBezTo>
                  <a:cubicBezTo>
                    <a:pt x="48" y="20"/>
                    <a:pt x="48" y="20"/>
                    <a:pt x="48" y="20"/>
                  </a:cubicBezTo>
                  <a:close/>
                  <a:moveTo>
                    <a:pt x="44" y="54"/>
                  </a:moveTo>
                  <a:cubicBezTo>
                    <a:pt x="42" y="53"/>
                    <a:pt x="44" y="51"/>
                    <a:pt x="45" y="53"/>
                  </a:cubicBezTo>
                  <a:cubicBezTo>
                    <a:pt x="44" y="54"/>
                    <a:pt x="44" y="54"/>
                    <a:pt x="44" y="54"/>
                  </a:cubicBezTo>
                  <a:close/>
                  <a:moveTo>
                    <a:pt x="38" y="57"/>
                  </a:moveTo>
                  <a:cubicBezTo>
                    <a:pt x="36" y="57"/>
                    <a:pt x="38" y="59"/>
                    <a:pt x="39" y="57"/>
                  </a:cubicBezTo>
                  <a:cubicBezTo>
                    <a:pt x="39" y="56"/>
                    <a:pt x="39" y="56"/>
                    <a:pt x="38" y="57"/>
                  </a:cubicBezTo>
                  <a:close/>
                  <a:moveTo>
                    <a:pt x="38" y="48"/>
                  </a:moveTo>
                  <a:cubicBezTo>
                    <a:pt x="36" y="48"/>
                    <a:pt x="38" y="46"/>
                    <a:pt x="38" y="46"/>
                  </a:cubicBezTo>
                  <a:cubicBezTo>
                    <a:pt x="38" y="48"/>
                    <a:pt x="38" y="48"/>
                    <a:pt x="38" y="48"/>
                  </a:cubicBezTo>
                  <a:close/>
                  <a:moveTo>
                    <a:pt x="38" y="51"/>
                  </a:moveTo>
                  <a:cubicBezTo>
                    <a:pt x="36" y="51"/>
                    <a:pt x="38" y="48"/>
                    <a:pt x="38" y="50"/>
                  </a:cubicBezTo>
                  <a:cubicBezTo>
                    <a:pt x="39" y="50"/>
                    <a:pt x="39" y="51"/>
                    <a:pt x="38" y="51"/>
                  </a:cubicBezTo>
                  <a:close/>
                  <a:moveTo>
                    <a:pt x="50" y="48"/>
                  </a:moveTo>
                  <a:cubicBezTo>
                    <a:pt x="50" y="46"/>
                    <a:pt x="53" y="46"/>
                    <a:pt x="53" y="46"/>
                  </a:cubicBezTo>
                  <a:cubicBezTo>
                    <a:pt x="53" y="46"/>
                    <a:pt x="50" y="50"/>
                    <a:pt x="50" y="48"/>
                  </a:cubicBezTo>
                  <a:close/>
                  <a:moveTo>
                    <a:pt x="7" y="37"/>
                  </a:moveTo>
                  <a:cubicBezTo>
                    <a:pt x="6" y="37"/>
                    <a:pt x="7" y="34"/>
                    <a:pt x="9" y="34"/>
                  </a:cubicBezTo>
                  <a:cubicBezTo>
                    <a:pt x="9" y="36"/>
                    <a:pt x="9" y="37"/>
                    <a:pt x="7" y="37"/>
                  </a:cubicBezTo>
                  <a:close/>
                  <a:moveTo>
                    <a:pt x="41" y="34"/>
                  </a:moveTo>
                  <a:cubicBezTo>
                    <a:pt x="39" y="34"/>
                    <a:pt x="39" y="33"/>
                    <a:pt x="39" y="33"/>
                  </a:cubicBezTo>
                  <a:cubicBezTo>
                    <a:pt x="39" y="31"/>
                    <a:pt x="41" y="34"/>
                    <a:pt x="41" y="34"/>
                  </a:cubicBezTo>
                  <a:close/>
                  <a:moveTo>
                    <a:pt x="42" y="48"/>
                  </a:moveTo>
                  <a:cubicBezTo>
                    <a:pt x="44" y="50"/>
                    <a:pt x="45" y="48"/>
                    <a:pt x="44" y="46"/>
                  </a:cubicBezTo>
                  <a:cubicBezTo>
                    <a:pt x="42" y="46"/>
                    <a:pt x="41" y="42"/>
                    <a:pt x="41" y="43"/>
                  </a:cubicBezTo>
                  <a:cubicBezTo>
                    <a:pt x="39" y="45"/>
                    <a:pt x="42" y="45"/>
                    <a:pt x="42" y="48"/>
                  </a:cubicBezTo>
                  <a:close/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911" name="Freeform 235">
              <a:extLst>
                <a:ext uri="{FF2B5EF4-FFF2-40B4-BE49-F238E27FC236}">
                  <a16:creationId xmlns:a16="http://schemas.microsoft.com/office/drawing/2014/main" id="{7FA08908-0455-8735-4B78-E761AE1AE5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32550" y="6330223"/>
              <a:ext cx="46597" cy="43383"/>
            </a:xfrm>
            <a:custGeom>
              <a:avLst/>
              <a:gdLst/>
              <a:ahLst/>
              <a:cxnLst>
                <a:cxn ang="0">
                  <a:pos x="2" y="14"/>
                </a:cxn>
                <a:cxn ang="0">
                  <a:pos x="2" y="9"/>
                </a:cxn>
                <a:cxn ang="0">
                  <a:pos x="2" y="3"/>
                </a:cxn>
                <a:cxn ang="0">
                  <a:pos x="3" y="1"/>
                </a:cxn>
                <a:cxn ang="0">
                  <a:pos x="3" y="6"/>
                </a:cxn>
                <a:cxn ang="0">
                  <a:pos x="8" y="4"/>
                </a:cxn>
                <a:cxn ang="0">
                  <a:pos x="8" y="7"/>
                </a:cxn>
                <a:cxn ang="0">
                  <a:pos x="14" y="6"/>
                </a:cxn>
                <a:cxn ang="0">
                  <a:pos x="12" y="9"/>
                </a:cxn>
                <a:cxn ang="0">
                  <a:pos x="9" y="10"/>
                </a:cxn>
                <a:cxn ang="0">
                  <a:pos x="12" y="14"/>
                </a:cxn>
                <a:cxn ang="0">
                  <a:pos x="3" y="12"/>
                </a:cxn>
                <a:cxn ang="0">
                  <a:pos x="2" y="14"/>
                </a:cxn>
              </a:cxnLst>
              <a:rect l="0" t="0" r="r" b="b"/>
              <a:pathLst>
                <a:path w="15" h="14">
                  <a:moveTo>
                    <a:pt x="2" y="14"/>
                  </a:moveTo>
                  <a:cubicBezTo>
                    <a:pt x="0" y="12"/>
                    <a:pt x="3" y="10"/>
                    <a:pt x="2" y="9"/>
                  </a:cubicBezTo>
                  <a:cubicBezTo>
                    <a:pt x="0" y="7"/>
                    <a:pt x="0" y="4"/>
                    <a:pt x="2" y="3"/>
                  </a:cubicBezTo>
                  <a:cubicBezTo>
                    <a:pt x="2" y="1"/>
                    <a:pt x="2" y="0"/>
                    <a:pt x="3" y="1"/>
                  </a:cubicBezTo>
                  <a:cubicBezTo>
                    <a:pt x="5" y="3"/>
                    <a:pt x="2" y="4"/>
                    <a:pt x="3" y="6"/>
                  </a:cubicBezTo>
                  <a:cubicBezTo>
                    <a:pt x="6" y="7"/>
                    <a:pt x="8" y="1"/>
                    <a:pt x="8" y="4"/>
                  </a:cubicBezTo>
                  <a:cubicBezTo>
                    <a:pt x="8" y="7"/>
                    <a:pt x="5" y="7"/>
                    <a:pt x="8" y="7"/>
                  </a:cubicBezTo>
                  <a:cubicBezTo>
                    <a:pt x="11" y="7"/>
                    <a:pt x="12" y="4"/>
                    <a:pt x="14" y="6"/>
                  </a:cubicBezTo>
                  <a:cubicBezTo>
                    <a:pt x="15" y="6"/>
                    <a:pt x="15" y="10"/>
                    <a:pt x="12" y="9"/>
                  </a:cubicBezTo>
                  <a:cubicBezTo>
                    <a:pt x="9" y="9"/>
                    <a:pt x="8" y="10"/>
                    <a:pt x="9" y="10"/>
                  </a:cubicBezTo>
                  <a:cubicBezTo>
                    <a:pt x="9" y="10"/>
                    <a:pt x="15" y="12"/>
                    <a:pt x="12" y="14"/>
                  </a:cubicBezTo>
                  <a:cubicBezTo>
                    <a:pt x="8" y="14"/>
                    <a:pt x="5" y="10"/>
                    <a:pt x="3" y="12"/>
                  </a:cubicBezTo>
                  <a:cubicBezTo>
                    <a:pt x="3" y="14"/>
                    <a:pt x="2" y="14"/>
                    <a:pt x="2" y="14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912" name="Freeform 236">
              <a:extLst>
                <a:ext uri="{FF2B5EF4-FFF2-40B4-BE49-F238E27FC236}">
                  <a16:creationId xmlns:a16="http://schemas.microsoft.com/office/drawing/2014/main" id="{8E358F09-37CC-04A3-76D2-5C22AA1B2F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493494" y="3285429"/>
              <a:ext cx="546306" cy="719825"/>
            </a:xfrm>
            <a:custGeom>
              <a:avLst/>
              <a:gdLst/>
              <a:ahLst/>
              <a:cxnLst>
                <a:cxn ang="0">
                  <a:pos x="53" y="168"/>
                </a:cxn>
                <a:cxn ang="0">
                  <a:pos x="39" y="142"/>
                </a:cxn>
                <a:cxn ang="0">
                  <a:pos x="49" y="146"/>
                </a:cxn>
                <a:cxn ang="0">
                  <a:pos x="102" y="123"/>
                </a:cxn>
                <a:cxn ang="0">
                  <a:pos x="111" y="122"/>
                </a:cxn>
                <a:cxn ang="0">
                  <a:pos x="122" y="118"/>
                </a:cxn>
                <a:cxn ang="0">
                  <a:pos x="128" y="112"/>
                </a:cxn>
                <a:cxn ang="0">
                  <a:pos x="134" y="107"/>
                </a:cxn>
                <a:cxn ang="0">
                  <a:pos x="142" y="75"/>
                </a:cxn>
                <a:cxn ang="0">
                  <a:pos x="137" y="47"/>
                </a:cxn>
                <a:cxn ang="0">
                  <a:pos x="134" y="53"/>
                </a:cxn>
                <a:cxn ang="0">
                  <a:pos x="126" y="64"/>
                </a:cxn>
                <a:cxn ang="0">
                  <a:pos x="107" y="98"/>
                </a:cxn>
                <a:cxn ang="0">
                  <a:pos x="102" y="95"/>
                </a:cxn>
                <a:cxn ang="0">
                  <a:pos x="90" y="109"/>
                </a:cxn>
                <a:cxn ang="0">
                  <a:pos x="61" y="123"/>
                </a:cxn>
                <a:cxn ang="0">
                  <a:pos x="67" y="125"/>
                </a:cxn>
                <a:cxn ang="0">
                  <a:pos x="87" y="122"/>
                </a:cxn>
                <a:cxn ang="0">
                  <a:pos x="90" y="131"/>
                </a:cxn>
                <a:cxn ang="0">
                  <a:pos x="52" y="140"/>
                </a:cxn>
                <a:cxn ang="0">
                  <a:pos x="52" y="154"/>
                </a:cxn>
                <a:cxn ang="0">
                  <a:pos x="58" y="156"/>
                </a:cxn>
                <a:cxn ang="0">
                  <a:pos x="62" y="137"/>
                </a:cxn>
                <a:cxn ang="0">
                  <a:pos x="53" y="131"/>
                </a:cxn>
                <a:cxn ang="0">
                  <a:pos x="46" y="137"/>
                </a:cxn>
                <a:cxn ang="0">
                  <a:pos x="52" y="143"/>
                </a:cxn>
                <a:cxn ang="0">
                  <a:pos x="82" y="136"/>
                </a:cxn>
                <a:cxn ang="0">
                  <a:pos x="79" y="126"/>
                </a:cxn>
                <a:cxn ang="0">
                  <a:pos x="70" y="131"/>
                </a:cxn>
                <a:cxn ang="0">
                  <a:pos x="71" y="142"/>
                </a:cxn>
                <a:cxn ang="0">
                  <a:pos x="117" y="86"/>
                </a:cxn>
                <a:cxn ang="0">
                  <a:pos x="137" y="44"/>
                </a:cxn>
                <a:cxn ang="0">
                  <a:pos x="152" y="40"/>
                </a:cxn>
                <a:cxn ang="0">
                  <a:pos x="175" y="25"/>
                </a:cxn>
                <a:cxn ang="0">
                  <a:pos x="164" y="19"/>
                </a:cxn>
                <a:cxn ang="0">
                  <a:pos x="142" y="6"/>
                </a:cxn>
                <a:cxn ang="0">
                  <a:pos x="135" y="28"/>
                </a:cxn>
                <a:cxn ang="0">
                  <a:pos x="129" y="48"/>
                </a:cxn>
                <a:cxn ang="0">
                  <a:pos x="90" y="123"/>
                </a:cxn>
                <a:cxn ang="0">
                  <a:pos x="76" y="103"/>
                </a:cxn>
                <a:cxn ang="0">
                  <a:pos x="35" y="206"/>
                </a:cxn>
                <a:cxn ang="0">
                  <a:pos x="32" y="210"/>
                </a:cxn>
                <a:cxn ang="0">
                  <a:pos x="41" y="195"/>
                </a:cxn>
                <a:cxn ang="0">
                  <a:pos x="44" y="190"/>
                </a:cxn>
                <a:cxn ang="0">
                  <a:pos x="0" y="229"/>
                </a:cxn>
                <a:cxn ang="0">
                  <a:pos x="3" y="229"/>
                </a:cxn>
                <a:cxn ang="0">
                  <a:pos x="12" y="226"/>
                </a:cxn>
              </a:cxnLst>
              <a:rect l="0" t="0" r="r" b="b"/>
              <a:pathLst>
                <a:path w="175" h="231">
                  <a:moveTo>
                    <a:pt x="53" y="168"/>
                  </a:moveTo>
                  <a:cubicBezTo>
                    <a:pt x="52" y="168"/>
                    <a:pt x="53" y="165"/>
                    <a:pt x="53" y="167"/>
                  </a:cubicBezTo>
                  <a:cubicBezTo>
                    <a:pt x="55" y="167"/>
                    <a:pt x="55" y="168"/>
                    <a:pt x="53" y="168"/>
                  </a:cubicBezTo>
                  <a:close/>
                  <a:moveTo>
                    <a:pt x="39" y="142"/>
                  </a:moveTo>
                  <a:cubicBezTo>
                    <a:pt x="41" y="142"/>
                    <a:pt x="41" y="143"/>
                    <a:pt x="39" y="143"/>
                  </a:cubicBezTo>
                  <a:cubicBezTo>
                    <a:pt x="38" y="143"/>
                    <a:pt x="39" y="142"/>
                    <a:pt x="39" y="142"/>
                  </a:cubicBezTo>
                  <a:close/>
                  <a:moveTo>
                    <a:pt x="49" y="146"/>
                  </a:moveTo>
                  <a:cubicBezTo>
                    <a:pt x="49" y="145"/>
                    <a:pt x="52" y="143"/>
                    <a:pt x="52" y="145"/>
                  </a:cubicBezTo>
                  <a:cubicBezTo>
                    <a:pt x="52" y="146"/>
                    <a:pt x="50" y="148"/>
                    <a:pt x="49" y="146"/>
                  </a:cubicBezTo>
                  <a:close/>
                  <a:moveTo>
                    <a:pt x="93" y="134"/>
                  </a:moveTo>
                  <a:cubicBezTo>
                    <a:pt x="96" y="137"/>
                    <a:pt x="97" y="131"/>
                    <a:pt x="99" y="128"/>
                  </a:cubicBezTo>
                  <a:cubicBezTo>
                    <a:pt x="102" y="125"/>
                    <a:pt x="107" y="126"/>
                    <a:pt x="102" y="123"/>
                  </a:cubicBezTo>
                  <a:cubicBezTo>
                    <a:pt x="99" y="122"/>
                    <a:pt x="103" y="115"/>
                    <a:pt x="103" y="118"/>
                  </a:cubicBezTo>
                  <a:cubicBezTo>
                    <a:pt x="103" y="123"/>
                    <a:pt x="108" y="118"/>
                    <a:pt x="105" y="122"/>
                  </a:cubicBezTo>
                  <a:cubicBezTo>
                    <a:pt x="103" y="125"/>
                    <a:pt x="108" y="122"/>
                    <a:pt x="111" y="122"/>
                  </a:cubicBezTo>
                  <a:cubicBezTo>
                    <a:pt x="114" y="123"/>
                    <a:pt x="113" y="123"/>
                    <a:pt x="116" y="120"/>
                  </a:cubicBezTo>
                  <a:cubicBezTo>
                    <a:pt x="117" y="117"/>
                    <a:pt x="119" y="115"/>
                    <a:pt x="119" y="120"/>
                  </a:cubicBezTo>
                  <a:cubicBezTo>
                    <a:pt x="117" y="125"/>
                    <a:pt x="120" y="123"/>
                    <a:pt x="122" y="118"/>
                  </a:cubicBezTo>
                  <a:cubicBezTo>
                    <a:pt x="122" y="115"/>
                    <a:pt x="122" y="114"/>
                    <a:pt x="125" y="115"/>
                  </a:cubicBezTo>
                  <a:cubicBezTo>
                    <a:pt x="126" y="118"/>
                    <a:pt x="125" y="115"/>
                    <a:pt x="126" y="112"/>
                  </a:cubicBezTo>
                  <a:cubicBezTo>
                    <a:pt x="128" y="111"/>
                    <a:pt x="129" y="111"/>
                    <a:pt x="128" y="112"/>
                  </a:cubicBezTo>
                  <a:cubicBezTo>
                    <a:pt x="128" y="115"/>
                    <a:pt x="126" y="122"/>
                    <a:pt x="128" y="118"/>
                  </a:cubicBezTo>
                  <a:cubicBezTo>
                    <a:pt x="129" y="115"/>
                    <a:pt x="131" y="118"/>
                    <a:pt x="132" y="114"/>
                  </a:cubicBezTo>
                  <a:cubicBezTo>
                    <a:pt x="132" y="107"/>
                    <a:pt x="139" y="115"/>
                    <a:pt x="134" y="107"/>
                  </a:cubicBezTo>
                  <a:cubicBezTo>
                    <a:pt x="129" y="101"/>
                    <a:pt x="139" y="97"/>
                    <a:pt x="135" y="89"/>
                  </a:cubicBezTo>
                  <a:cubicBezTo>
                    <a:pt x="135" y="84"/>
                    <a:pt x="137" y="79"/>
                    <a:pt x="140" y="83"/>
                  </a:cubicBezTo>
                  <a:cubicBezTo>
                    <a:pt x="143" y="84"/>
                    <a:pt x="139" y="79"/>
                    <a:pt x="142" y="75"/>
                  </a:cubicBezTo>
                  <a:cubicBezTo>
                    <a:pt x="145" y="70"/>
                    <a:pt x="146" y="64"/>
                    <a:pt x="142" y="61"/>
                  </a:cubicBezTo>
                  <a:cubicBezTo>
                    <a:pt x="139" y="56"/>
                    <a:pt x="139" y="51"/>
                    <a:pt x="140" y="50"/>
                  </a:cubicBezTo>
                  <a:cubicBezTo>
                    <a:pt x="140" y="47"/>
                    <a:pt x="139" y="48"/>
                    <a:pt x="137" y="47"/>
                  </a:cubicBezTo>
                  <a:cubicBezTo>
                    <a:pt x="135" y="45"/>
                    <a:pt x="134" y="51"/>
                    <a:pt x="137" y="50"/>
                  </a:cubicBezTo>
                  <a:cubicBezTo>
                    <a:pt x="140" y="48"/>
                    <a:pt x="139" y="54"/>
                    <a:pt x="137" y="53"/>
                  </a:cubicBezTo>
                  <a:cubicBezTo>
                    <a:pt x="135" y="51"/>
                    <a:pt x="134" y="56"/>
                    <a:pt x="134" y="53"/>
                  </a:cubicBezTo>
                  <a:cubicBezTo>
                    <a:pt x="134" y="48"/>
                    <a:pt x="131" y="48"/>
                    <a:pt x="131" y="53"/>
                  </a:cubicBezTo>
                  <a:cubicBezTo>
                    <a:pt x="131" y="58"/>
                    <a:pt x="126" y="53"/>
                    <a:pt x="128" y="58"/>
                  </a:cubicBezTo>
                  <a:cubicBezTo>
                    <a:pt x="129" y="64"/>
                    <a:pt x="126" y="62"/>
                    <a:pt x="126" y="64"/>
                  </a:cubicBezTo>
                  <a:cubicBezTo>
                    <a:pt x="126" y="65"/>
                    <a:pt x="131" y="62"/>
                    <a:pt x="126" y="75"/>
                  </a:cubicBezTo>
                  <a:cubicBezTo>
                    <a:pt x="125" y="84"/>
                    <a:pt x="122" y="84"/>
                    <a:pt x="119" y="90"/>
                  </a:cubicBezTo>
                  <a:cubicBezTo>
                    <a:pt x="114" y="97"/>
                    <a:pt x="111" y="95"/>
                    <a:pt x="107" y="98"/>
                  </a:cubicBezTo>
                  <a:cubicBezTo>
                    <a:pt x="103" y="101"/>
                    <a:pt x="107" y="97"/>
                    <a:pt x="105" y="95"/>
                  </a:cubicBezTo>
                  <a:cubicBezTo>
                    <a:pt x="103" y="95"/>
                    <a:pt x="110" y="94"/>
                    <a:pt x="108" y="90"/>
                  </a:cubicBezTo>
                  <a:cubicBezTo>
                    <a:pt x="107" y="89"/>
                    <a:pt x="102" y="92"/>
                    <a:pt x="102" y="95"/>
                  </a:cubicBezTo>
                  <a:cubicBezTo>
                    <a:pt x="103" y="100"/>
                    <a:pt x="96" y="106"/>
                    <a:pt x="96" y="107"/>
                  </a:cubicBezTo>
                  <a:cubicBezTo>
                    <a:pt x="97" y="109"/>
                    <a:pt x="97" y="112"/>
                    <a:pt x="93" y="112"/>
                  </a:cubicBezTo>
                  <a:cubicBezTo>
                    <a:pt x="88" y="114"/>
                    <a:pt x="93" y="111"/>
                    <a:pt x="90" y="109"/>
                  </a:cubicBezTo>
                  <a:cubicBezTo>
                    <a:pt x="88" y="109"/>
                    <a:pt x="76" y="115"/>
                    <a:pt x="75" y="112"/>
                  </a:cubicBezTo>
                  <a:cubicBezTo>
                    <a:pt x="73" y="109"/>
                    <a:pt x="71" y="112"/>
                    <a:pt x="67" y="117"/>
                  </a:cubicBezTo>
                  <a:cubicBezTo>
                    <a:pt x="62" y="123"/>
                    <a:pt x="62" y="118"/>
                    <a:pt x="61" y="123"/>
                  </a:cubicBezTo>
                  <a:cubicBezTo>
                    <a:pt x="59" y="126"/>
                    <a:pt x="56" y="123"/>
                    <a:pt x="56" y="126"/>
                  </a:cubicBezTo>
                  <a:cubicBezTo>
                    <a:pt x="56" y="131"/>
                    <a:pt x="61" y="128"/>
                    <a:pt x="64" y="129"/>
                  </a:cubicBezTo>
                  <a:cubicBezTo>
                    <a:pt x="68" y="131"/>
                    <a:pt x="65" y="126"/>
                    <a:pt x="67" y="125"/>
                  </a:cubicBezTo>
                  <a:cubicBezTo>
                    <a:pt x="70" y="125"/>
                    <a:pt x="68" y="126"/>
                    <a:pt x="71" y="126"/>
                  </a:cubicBezTo>
                  <a:cubicBezTo>
                    <a:pt x="75" y="125"/>
                    <a:pt x="78" y="125"/>
                    <a:pt x="81" y="123"/>
                  </a:cubicBezTo>
                  <a:cubicBezTo>
                    <a:pt x="85" y="122"/>
                    <a:pt x="81" y="120"/>
                    <a:pt x="87" y="122"/>
                  </a:cubicBezTo>
                  <a:cubicBezTo>
                    <a:pt x="91" y="123"/>
                    <a:pt x="91" y="120"/>
                    <a:pt x="93" y="122"/>
                  </a:cubicBezTo>
                  <a:cubicBezTo>
                    <a:pt x="93" y="125"/>
                    <a:pt x="90" y="125"/>
                    <a:pt x="90" y="126"/>
                  </a:cubicBezTo>
                  <a:cubicBezTo>
                    <a:pt x="90" y="128"/>
                    <a:pt x="88" y="129"/>
                    <a:pt x="90" y="131"/>
                  </a:cubicBezTo>
                  <a:cubicBezTo>
                    <a:pt x="93" y="132"/>
                    <a:pt x="90" y="132"/>
                    <a:pt x="94" y="134"/>
                  </a:cubicBezTo>
                  <a:cubicBezTo>
                    <a:pt x="93" y="134"/>
                    <a:pt x="93" y="134"/>
                    <a:pt x="93" y="134"/>
                  </a:cubicBezTo>
                  <a:close/>
                  <a:moveTo>
                    <a:pt x="52" y="140"/>
                  </a:moveTo>
                  <a:cubicBezTo>
                    <a:pt x="50" y="140"/>
                    <a:pt x="50" y="136"/>
                    <a:pt x="52" y="139"/>
                  </a:cubicBezTo>
                  <a:cubicBezTo>
                    <a:pt x="53" y="142"/>
                    <a:pt x="55" y="145"/>
                    <a:pt x="52" y="148"/>
                  </a:cubicBezTo>
                  <a:cubicBezTo>
                    <a:pt x="50" y="151"/>
                    <a:pt x="50" y="150"/>
                    <a:pt x="52" y="154"/>
                  </a:cubicBezTo>
                  <a:cubicBezTo>
                    <a:pt x="52" y="157"/>
                    <a:pt x="49" y="156"/>
                    <a:pt x="53" y="157"/>
                  </a:cubicBezTo>
                  <a:cubicBezTo>
                    <a:pt x="56" y="159"/>
                    <a:pt x="53" y="162"/>
                    <a:pt x="56" y="159"/>
                  </a:cubicBezTo>
                  <a:cubicBezTo>
                    <a:pt x="59" y="157"/>
                    <a:pt x="56" y="157"/>
                    <a:pt x="58" y="156"/>
                  </a:cubicBezTo>
                  <a:cubicBezTo>
                    <a:pt x="59" y="154"/>
                    <a:pt x="58" y="157"/>
                    <a:pt x="59" y="156"/>
                  </a:cubicBezTo>
                  <a:cubicBezTo>
                    <a:pt x="61" y="156"/>
                    <a:pt x="61" y="142"/>
                    <a:pt x="64" y="142"/>
                  </a:cubicBezTo>
                  <a:cubicBezTo>
                    <a:pt x="67" y="140"/>
                    <a:pt x="65" y="137"/>
                    <a:pt x="62" y="137"/>
                  </a:cubicBezTo>
                  <a:cubicBezTo>
                    <a:pt x="59" y="137"/>
                    <a:pt x="64" y="134"/>
                    <a:pt x="62" y="132"/>
                  </a:cubicBezTo>
                  <a:cubicBezTo>
                    <a:pt x="61" y="131"/>
                    <a:pt x="58" y="136"/>
                    <a:pt x="58" y="131"/>
                  </a:cubicBezTo>
                  <a:cubicBezTo>
                    <a:pt x="56" y="129"/>
                    <a:pt x="53" y="128"/>
                    <a:pt x="53" y="131"/>
                  </a:cubicBezTo>
                  <a:cubicBezTo>
                    <a:pt x="52" y="134"/>
                    <a:pt x="52" y="131"/>
                    <a:pt x="50" y="134"/>
                  </a:cubicBezTo>
                  <a:cubicBezTo>
                    <a:pt x="49" y="137"/>
                    <a:pt x="49" y="131"/>
                    <a:pt x="47" y="134"/>
                  </a:cubicBezTo>
                  <a:cubicBezTo>
                    <a:pt x="47" y="137"/>
                    <a:pt x="44" y="134"/>
                    <a:pt x="46" y="137"/>
                  </a:cubicBezTo>
                  <a:cubicBezTo>
                    <a:pt x="47" y="140"/>
                    <a:pt x="46" y="139"/>
                    <a:pt x="47" y="140"/>
                  </a:cubicBezTo>
                  <a:cubicBezTo>
                    <a:pt x="49" y="143"/>
                    <a:pt x="46" y="145"/>
                    <a:pt x="49" y="143"/>
                  </a:cubicBezTo>
                  <a:cubicBezTo>
                    <a:pt x="52" y="140"/>
                    <a:pt x="49" y="145"/>
                    <a:pt x="52" y="143"/>
                  </a:cubicBezTo>
                  <a:cubicBezTo>
                    <a:pt x="53" y="142"/>
                    <a:pt x="53" y="142"/>
                    <a:pt x="52" y="140"/>
                  </a:cubicBezTo>
                  <a:close/>
                  <a:moveTo>
                    <a:pt x="78" y="134"/>
                  </a:moveTo>
                  <a:cubicBezTo>
                    <a:pt x="81" y="132"/>
                    <a:pt x="82" y="139"/>
                    <a:pt x="82" y="136"/>
                  </a:cubicBezTo>
                  <a:cubicBezTo>
                    <a:pt x="84" y="131"/>
                    <a:pt x="87" y="132"/>
                    <a:pt x="87" y="129"/>
                  </a:cubicBezTo>
                  <a:cubicBezTo>
                    <a:pt x="85" y="128"/>
                    <a:pt x="87" y="128"/>
                    <a:pt x="85" y="126"/>
                  </a:cubicBezTo>
                  <a:cubicBezTo>
                    <a:pt x="84" y="125"/>
                    <a:pt x="82" y="125"/>
                    <a:pt x="79" y="126"/>
                  </a:cubicBezTo>
                  <a:cubicBezTo>
                    <a:pt x="76" y="128"/>
                    <a:pt x="78" y="129"/>
                    <a:pt x="76" y="129"/>
                  </a:cubicBezTo>
                  <a:cubicBezTo>
                    <a:pt x="75" y="128"/>
                    <a:pt x="73" y="131"/>
                    <a:pt x="73" y="129"/>
                  </a:cubicBezTo>
                  <a:cubicBezTo>
                    <a:pt x="73" y="126"/>
                    <a:pt x="73" y="126"/>
                    <a:pt x="70" y="131"/>
                  </a:cubicBezTo>
                  <a:cubicBezTo>
                    <a:pt x="68" y="134"/>
                    <a:pt x="64" y="136"/>
                    <a:pt x="67" y="136"/>
                  </a:cubicBezTo>
                  <a:cubicBezTo>
                    <a:pt x="70" y="136"/>
                    <a:pt x="67" y="137"/>
                    <a:pt x="70" y="140"/>
                  </a:cubicBezTo>
                  <a:cubicBezTo>
                    <a:pt x="71" y="142"/>
                    <a:pt x="67" y="142"/>
                    <a:pt x="71" y="142"/>
                  </a:cubicBezTo>
                  <a:cubicBezTo>
                    <a:pt x="75" y="143"/>
                    <a:pt x="73" y="136"/>
                    <a:pt x="78" y="134"/>
                  </a:cubicBezTo>
                  <a:close/>
                  <a:moveTo>
                    <a:pt x="116" y="84"/>
                  </a:moveTo>
                  <a:cubicBezTo>
                    <a:pt x="117" y="81"/>
                    <a:pt x="117" y="84"/>
                    <a:pt x="117" y="86"/>
                  </a:cubicBezTo>
                  <a:cubicBezTo>
                    <a:pt x="116" y="87"/>
                    <a:pt x="114" y="86"/>
                    <a:pt x="116" y="84"/>
                  </a:cubicBezTo>
                  <a:close/>
                  <a:moveTo>
                    <a:pt x="132" y="45"/>
                  </a:moveTo>
                  <a:cubicBezTo>
                    <a:pt x="134" y="40"/>
                    <a:pt x="134" y="45"/>
                    <a:pt x="137" y="44"/>
                  </a:cubicBezTo>
                  <a:cubicBezTo>
                    <a:pt x="142" y="42"/>
                    <a:pt x="129" y="40"/>
                    <a:pt x="131" y="36"/>
                  </a:cubicBezTo>
                  <a:cubicBezTo>
                    <a:pt x="134" y="31"/>
                    <a:pt x="134" y="39"/>
                    <a:pt x="139" y="36"/>
                  </a:cubicBezTo>
                  <a:cubicBezTo>
                    <a:pt x="142" y="33"/>
                    <a:pt x="143" y="34"/>
                    <a:pt x="152" y="40"/>
                  </a:cubicBezTo>
                  <a:cubicBezTo>
                    <a:pt x="157" y="44"/>
                    <a:pt x="155" y="33"/>
                    <a:pt x="160" y="31"/>
                  </a:cubicBezTo>
                  <a:cubicBezTo>
                    <a:pt x="163" y="30"/>
                    <a:pt x="166" y="31"/>
                    <a:pt x="169" y="30"/>
                  </a:cubicBezTo>
                  <a:cubicBezTo>
                    <a:pt x="174" y="26"/>
                    <a:pt x="175" y="26"/>
                    <a:pt x="175" y="25"/>
                  </a:cubicBezTo>
                  <a:cubicBezTo>
                    <a:pt x="174" y="23"/>
                    <a:pt x="172" y="28"/>
                    <a:pt x="169" y="23"/>
                  </a:cubicBezTo>
                  <a:cubicBezTo>
                    <a:pt x="168" y="19"/>
                    <a:pt x="172" y="14"/>
                    <a:pt x="171" y="14"/>
                  </a:cubicBezTo>
                  <a:cubicBezTo>
                    <a:pt x="169" y="16"/>
                    <a:pt x="168" y="20"/>
                    <a:pt x="164" y="19"/>
                  </a:cubicBezTo>
                  <a:cubicBezTo>
                    <a:pt x="161" y="19"/>
                    <a:pt x="164" y="17"/>
                    <a:pt x="160" y="17"/>
                  </a:cubicBezTo>
                  <a:cubicBezTo>
                    <a:pt x="155" y="16"/>
                    <a:pt x="149" y="8"/>
                    <a:pt x="146" y="5"/>
                  </a:cubicBezTo>
                  <a:cubicBezTo>
                    <a:pt x="143" y="0"/>
                    <a:pt x="139" y="2"/>
                    <a:pt x="142" y="6"/>
                  </a:cubicBezTo>
                  <a:cubicBezTo>
                    <a:pt x="145" y="12"/>
                    <a:pt x="140" y="12"/>
                    <a:pt x="142" y="16"/>
                  </a:cubicBezTo>
                  <a:cubicBezTo>
                    <a:pt x="143" y="19"/>
                    <a:pt x="139" y="20"/>
                    <a:pt x="139" y="23"/>
                  </a:cubicBezTo>
                  <a:cubicBezTo>
                    <a:pt x="140" y="25"/>
                    <a:pt x="140" y="30"/>
                    <a:pt x="135" y="28"/>
                  </a:cubicBezTo>
                  <a:cubicBezTo>
                    <a:pt x="132" y="25"/>
                    <a:pt x="129" y="25"/>
                    <a:pt x="132" y="28"/>
                  </a:cubicBezTo>
                  <a:cubicBezTo>
                    <a:pt x="134" y="31"/>
                    <a:pt x="123" y="36"/>
                    <a:pt x="128" y="39"/>
                  </a:cubicBezTo>
                  <a:cubicBezTo>
                    <a:pt x="132" y="42"/>
                    <a:pt x="126" y="45"/>
                    <a:pt x="129" y="48"/>
                  </a:cubicBezTo>
                  <a:cubicBezTo>
                    <a:pt x="129" y="48"/>
                    <a:pt x="129" y="50"/>
                    <a:pt x="132" y="45"/>
                  </a:cubicBezTo>
                  <a:close/>
                  <a:moveTo>
                    <a:pt x="87" y="126"/>
                  </a:moveTo>
                  <a:cubicBezTo>
                    <a:pt x="87" y="125"/>
                    <a:pt x="90" y="122"/>
                    <a:pt x="90" y="123"/>
                  </a:cubicBezTo>
                  <a:cubicBezTo>
                    <a:pt x="90" y="125"/>
                    <a:pt x="88" y="128"/>
                    <a:pt x="87" y="126"/>
                  </a:cubicBezTo>
                  <a:close/>
                  <a:moveTo>
                    <a:pt x="76" y="106"/>
                  </a:moveTo>
                  <a:cubicBezTo>
                    <a:pt x="76" y="103"/>
                    <a:pt x="76" y="103"/>
                    <a:pt x="76" y="103"/>
                  </a:cubicBezTo>
                  <a:cubicBezTo>
                    <a:pt x="75" y="104"/>
                    <a:pt x="75" y="106"/>
                    <a:pt x="76" y="106"/>
                  </a:cubicBezTo>
                  <a:close/>
                  <a:moveTo>
                    <a:pt x="32" y="210"/>
                  </a:moveTo>
                  <a:cubicBezTo>
                    <a:pt x="32" y="209"/>
                    <a:pt x="32" y="209"/>
                    <a:pt x="35" y="206"/>
                  </a:cubicBezTo>
                  <a:cubicBezTo>
                    <a:pt x="38" y="204"/>
                    <a:pt x="36" y="203"/>
                    <a:pt x="35" y="204"/>
                  </a:cubicBezTo>
                  <a:cubicBezTo>
                    <a:pt x="33" y="207"/>
                    <a:pt x="32" y="207"/>
                    <a:pt x="30" y="210"/>
                  </a:cubicBezTo>
                  <a:cubicBezTo>
                    <a:pt x="30" y="212"/>
                    <a:pt x="32" y="212"/>
                    <a:pt x="32" y="210"/>
                  </a:cubicBezTo>
                  <a:close/>
                  <a:moveTo>
                    <a:pt x="41" y="195"/>
                  </a:moveTo>
                  <a:cubicBezTo>
                    <a:pt x="39" y="193"/>
                    <a:pt x="41" y="192"/>
                    <a:pt x="41" y="193"/>
                  </a:cubicBezTo>
                  <a:cubicBezTo>
                    <a:pt x="43" y="195"/>
                    <a:pt x="41" y="196"/>
                    <a:pt x="41" y="195"/>
                  </a:cubicBezTo>
                  <a:close/>
                  <a:moveTo>
                    <a:pt x="44" y="190"/>
                  </a:moveTo>
                  <a:cubicBezTo>
                    <a:pt x="44" y="187"/>
                    <a:pt x="47" y="185"/>
                    <a:pt x="47" y="187"/>
                  </a:cubicBezTo>
                  <a:cubicBezTo>
                    <a:pt x="47" y="187"/>
                    <a:pt x="44" y="192"/>
                    <a:pt x="44" y="190"/>
                  </a:cubicBezTo>
                  <a:close/>
                  <a:moveTo>
                    <a:pt x="0" y="229"/>
                  </a:moveTo>
                  <a:cubicBezTo>
                    <a:pt x="0" y="228"/>
                    <a:pt x="1" y="229"/>
                    <a:pt x="1" y="231"/>
                  </a:cubicBezTo>
                  <a:cubicBezTo>
                    <a:pt x="1" y="231"/>
                    <a:pt x="0" y="231"/>
                    <a:pt x="0" y="229"/>
                  </a:cubicBezTo>
                  <a:close/>
                  <a:moveTo>
                    <a:pt x="3" y="229"/>
                  </a:moveTo>
                  <a:cubicBezTo>
                    <a:pt x="1" y="229"/>
                    <a:pt x="4" y="226"/>
                    <a:pt x="4" y="228"/>
                  </a:cubicBezTo>
                  <a:cubicBezTo>
                    <a:pt x="4" y="229"/>
                    <a:pt x="4" y="231"/>
                    <a:pt x="3" y="229"/>
                  </a:cubicBezTo>
                  <a:close/>
                  <a:moveTo>
                    <a:pt x="12" y="226"/>
                  </a:moveTo>
                  <a:cubicBezTo>
                    <a:pt x="11" y="224"/>
                    <a:pt x="12" y="224"/>
                    <a:pt x="14" y="224"/>
                  </a:cubicBezTo>
                  <a:cubicBezTo>
                    <a:pt x="14" y="226"/>
                    <a:pt x="12" y="226"/>
                    <a:pt x="12" y="226"/>
                  </a:cubicBezTo>
                  <a:close/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913" name="Freeform 237">
              <a:extLst>
                <a:ext uri="{FF2B5EF4-FFF2-40B4-BE49-F238E27FC236}">
                  <a16:creationId xmlns:a16="http://schemas.microsoft.com/office/drawing/2014/main" id="{77F17F25-F5DB-F7CE-BB86-E24DE48845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16217" y="1720453"/>
              <a:ext cx="4235476" cy="1724045"/>
            </a:xfrm>
            <a:custGeom>
              <a:avLst/>
              <a:gdLst/>
              <a:ahLst/>
              <a:cxnLst>
                <a:cxn ang="0">
                  <a:pos x="404" y="136"/>
                </a:cxn>
                <a:cxn ang="0">
                  <a:pos x="273" y="177"/>
                </a:cxn>
                <a:cxn ang="0">
                  <a:pos x="361" y="90"/>
                </a:cxn>
                <a:cxn ang="0">
                  <a:pos x="278" y="138"/>
                </a:cxn>
                <a:cxn ang="0">
                  <a:pos x="227" y="31"/>
                </a:cxn>
                <a:cxn ang="0">
                  <a:pos x="217" y="29"/>
                </a:cxn>
                <a:cxn ang="0">
                  <a:pos x="343" y="18"/>
                </a:cxn>
                <a:cxn ang="0">
                  <a:pos x="328" y="25"/>
                </a:cxn>
                <a:cxn ang="0">
                  <a:pos x="297" y="32"/>
                </a:cxn>
                <a:cxn ang="0">
                  <a:pos x="314" y="31"/>
                </a:cxn>
                <a:cxn ang="0">
                  <a:pos x="285" y="12"/>
                </a:cxn>
                <a:cxn ang="0">
                  <a:pos x="291" y="14"/>
                </a:cxn>
                <a:cxn ang="0">
                  <a:pos x="288" y="20"/>
                </a:cxn>
                <a:cxn ang="0">
                  <a:pos x="276" y="23"/>
                </a:cxn>
                <a:cxn ang="0">
                  <a:pos x="1351" y="247"/>
                </a:cxn>
                <a:cxn ang="0">
                  <a:pos x="1184" y="200"/>
                </a:cxn>
                <a:cxn ang="0">
                  <a:pos x="902" y="164"/>
                </a:cxn>
                <a:cxn ang="0">
                  <a:pos x="734" y="116"/>
                </a:cxn>
                <a:cxn ang="0">
                  <a:pos x="570" y="104"/>
                </a:cxn>
                <a:cxn ang="0">
                  <a:pos x="474" y="154"/>
                </a:cxn>
                <a:cxn ang="0">
                  <a:pos x="457" y="217"/>
                </a:cxn>
                <a:cxn ang="0">
                  <a:pos x="381" y="169"/>
                </a:cxn>
                <a:cxn ang="0">
                  <a:pos x="214" y="233"/>
                </a:cxn>
                <a:cxn ang="0">
                  <a:pos x="144" y="275"/>
                </a:cxn>
                <a:cxn ang="0">
                  <a:pos x="90" y="191"/>
                </a:cxn>
                <a:cxn ang="0">
                  <a:pos x="84" y="250"/>
                </a:cxn>
                <a:cxn ang="0">
                  <a:pos x="80" y="306"/>
                </a:cxn>
                <a:cxn ang="0">
                  <a:pos x="67" y="332"/>
                </a:cxn>
                <a:cxn ang="0">
                  <a:pos x="87" y="380"/>
                </a:cxn>
                <a:cxn ang="0">
                  <a:pos x="109" y="422"/>
                </a:cxn>
                <a:cxn ang="0">
                  <a:pos x="163" y="455"/>
                </a:cxn>
                <a:cxn ang="0">
                  <a:pos x="148" y="492"/>
                </a:cxn>
                <a:cxn ang="0">
                  <a:pos x="172" y="528"/>
                </a:cxn>
                <a:cxn ang="0">
                  <a:pos x="220" y="548"/>
                </a:cxn>
                <a:cxn ang="0">
                  <a:pos x="217" y="469"/>
                </a:cxn>
                <a:cxn ang="0">
                  <a:pos x="329" y="432"/>
                </a:cxn>
                <a:cxn ang="0">
                  <a:pos x="472" y="425"/>
                </a:cxn>
                <a:cxn ang="0">
                  <a:pos x="623" y="433"/>
                </a:cxn>
                <a:cxn ang="0">
                  <a:pos x="798" y="419"/>
                </a:cxn>
                <a:cxn ang="0">
                  <a:pos x="899" y="508"/>
                </a:cxn>
                <a:cxn ang="0">
                  <a:pos x="900" y="534"/>
                </a:cxn>
                <a:cxn ang="0">
                  <a:pos x="957" y="401"/>
                </a:cxn>
                <a:cxn ang="0">
                  <a:pos x="1013" y="334"/>
                </a:cxn>
                <a:cxn ang="0">
                  <a:pos x="1121" y="329"/>
                </a:cxn>
                <a:cxn ang="0">
                  <a:pos x="1146" y="326"/>
                </a:cxn>
                <a:cxn ang="0">
                  <a:pos x="1273" y="256"/>
                </a:cxn>
                <a:cxn ang="0">
                  <a:pos x="978" y="489"/>
                </a:cxn>
                <a:cxn ang="0">
                  <a:pos x="984" y="441"/>
                </a:cxn>
                <a:cxn ang="0">
                  <a:pos x="975" y="407"/>
                </a:cxn>
                <a:cxn ang="0">
                  <a:pos x="1025" y="503"/>
                </a:cxn>
                <a:cxn ang="0">
                  <a:pos x="1066" y="464"/>
                </a:cxn>
                <a:cxn ang="0">
                  <a:pos x="1080" y="446"/>
                </a:cxn>
                <a:cxn ang="0">
                  <a:pos x="25" y="390"/>
                </a:cxn>
                <a:cxn ang="0">
                  <a:pos x="937" y="393"/>
                </a:cxn>
                <a:cxn ang="0">
                  <a:pos x="1274" y="175"/>
                </a:cxn>
                <a:cxn ang="0">
                  <a:pos x="1018" y="107"/>
                </a:cxn>
                <a:cxn ang="0">
                  <a:pos x="946" y="118"/>
                </a:cxn>
                <a:cxn ang="0">
                  <a:pos x="870" y="149"/>
                </a:cxn>
                <a:cxn ang="0">
                  <a:pos x="739" y="121"/>
                </a:cxn>
                <a:cxn ang="0">
                  <a:pos x="638" y="35"/>
                </a:cxn>
                <a:cxn ang="0">
                  <a:pos x="600" y="29"/>
                </a:cxn>
                <a:cxn ang="0">
                  <a:pos x="571" y="14"/>
                </a:cxn>
              </a:cxnLst>
              <a:rect l="0" t="0" r="r" b="b"/>
              <a:pathLst>
                <a:path w="1359" h="553">
                  <a:moveTo>
                    <a:pt x="314" y="189"/>
                  </a:moveTo>
                  <a:cubicBezTo>
                    <a:pt x="314" y="189"/>
                    <a:pt x="319" y="189"/>
                    <a:pt x="317" y="192"/>
                  </a:cubicBezTo>
                  <a:cubicBezTo>
                    <a:pt x="317" y="194"/>
                    <a:pt x="325" y="192"/>
                    <a:pt x="325" y="191"/>
                  </a:cubicBezTo>
                  <a:cubicBezTo>
                    <a:pt x="326" y="189"/>
                    <a:pt x="320" y="188"/>
                    <a:pt x="316" y="183"/>
                  </a:cubicBezTo>
                  <a:cubicBezTo>
                    <a:pt x="313" y="180"/>
                    <a:pt x="313" y="182"/>
                    <a:pt x="311" y="183"/>
                  </a:cubicBezTo>
                  <a:cubicBezTo>
                    <a:pt x="308" y="183"/>
                    <a:pt x="313" y="186"/>
                    <a:pt x="309" y="185"/>
                  </a:cubicBezTo>
                  <a:cubicBezTo>
                    <a:pt x="308" y="185"/>
                    <a:pt x="308" y="186"/>
                    <a:pt x="311" y="189"/>
                  </a:cubicBezTo>
                  <a:cubicBezTo>
                    <a:pt x="313" y="191"/>
                    <a:pt x="314" y="191"/>
                    <a:pt x="314" y="189"/>
                  </a:cubicBezTo>
                  <a:close/>
                  <a:moveTo>
                    <a:pt x="404" y="136"/>
                  </a:moveTo>
                  <a:cubicBezTo>
                    <a:pt x="398" y="138"/>
                    <a:pt x="396" y="144"/>
                    <a:pt x="409" y="143"/>
                  </a:cubicBezTo>
                  <a:cubicBezTo>
                    <a:pt x="419" y="141"/>
                    <a:pt x="410" y="133"/>
                    <a:pt x="404" y="136"/>
                  </a:cubicBezTo>
                  <a:close/>
                  <a:moveTo>
                    <a:pt x="290" y="168"/>
                  </a:moveTo>
                  <a:cubicBezTo>
                    <a:pt x="287" y="163"/>
                    <a:pt x="282" y="164"/>
                    <a:pt x="285" y="154"/>
                  </a:cubicBezTo>
                  <a:cubicBezTo>
                    <a:pt x="287" y="144"/>
                    <a:pt x="297" y="144"/>
                    <a:pt x="290" y="139"/>
                  </a:cubicBezTo>
                  <a:cubicBezTo>
                    <a:pt x="282" y="136"/>
                    <a:pt x="288" y="138"/>
                    <a:pt x="274" y="139"/>
                  </a:cubicBezTo>
                  <a:cubicBezTo>
                    <a:pt x="261" y="141"/>
                    <a:pt x="271" y="143"/>
                    <a:pt x="264" y="146"/>
                  </a:cubicBezTo>
                  <a:cubicBezTo>
                    <a:pt x="258" y="149"/>
                    <a:pt x="265" y="147"/>
                    <a:pt x="262" y="154"/>
                  </a:cubicBezTo>
                  <a:cubicBezTo>
                    <a:pt x="259" y="160"/>
                    <a:pt x="256" y="152"/>
                    <a:pt x="255" y="158"/>
                  </a:cubicBezTo>
                  <a:cubicBezTo>
                    <a:pt x="252" y="164"/>
                    <a:pt x="252" y="166"/>
                    <a:pt x="259" y="166"/>
                  </a:cubicBezTo>
                  <a:cubicBezTo>
                    <a:pt x="268" y="166"/>
                    <a:pt x="255" y="168"/>
                    <a:pt x="264" y="172"/>
                  </a:cubicBezTo>
                  <a:cubicBezTo>
                    <a:pt x="271" y="177"/>
                    <a:pt x="265" y="163"/>
                    <a:pt x="270" y="169"/>
                  </a:cubicBezTo>
                  <a:cubicBezTo>
                    <a:pt x="274" y="175"/>
                    <a:pt x="262" y="175"/>
                    <a:pt x="273" y="177"/>
                  </a:cubicBezTo>
                  <a:cubicBezTo>
                    <a:pt x="282" y="178"/>
                    <a:pt x="276" y="180"/>
                    <a:pt x="285" y="180"/>
                  </a:cubicBezTo>
                  <a:cubicBezTo>
                    <a:pt x="293" y="180"/>
                    <a:pt x="294" y="183"/>
                    <a:pt x="302" y="178"/>
                  </a:cubicBezTo>
                  <a:cubicBezTo>
                    <a:pt x="305" y="177"/>
                    <a:pt x="291" y="174"/>
                    <a:pt x="290" y="168"/>
                  </a:cubicBezTo>
                  <a:close/>
                  <a:moveTo>
                    <a:pt x="299" y="136"/>
                  </a:moveTo>
                  <a:cubicBezTo>
                    <a:pt x="299" y="133"/>
                    <a:pt x="303" y="136"/>
                    <a:pt x="305" y="130"/>
                  </a:cubicBezTo>
                  <a:cubicBezTo>
                    <a:pt x="306" y="126"/>
                    <a:pt x="311" y="127"/>
                    <a:pt x="311" y="124"/>
                  </a:cubicBezTo>
                  <a:cubicBezTo>
                    <a:pt x="311" y="121"/>
                    <a:pt x="311" y="121"/>
                    <a:pt x="322" y="118"/>
                  </a:cubicBezTo>
                  <a:cubicBezTo>
                    <a:pt x="331" y="115"/>
                    <a:pt x="320" y="115"/>
                    <a:pt x="335" y="107"/>
                  </a:cubicBezTo>
                  <a:cubicBezTo>
                    <a:pt x="351" y="101"/>
                    <a:pt x="376" y="98"/>
                    <a:pt x="389" y="91"/>
                  </a:cubicBezTo>
                  <a:cubicBezTo>
                    <a:pt x="401" y="85"/>
                    <a:pt x="387" y="79"/>
                    <a:pt x="375" y="84"/>
                  </a:cubicBezTo>
                  <a:cubicBezTo>
                    <a:pt x="363" y="87"/>
                    <a:pt x="370" y="87"/>
                    <a:pt x="361" y="90"/>
                  </a:cubicBezTo>
                  <a:cubicBezTo>
                    <a:pt x="352" y="93"/>
                    <a:pt x="358" y="88"/>
                    <a:pt x="348" y="93"/>
                  </a:cubicBezTo>
                  <a:cubicBezTo>
                    <a:pt x="337" y="98"/>
                    <a:pt x="343" y="91"/>
                    <a:pt x="332" y="93"/>
                  </a:cubicBezTo>
                  <a:cubicBezTo>
                    <a:pt x="323" y="93"/>
                    <a:pt x="332" y="96"/>
                    <a:pt x="326" y="96"/>
                  </a:cubicBezTo>
                  <a:cubicBezTo>
                    <a:pt x="320" y="96"/>
                    <a:pt x="306" y="101"/>
                    <a:pt x="303" y="107"/>
                  </a:cubicBezTo>
                  <a:cubicBezTo>
                    <a:pt x="299" y="112"/>
                    <a:pt x="300" y="105"/>
                    <a:pt x="296" y="109"/>
                  </a:cubicBezTo>
                  <a:cubicBezTo>
                    <a:pt x="291" y="113"/>
                    <a:pt x="293" y="107"/>
                    <a:pt x="290" y="110"/>
                  </a:cubicBezTo>
                  <a:cubicBezTo>
                    <a:pt x="285" y="113"/>
                    <a:pt x="293" y="113"/>
                    <a:pt x="290" y="115"/>
                  </a:cubicBezTo>
                  <a:cubicBezTo>
                    <a:pt x="285" y="116"/>
                    <a:pt x="294" y="118"/>
                    <a:pt x="288" y="118"/>
                  </a:cubicBezTo>
                  <a:cubicBezTo>
                    <a:pt x="282" y="119"/>
                    <a:pt x="285" y="126"/>
                    <a:pt x="278" y="129"/>
                  </a:cubicBezTo>
                  <a:cubicBezTo>
                    <a:pt x="270" y="132"/>
                    <a:pt x="268" y="135"/>
                    <a:pt x="274" y="135"/>
                  </a:cubicBezTo>
                  <a:cubicBezTo>
                    <a:pt x="281" y="133"/>
                    <a:pt x="270" y="139"/>
                    <a:pt x="278" y="138"/>
                  </a:cubicBezTo>
                  <a:cubicBezTo>
                    <a:pt x="285" y="135"/>
                    <a:pt x="285" y="135"/>
                    <a:pt x="291" y="139"/>
                  </a:cubicBezTo>
                  <a:cubicBezTo>
                    <a:pt x="293" y="141"/>
                    <a:pt x="299" y="141"/>
                    <a:pt x="299" y="136"/>
                  </a:cubicBezTo>
                  <a:close/>
                  <a:moveTo>
                    <a:pt x="207" y="23"/>
                  </a:moveTo>
                  <a:cubicBezTo>
                    <a:pt x="211" y="23"/>
                    <a:pt x="211" y="26"/>
                    <a:pt x="215" y="25"/>
                  </a:cubicBezTo>
                  <a:cubicBezTo>
                    <a:pt x="221" y="21"/>
                    <a:pt x="221" y="20"/>
                    <a:pt x="227" y="21"/>
                  </a:cubicBezTo>
                  <a:cubicBezTo>
                    <a:pt x="232" y="23"/>
                    <a:pt x="235" y="21"/>
                    <a:pt x="226" y="18"/>
                  </a:cubicBezTo>
                  <a:cubicBezTo>
                    <a:pt x="215" y="17"/>
                    <a:pt x="223" y="20"/>
                    <a:pt x="215" y="20"/>
                  </a:cubicBezTo>
                  <a:cubicBezTo>
                    <a:pt x="206" y="21"/>
                    <a:pt x="198" y="23"/>
                    <a:pt x="204" y="25"/>
                  </a:cubicBezTo>
                  <a:cubicBezTo>
                    <a:pt x="207" y="25"/>
                    <a:pt x="206" y="25"/>
                    <a:pt x="207" y="23"/>
                  </a:cubicBezTo>
                  <a:close/>
                  <a:moveTo>
                    <a:pt x="223" y="29"/>
                  </a:moveTo>
                  <a:cubicBezTo>
                    <a:pt x="227" y="28"/>
                    <a:pt x="221" y="32"/>
                    <a:pt x="227" y="31"/>
                  </a:cubicBezTo>
                  <a:cubicBezTo>
                    <a:pt x="233" y="29"/>
                    <a:pt x="232" y="32"/>
                    <a:pt x="235" y="29"/>
                  </a:cubicBezTo>
                  <a:cubicBezTo>
                    <a:pt x="236" y="28"/>
                    <a:pt x="230" y="29"/>
                    <a:pt x="232" y="28"/>
                  </a:cubicBezTo>
                  <a:cubicBezTo>
                    <a:pt x="235" y="26"/>
                    <a:pt x="238" y="28"/>
                    <a:pt x="239" y="25"/>
                  </a:cubicBezTo>
                  <a:cubicBezTo>
                    <a:pt x="242" y="23"/>
                    <a:pt x="244" y="25"/>
                    <a:pt x="252" y="23"/>
                  </a:cubicBezTo>
                  <a:cubicBezTo>
                    <a:pt x="259" y="21"/>
                    <a:pt x="255" y="18"/>
                    <a:pt x="249" y="20"/>
                  </a:cubicBezTo>
                  <a:cubicBezTo>
                    <a:pt x="242" y="21"/>
                    <a:pt x="252" y="18"/>
                    <a:pt x="246" y="18"/>
                  </a:cubicBezTo>
                  <a:cubicBezTo>
                    <a:pt x="239" y="17"/>
                    <a:pt x="233" y="20"/>
                    <a:pt x="235" y="20"/>
                  </a:cubicBezTo>
                  <a:cubicBezTo>
                    <a:pt x="238" y="21"/>
                    <a:pt x="239" y="25"/>
                    <a:pt x="230" y="25"/>
                  </a:cubicBezTo>
                  <a:cubicBezTo>
                    <a:pt x="223" y="25"/>
                    <a:pt x="220" y="25"/>
                    <a:pt x="223" y="26"/>
                  </a:cubicBezTo>
                  <a:cubicBezTo>
                    <a:pt x="227" y="28"/>
                    <a:pt x="223" y="28"/>
                    <a:pt x="220" y="28"/>
                  </a:cubicBezTo>
                  <a:cubicBezTo>
                    <a:pt x="217" y="26"/>
                    <a:pt x="212" y="26"/>
                    <a:pt x="217" y="29"/>
                  </a:cubicBezTo>
                  <a:cubicBezTo>
                    <a:pt x="220" y="31"/>
                    <a:pt x="220" y="29"/>
                    <a:pt x="223" y="29"/>
                  </a:cubicBezTo>
                  <a:close/>
                  <a:moveTo>
                    <a:pt x="271" y="28"/>
                  </a:moveTo>
                  <a:cubicBezTo>
                    <a:pt x="268" y="25"/>
                    <a:pt x="267" y="25"/>
                    <a:pt x="261" y="28"/>
                  </a:cubicBezTo>
                  <a:cubicBezTo>
                    <a:pt x="256" y="29"/>
                    <a:pt x="276" y="32"/>
                    <a:pt x="271" y="28"/>
                  </a:cubicBezTo>
                  <a:close/>
                  <a:moveTo>
                    <a:pt x="246" y="14"/>
                  </a:moveTo>
                  <a:cubicBezTo>
                    <a:pt x="249" y="11"/>
                    <a:pt x="253" y="12"/>
                    <a:pt x="249" y="14"/>
                  </a:cubicBezTo>
                  <a:cubicBezTo>
                    <a:pt x="246" y="15"/>
                    <a:pt x="241" y="17"/>
                    <a:pt x="246" y="14"/>
                  </a:cubicBezTo>
                  <a:close/>
                  <a:moveTo>
                    <a:pt x="352" y="20"/>
                  </a:moveTo>
                  <a:cubicBezTo>
                    <a:pt x="360" y="18"/>
                    <a:pt x="364" y="20"/>
                    <a:pt x="364" y="15"/>
                  </a:cubicBezTo>
                  <a:cubicBezTo>
                    <a:pt x="364" y="12"/>
                    <a:pt x="357" y="11"/>
                    <a:pt x="354" y="14"/>
                  </a:cubicBezTo>
                  <a:cubicBezTo>
                    <a:pt x="352" y="17"/>
                    <a:pt x="349" y="14"/>
                    <a:pt x="343" y="18"/>
                  </a:cubicBezTo>
                  <a:cubicBezTo>
                    <a:pt x="338" y="20"/>
                    <a:pt x="344" y="21"/>
                    <a:pt x="352" y="20"/>
                  </a:cubicBezTo>
                  <a:close/>
                  <a:moveTo>
                    <a:pt x="338" y="4"/>
                  </a:moveTo>
                  <a:cubicBezTo>
                    <a:pt x="343" y="3"/>
                    <a:pt x="354" y="3"/>
                    <a:pt x="352" y="4"/>
                  </a:cubicBezTo>
                  <a:cubicBezTo>
                    <a:pt x="349" y="7"/>
                    <a:pt x="337" y="4"/>
                    <a:pt x="338" y="4"/>
                  </a:cubicBezTo>
                  <a:close/>
                  <a:moveTo>
                    <a:pt x="305" y="3"/>
                  </a:moveTo>
                  <a:cubicBezTo>
                    <a:pt x="306" y="0"/>
                    <a:pt x="317" y="0"/>
                    <a:pt x="317" y="3"/>
                  </a:cubicBezTo>
                  <a:cubicBezTo>
                    <a:pt x="316" y="4"/>
                    <a:pt x="303" y="6"/>
                    <a:pt x="305" y="3"/>
                  </a:cubicBezTo>
                  <a:close/>
                  <a:moveTo>
                    <a:pt x="329" y="17"/>
                  </a:moveTo>
                  <a:cubicBezTo>
                    <a:pt x="334" y="17"/>
                    <a:pt x="341" y="11"/>
                    <a:pt x="328" y="14"/>
                  </a:cubicBezTo>
                  <a:cubicBezTo>
                    <a:pt x="317" y="17"/>
                    <a:pt x="325" y="18"/>
                    <a:pt x="329" y="17"/>
                  </a:cubicBezTo>
                  <a:close/>
                  <a:moveTo>
                    <a:pt x="328" y="25"/>
                  </a:moveTo>
                  <a:cubicBezTo>
                    <a:pt x="334" y="26"/>
                    <a:pt x="332" y="23"/>
                    <a:pt x="337" y="23"/>
                  </a:cubicBezTo>
                  <a:cubicBezTo>
                    <a:pt x="341" y="23"/>
                    <a:pt x="340" y="14"/>
                    <a:pt x="331" y="18"/>
                  </a:cubicBezTo>
                  <a:cubicBezTo>
                    <a:pt x="322" y="21"/>
                    <a:pt x="319" y="14"/>
                    <a:pt x="316" y="21"/>
                  </a:cubicBezTo>
                  <a:cubicBezTo>
                    <a:pt x="313" y="29"/>
                    <a:pt x="322" y="23"/>
                    <a:pt x="328" y="25"/>
                  </a:cubicBezTo>
                  <a:close/>
                  <a:moveTo>
                    <a:pt x="241" y="29"/>
                  </a:moveTo>
                  <a:cubicBezTo>
                    <a:pt x="246" y="28"/>
                    <a:pt x="246" y="29"/>
                    <a:pt x="242" y="31"/>
                  </a:cubicBezTo>
                  <a:cubicBezTo>
                    <a:pt x="239" y="34"/>
                    <a:pt x="236" y="29"/>
                    <a:pt x="241" y="29"/>
                  </a:cubicBezTo>
                  <a:close/>
                  <a:moveTo>
                    <a:pt x="246" y="32"/>
                  </a:moveTo>
                  <a:cubicBezTo>
                    <a:pt x="250" y="29"/>
                    <a:pt x="258" y="34"/>
                    <a:pt x="252" y="34"/>
                  </a:cubicBezTo>
                  <a:cubicBezTo>
                    <a:pt x="246" y="34"/>
                    <a:pt x="239" y="34"/>
                    <a:pt x="246" y="32"/>
                  </a:cubicBezTo>
                  <a:close/>
                  <a:moveTo>
                    <a:pt x="297" y="32"/>
                  </a:moveTo>
                  <a:cubicBezTo>
                    <a:pt x="302" y="32"/>
                    <a:pt x="299" y="26"/>
                    <a:pt x="296" y="28"/>
                  </a:cubicBezTo>
                  <a:cubicBezTo>
                    <a:pt x="293" y="28"/>
                    <a:pt x="288" y="26"/>
                    <a:pt x="288" y="29"/>
                  </a:cubicBezTo>
                  <a:cubicBezTo>
                    <a:pt x="287" y="34"/>
                    <a:pt x="291" y="31"/>
                    <a:pt x="297" y="32"/>
                  </a:cubicBezTo>
                  <a:close/>
                  <a:moveTo>
                    <a:pt x="305" y="31"/>
                  </a:moveTo>
                  <a:cubicBezTo>
                    <a:pt x="309" y="32"/>
                    <a:pt x="303" y="28"/>
                    <a:pt x="311" y="28"/>
                  </a:cubicBezTo>
                  <a:cubicBezTo>
                    <a:pt x="317" y="28"/>
                    <a:pt x="317" y="26"/>
                    <a:pt x="309" y="25"/>
                  </a:cubicBezTo>
                  <a:cubicBezTo>
                    <a:pt x="303" y="25"/>
                    <a:pt x="296" y="25"/>
                    <a:pt x="299" y="28"/>
                  </a:cubicBezTo>
                  <a:cubicBezTo>
                    <a:pt x="300" y="29"/>
                    <a:pt x="300" y="29"/>
                    <a:pt x="305" y="31"/>
                  </a:cubicBezTo>
                  <a:close/>
                  <a:moveTo>
                    <a:pt x="313" y="31"/>
                  </a:moveTo>
                  <a:cubicBezTo>
                    <a:pt x="308" y="34"/>
                    <a:pt x="314" y="34"/>
                    <a:pt x="319" y="34"/>
                  </a:cubicBezTo>
                  <a:cubicBezTo>
                    <a:pt x="325" y="32"/>
                    <a:pt x="319" y="31"/>
                    <a:pt x="314" y="31"/>
                  </a:cubicBezTo>
                  <a:cubicBezTo>
                    <a:pt x="313" y="31"/>
                    <a:pt x="313" y="31"/>
                    <a:pt x="313" y="31"/>
                  </a:cubicBezTo>
                  <a:close/>
                  <a:moveTo>
                    <a:pt x="299" y="9"/>
                  </a:moveTo>
                  <a:cubicBezTo>
                    <a:pt x="302" y="9"/>
                    <a:pt x="303" y="9"/>
                    <a:pt x="308" y="9"/>
                  </a:cubicBezTo>
                  <a:cubicBezTo>
                    <a:pt x="313" y="9"/>
                    <a:pt x="309" y="9"/>
                    <a:pt x="305" y="7"/>
                  </a:cubicBezTo>
                  <a:cubicBezTo>
                    <a:pt x="300" y="6"/>
                    <a:pt x="302" y="6"/>
                    <a:pt x="297" y="7"/>
                  </a:cubicBezTo>
                  <a:cubicBezTo>
                    <a:pt x="294" y="9"/>
                    <a:pt x="294" y="9"/>
                    <a:pt x="299" y="9"/>
                  </a:cubicBezTo>
                  <a:close/>
                  <a:moveTo>
                    <a:pt x="293" y="12"/>
                  </a:moveTo>
                  <a:cubicBezTo>
                    <a:pt x="294" y="14"/>
                    <a:pt x="296" y="12"/>
                    <a:pt x="303" y="11"/>
                  </a:cubicBezTo>
                  <a:cubicBezTo>
                    <a:pt x="306" y="11"/>
                    <a:pt x="299" y="9"/>
                    <a:pt x="294" y="9"/>
                  </a:cubicBezTo>
                  <a:cubicBezTo>
                    <a:pt x="288" y="9"/>
                    <a:pt x="296" y="12"/>
                    <a:pt x="291" y="11"/>
                  </a:cubicBezTo>
                  <a:cubicBezTo>
                    <a:pt x="288" y="11"/>
                    <a:pt x="284" y="11"/>
                    <a:pt x="285" y="12"/>
                  </a:cubicBezTo>
                  <a:cubicBezTo>
                    <a:pt x="288" y="14"/>
                    <a:pt x="288" y="11"/>
                    <a:pt x="293" y="12"/>
                  </a:cubicBezTo>
                  <a:close/>
                  <a:moveTo>
                    <a:pt x="305" y="14"/>
                  </a:moveTo>
                  <a:cubicBezTo>
                    <a:pt x="306" y="14"/>
                    <a:pt x="313" y="15"/>
                    <a:pt x="311" y="17"/>
                  </a:cubicBezTo>
                  <a:cubicBezTo>
                    <a:pt x="308" y="17"/>
                    <a:pt x="303" y="15"/>
                    <a:pt x="305" y="14"/>
                  </a:cubicBezTo>
                  <a:close/>
                  <a:moveTo>
                    <a:pt x="313" y="20"/>
                  </a:moveTo>
                  <a:cubicBezTo>
                    <a:pt x="314" y="20"/>
                    <a:pt x="316" y="17"/>
                    <a:pt x="308" y="18"/>
                  </a:cubicBezTo>
                  <a:cubicBezTo>
                    <a:pt x="300" y="20"/>
                    <a:pt x="309" y="20"/>
                    <a:pt x="313" y="20"/>
                  </a:cubicBezTo>
                  <a:close/>
                  <a:moveTo>
                    <a:pt x="296" y="17"/>
                  </a:moveTo>
                  <a:cubicBezTo>
                    <a:pt x="299" y="17"/>
                    <a:pt x="299" y="18"/>
                    <a:pt x="305" y="18"/>
                  </a:cubicBezTo>
                  <a:cubicBezTo>
                    <a:pt x="311" y="17"/>
                    <a:pt x="306" y="17"/>
                    <a:pt x="303" y="15"/>
                  </a:cubicBezTo>
                  <a:cubicBezTo>
                    <a:pt x="299" y="15"/>
                    <a:pt x="293" y="14"/>
                    <a:pt x="291" y="14"/>
                  </a:cubicBezTo>
                  <a:cubicBezTo>
                    <a:pt x="290" y="15"/>
                    <a:pt x="294" y="15"/>
                    <a:pt x="296" y="17"/>
                  </a:cubicBezTo>
                  <a:close/>
                  <a:moveTo>
                    <a:pt x="284" y="17"/>
                  </a:moveTo>
                  <a:cubicBezTo>
                    <a:pt x="287" y="17"/>
                    <a:pt x="282" y="17"/>
                    <a:pt x="290" y="18"/>
                  </a:cubicBezTo>
                  <a:cubicBezTo>
                    <a:pt x="299" y="20"/>
                    <a:pt x="297" y="21"/>
                    <a:pt x="302" y="20"/>
                  </a:cubicBezTo>
                  <a:cubicBezTo>
                    <a:pt x="305" y="18"/>
                    <a:pt x="302" y="20"/>
                    <a:pt x="299" y="18"/>
                  </a:cubicBezTo>
                  <a:cubicBezTo>
                    <a:pt x="294" y="17"/>
                    <a:pt x="291" y="15"/>
                    <a:pt x="287" y="15"/>
                  </a:cubicBezTo>
                  <a:cubicBezTo>
                    <a:pt x="284" y="17"/>
                    <a:pt x="281" y="12"/>
                    <a:pt x="278" y="15"/>
                  </a:cubicBezTo>
                  <a:cubicBezTo>
                    <a:pt x="276" y="17"/>
                    <a:pt x="281" y="15"/>
                    <a:pt x="284" y="17"/>
                  </a:cubicBezTo>
                  <a:close/>
                  <a:moveTo>
                    <a:pt x="278" y="20"/>
                  </a:moveTo>
                  <a:cubicBezTo>
                    <a:pt x="281" y="20"/>
                    <a:pt x="279" y="21"/>
                    <a:pt x="282" y="20"/>
                  </a:cubicBezTo>
                  <a:cubicBezTo>
                    <a:pt x="285" y="20"/>
                    <a:pt x="290" y="20"/>
                    <a:pt x="288" y="20"/>
                  </a:cubicBezTo>
                  <a:cubicBezTo>
                    <a:pt x="287" y="20"/>
                    <a:pt x="282" y="17"/>
                    <a:pt x="281" y="18"/>
                  </a:cubicBezTo>
                  <a:cubicBezTo>
                    <a:pt x="279" y="20"/>
                    <a:pt x="276" y="17"/>
                    <a:pt x="273" y="18"/>
                  </a:cubicBezTo>
                  <a:cubicBezTo>
                    <a:pt x="273" y="20"/>
                    <a:pt x="274" y="20"/>
                    <a:pt x="278" y="20"/>
                  </a:cubicBezTo>
                  <a:close/>
                  <a:moveTo>
                    <a:pt x="296" y="21"/>
                  </a:moveTo>
                  <a:cubicBezTo>
                    <a:pt x="299" y="21"/>
                    <a:pt x="294" y="20"/>
                    <a:pt x="291" y="20"/>
                  </a:cubicBezTo>
                  <a:cubicBezTo>
                    <a:pt x="287" y="20"/>
                    <a:pt x="285" y="21"/>
                    <a:pt x="287" y="21"/>
                  </a:cubicBezTo>
                  <a:cubicBezTo>
                    <a:pt x="288" y="23"/>
                    <a:pt x="293" y="21"/>
                    <a:pt x="296" y="21"/>
                  </a:cubicBezTo>
                  <a:close/>
                  <a:moveTo>
                    <a:pt x="302" y="23"/>
                  </a:moveTo>
                  <a:cubicBezTo>
                    <a:pt x="297" y="23"/>
                    <a:pt x="302" y="21"/>
                    <a:pt x="305" y="21"/>
                  </a:cubicBezTo>
                  <a:cubicBezTo>
                    <a:pt x="306" y="21"/>
                    <a:pt x="306" y="25"/>
                    <a:pt x="302" y="23"/>
                  </a:cubicBezTo>
                  <a:close/>
                  <a:moveTo>
                    <a:pt x="276" y="23"/>
                  </a:moveTo>
                  <a:cubicBezTo>
                    <a:pt x="274" y="21"/>
                    <a:pt x="271" y="23"/>
                    <a:pt x="273" y="23"/>
                  </a:cubicBezTo>
                  <a:cubicBezTo>
                    <a:pt x="274" y="25"/>
                    <a:pt x="270" y="26"/>
                    <a:pt x="276" y="25"/>
                  </a:cubicBezTo>
                  <a:cubicBezTo>
                    <a:pt x="279" y="25"/>
                    <a:pt x="278" y="25"/>
                    <a:pt x="276" y="23"/>
                  </a:cubicBezTo>
                  <a:close/>
                  <a:moveTo>
                    <a:pt x="1273" y="256"/>
                  </a:moveTo>
                  <a:cubicBezTo>
                    <a:pt x="1273" y="256"/>
                    <a:pt x="1273" y="256"/>
                    <a:pt x="1273" y="256"/>
                  </a:cubicBezTo>
                  <a:cubicBezTo>
                    <a:pt x="1278" y="252"/>
                    <a:pt x="1278" y="252"/>
                    <a:pt x="1275" y="247"/>
                  </a:cubicBezTo>
                  <a:cubicBezTo>
                    <a:pt x="1270" y="242"/>
                    <a:pt x="1280" y="241"/>
                    <a:pt x="1283" y="250"/>
                  </a:cubicBezTo>
                  <a:cubicBezTo>
                    <a:pt x="1287" y="259"/>
                    <a:pt x="1301" y="244"/>
                    <a:pt x="1305" y="256"/>
                  </a:cubicBezTo>
                  <a:cubicBezTo>
                    <a:pt x="1311" y="269"/>
                    <a:pt x="1316" y="261"/>
                    <a:pt x="1321" y="267"/>
                  </a:cubicBezTo>
                  <a:cubicBezTo>
                    <a:pt x="1324" y="273"/>
                    <a:pt x="1334" y="267"/>
                    <a:pt x="1334" y="258"/>
                  </a:cubicBezTo>
                  <a:cubicBezTo>
                    <a:pt x="1334" y="247"/>
                    <a:pt x="1343" y="255"/>
                    <a:pt x="1351" y="247"/>
                  </a:cubicBezTo>
                  <a:cubicBezTo>
                    <a:pt x="1359" y="237"/>
                    <a:pt x="1348" y="245"/>
                    <a:pt x="1342" y="236"/>
                  </a:cubicBezTo>
                  <a:cubicBezTo>
                    <a:pt x="1337" y="230"/>
                    <a:pt x="1330" y="230"/>
                    <a:pt x="1321" y="230"/>
                  </a:cubicBezTo>
                  <a:cubicBezTo>
                    <a:pt x="1310" y="230"/>
                    <a:pt x="1330" y="247"/>
                    <a:pt x="1318" y="239"/>
                  </a:cubicBezTo>
                  <a:cubicBezTo>
                    <a:pt x="1305" y="233"/>
                    <a:pt x="1324" y="228"/>
                    <a:pt x="1304" y="219"/>
                  </a:cubicBezTo>
                  <a:cubicBezTo>
                    <a:pt x="1293" y="213"/>
                    <a:pt x="1283" y="208"/>
                    <a:pt x="1273" y="203"/>
                  </a:cubicBezTo>
                  <a:cubicBezTo>
                    <a:pt x="1273" y="203"/>
                    <a:pt x="1273" y="203"/>
                    <a:pt x="1273" y="203"/>
                  </a:cubicBezTo>
                  <a:cubicBezTo>
                    <a:pt x="1266" y="199"/>
                    <a:pt x="1258" y="196"/>
                    <a:pt x="1249" y="194"/>
                  </a:cubicBezTo>
                  <a:cubicBezTo>
                    <a:pt x="1232" y="189"/>
                    <a:pt x="1244" y="191"/>
                    <a:pt x="1222" y="189"/>
                  </a:cubicBezTo>
                  <a:cubicBezTo>
                    <a:pt x="1197" y="188"/>
                    <a:pt x="1203" y="178"/>
                    <a:pt x="1197" y="189"/>
                  </a:cubicBezTo>
                  <a:cubicBezTo>
                    <a:pt x="1190" y="200"/>
                    <a:pt x="1209" y="194"/>
                    <a:pt x="1199" y="203"/>
                  </a:cubicBezTo>
                  <a:cubicBezTo>
                    <a:pt x="1188" y="213"/>
                    <a:pt x="1193" y="200"/>
                    <a:pt x="1184" y="200"/>
                  </a:cubicBezTo>
                  <a:cubicBezTo>
                    <a:pt x="1174" y="200"/>
                    <a:pt x="1187" y="189"/>
                    <a:pt x="1171" y="194"/>
                  </a:cubicBezTo>
                  <a:cubicBezTo>
                    <a:pt x="1156" y="200"/>
                    <a:pt x="1153" y="188"/>
                    <a:pt x="1133" y="192"/>
                  </a:cubicBezTo>
                  <a:cubicBezTo>
                    <a:pt x="1114" y="197"/>
                    <a:pt x="1112" y="191"/>
                    <a:pt x="1115" y="186"/>
                  </a:cubicBezTo>
                  <a:cubicBezTo>
                    <a:pt x="1118" y="180"/>
                    <a:pt x="1103" y="168"/>
                    <a:pt x="1071" y="174"/>
                  </a:cubicBezTo>
                  <a:cubicBezTo>
                    <a:pt x="1040" y="180"/>
                    <a:pt x="1042" y="161"/>
                    <a:pt x="1031" y="157"/>
                  </a:cubicBezTo>
                  <a:cubicBezTo>
                    <a:pt x="1021" y="152"/>
                    <a:pt x="1021" y="157"/>
                    <a:pt x="1002" y="152"/>
                  </a:cubicBezTo>
                  <a:cubicBezTo>
                    <a:pt x="984" y="147"/>
                    <a:pt x="981" y="150"/>
                    <a:pt x="967" y="147"/>
                  </a:cubicBezTo>
                  <a:cubicBezTo>
                    <a:pt x="954" y="143"/>
                    <a:pt x="969" y="152"/>
                    <a:pt x="954" y="152"/>
                  </a:cubicBezTo>
                  <a:cubicBezTo>
                    <a:pt x="938" y="152"/>
                    <a:pt x="966" y="171"/>
                    <a:pt x="951" y="166"/>
                  </a:cubicBezTo>
                  <a:cubicBezTo>
                    <a:pt x="934" y="161"/>
                    <a:pt x="940" y="169"/>
                    <a:pt x="928" y="164"/>
                  </a:cubicBezTo>
                  <a:cubicBezTo>
                    <a:pt x="914" y="161"/>
                    <a:pt x="914" y="174"/>
                    <a:pt x="902" y="164"/>
                  </a:cubicBezTo>
                  <a:cubicBezTo>
                    <a:pt x="890" y="155"/>
                    <a:pt x="893" y="186"/>
                    <a:pt x="879" y="174"/>
                  </a:cubicBezTo>
                  <a:cubicBezTo>
                    <a:pt x="865" y="161"/>
                    <a:pt x="864" y="157"/>
                    <a:pt x="856" y="154"/>
                  </a:cubicBezTo>
                  <a:cubicBezTo>
                    <a:pt x="847" y="150"/>
                    <a:pt x="861" y="166"/>
                    <a:pt x="852" y="158"/>
                  </a:cubicBezTo>
                  <a:cubicBezTo>
                    <a:pt x="844" y="152"/>
                    <a:pt x="827" y="146"/>
                    <a:pt x="803" y="144"/>
                  </a:cubicBezTo>
                  <a:cubicBezTo>
                    <a:pt x="766" y="141"/>
                    <a:pt x="797" y="136"/>
                    <a:pt x="785" y="135"/>
                  </a:cubicBezTo>
                  <a:cubicBezTo>
                    <a:pt x="772" y="133"/>
                    <a:pt x="762" y="133"/>
                    <a:pt x="751" y="135"/>
                  </a:cubicBezTo>
                  <a:cubicBezTo>
                    <a:pt x="740" y="136"/>
                    <a:pt x="747" y="126"/>
                    <a:pt x="739" y="130"/>
                  </a:cubicBezTo>
                  <a:cubicBezTo>
                    <a:pt x="731" y="135"/>
                    <a:pt x="733" y="127"/>
                    <a:pt x="722" y="129"/>
                  </a:cubicBezTo>
                  <a:cubicBezTo>
                    <a:pt x="712" y="132"/>
                    <a:pt x="724" y="136"/>
                    <a:pt x="704" y="139"/>
                  </a:cubicBezTo>
                  <a:cubicBezTo>
                    <a:pt x="686" y="143"/>
                    <a:pt x="686" y="139"/>
                    <a:pt x="704" y="132"/>
                  </a:cubicBezTo>
                  <a:cubicBezTo>
                    <a:pt x="722" y="124"/>
                    <a:pt x="718" y="121"/>
                    <a:pt x="734" y="116"/>
                  </a:cubicBezTo>
                  <a:cubicBezTo>
                    <a:pt x="750" y="112"/>
                    <a:pt x="750" y="102"/>
                    <a:pt x="747" y="96"/>
                  </a:cubicBezTo>
                  <a:cubicBezTo>
                    <a:pt x="743" y="91"/>
                    <a:pt x="739" y="94"/>
                    <a:pt x="731" y="88"/>
                  </a:cubicBezTo>
                  <a:cubicBezTo>
                    <a:pt x="725" y="82"/>
                    <a:pt x="719" y="88"/>
                    <a:pt x="710" y="85"/>
                  </a:cubicBezTo>
                  <a:cubicBezTo>
                    <a:pt x="701" y="84"/>
                    <a:pt x="705" y="88"/>
                    <a:pt x="695" y="90"/>
                  </a:cubicBezTo>
                  <a:cubicBezTo>
                    <a:pt x="678" y="91"/>
                    <a:pt x="708" y="82"/>
                    <a:pt x="689" y="82"/>
                  </a:cubicBezTo>
                  <a:cubicBezTo>
                    <a:pt x="670" y="81"/>
                    <a:pt x="676" y="79"/>
                    <a:pt x="686" y="76"/>
                  </a:cubicBezTo>
                  <a:cubicBezTo>
                    <a:pt x="693" y="74"/>
                    <a:pt x="676" y="66"/>
                    <a:pt x="661" y="73"/>
                  </a:cubicBezTo>
                  <a:cubicBezTo>
                    <a:pt x="637" y="84"/>
                    <a:pt x="651" y="88"/>
                    <a:pt x="640" y="88"/>
                  </a:cubicBezTo>
                  <a:cubicBezTo>
                    <a:pt x="617" y="90"/>
                    <a:pt x="643" y="90"/>
                    <a:pt x="622" y="94"/>
                  </a:cubicBezTo>
                  <a:cubicBezTo>
                    <a:pt x="600" y="99"/>
                    <a:pt x="625" y="90"/>
                    <a:pt x="596" y="94"/>
                  </a:cubicBezTo>
                  <a:cubicBezTo>
                    <a:pt x="568" y="98"/>
                    <a:pt x="599" y="101"/>
                    <a:pt x="570" y="104"/>
                  </a:cubicBezTo>
                  <a:cubicBezTo>
                    <a:pt x="539" y="105"/>
                    <a:pt x="553" y="110"/>
                    <a:pt x="538" y="110"/>
                  </a:cubicBezTo>
                  <a:cubicBezTo>
                    <a:pt x="524" y="112"/>
                    <a:pt x="523" y="124"/>
                    <a:pt x="532" y="126"/>
                  </a:cubicBezTo>
                  <a:cubicBezTo>
                    <a:pt x="539" y="126"/>
                    <a:pt x="535" y="129"/>
                    <a:pt x="524" y="132"/>
                  </a:cubicBezTo>
                  <a:cubicBezTo>
                    <a:pt x="508" y="135"/>
                    <a:pt x="488" y="130"/>
                    <a:pt x="483" y="138"/>
                  </a:cubicBezTo>
                  <a:cubicBezTo>
                    <a:pt x="477" y="144"/>
                    <a:pt x="491" y="138"/>
                    <a:pt x="486" y="147"/>
                  </a:cubicBezTo>
                  <a:cubicBezTo>
                    <a:pt x="480" y="155"/>
                    <a:pt x="497" y="150"/>
                    <a:pt x="497" y="157"/>
                  </a:cubicBezTo>
                  <a:cubicBezTo>
                    <a:pt x="498" y="164"/>
                    <a:pt x="512" y="157"/>
                    <a:pt x="508" y="166"/>
                  </a:cubicBezTo>
                  <a:cubicBezTo>
                    <a:pt x="501" y="177"/>
                    <a:pt x="517" y="175"/>
                    <a:pt x="508" y="183"/>
                  </a:cubicBezTo>
                  <a:cubicBezTo>
                    <a:pt x="497" y="192"/>
                    <a:pt x="512" y="171"/>
                    <a:pt x="501" y="174"/>
                  </a:cubicBezTo>
                  <a:cubicBezTo>
                    <a:pt x="491" y="178"/>
                    <a:pt x="512" y="163"/>
                    <a:pt x="498" y="163"/>
                  </a:cubicBezTo>
                  <a:cubicBezTo>
                    <a:pt x="486" y="163"/>
                    <a:pt x="491" y="155"/>
                    <a:pt x="474" y="154"/>
                  </a:cubicBezTo>
                  <a:cubicBezTo>
                    <a:pt x="456" y="150"/>
                    <a:pt x="462" y="161"/>
                    <a:pt x="457" y="160"/>
                  </a:cubicBezTo>
                  <a:cubicBezTo>
                    <a:pt x="450" y="157"/>
                    <a:pt x="442" y="163"/>
                    <a:pt x="454" y="166"/>
                  </a:cubicBezTo>
                  <a:cubicBezTo>
                    <a:pt x="466" y="171"/>
                    <a:pt x="459" y="172"/>
                    <a:pt x="448" y="171"/>
                  </a:cubicBezTo>
                  <a:cubicBezTo>
                    <a:pt x="436" y="169"/>
                    <a:pt x="448" y="157"/>
                    <a:pt x="445" y="150"/>
                  </a:cubicBezTo>
                  <a:cubicBezTo>
                    <a:pt x="441" y="144"/>
                    <a:pt x="437" y="143"/>
                    <a:pt x="439" y="152"/>
                  </a:cubicBezTo>
                  <a:cubicBezTo>
                    <a:pt x="444" y="164"/>
                    <a:pt x="419" y="158"/>
                    <a:pt x="428" y="169"/>
                  </a:cubicBezTo>
                  <a:cubicBezTo>
                    <a:pt x="434" y="178"/>
                    <a:pt x="437" y="178"/>
                    <a:pt x="431" y="186"/>
                  </a:cubicBezTo>
                  <a:cubicBezTo>
                    <a:pt x="424" y="194"/>
                    <a:pt x="431" y="194"/>
                    <a:pt x="431" y="200"/>
                  </a:cubicBezTo>
                  <a:cubicBezTo>
                    <a:pt x="430" y="206"/>
                    <a:pt x="445" y="196"/>
                    <a:pt x="456" y="202"/>
                  </a:cubicBezTo>
                  <a:cubicBezTo>
                    <a:pt x="468" y="209"/>
                    <a:pt x="463" y="211"/>
                    <a:pt x="462" y="214"/>
                  </a:cubicBezTo>
                  <a:cubicBezTo>
                    <a:pt x="460" y="217"/>
                    <a:pt x="456" y="225"/>
                    <a:pt x="457" y="217"/>
                  </a:cubicBezTo>
                  <a:cubicBezTo>
                    <a:pt x="460" y="209"/>
                    <a:pt x="457" y="200"/>
                    <a:pt x="442" y="205"/>
                  </a:cubicBezTo>
                  <a:cubicBezTo>
                    <a:pt x="428" y="209"/>
                    <a:pt x="444" y="219"/>
                    <a:pt x="436" y="222"/>
                  </a:cubicBezTo>
                  <a:cubicBezTo>
                    <a:pt x="428" y="227"/>
                    <a:pt x="434" y="231"/>
                    <a:pt x="425" y="234"/>
                  </a:cubicBezTo>
                  <a:cubicBezTo>
                    <a:pt x="416" y="239"/>
                    <a:pt x="425" y="244"/>
                    <a:pt x="407" y="241"/>
                  </a:cubicBezTo>
                  <a:cubicBezTo>
                    <a:pt x="387" y="237"/>
                    <a:pt x="413" y="241"/>
                    <a:pt x="418" y="230"/>
                  </a:cubicBezTo>
                  <a:cubicBezTo>
                    <a:pt x="424" y="219"/>
                    <a:pt x="427" y="225"/>
                    <a:pt x="427" y="216"/>
                  </a:cubicBezTo>
                  <a:cubicBezTo>
                    <a:pt x="428" y="206"/>
                    <a:pt x="419" y="206"/>
                    <a:pt x="421" y="196"/>
                  </a:cubicBezTo>
                  <a:cubicBezTo>
                    <a:pt x="422" y="183"/>
                    <a:pt x="425" y="177"/>
                    <a:pt x="418" y="169"/>
                  </a:cubicBezTo>
                  <a:cubicBezTo>
                    <a:pt x="409" y="163"/>
                    <a:pt x="424" y="164"/>
                    <a:pt x="424" y="154"/>
                  </a:cubicBezTo>
                  <a:cubicBezTo>
                    <a:pt x="424" y="141"/>
                    <a:pt x="406" y="147"/>
                    <a:pt x="398" y="146"/>
                  </a:cubicBezTo>
                  <a:cubicBezTo>
                    <a:pt x="389" y="143"/>
                    <a:pt x="392" y="164"/>
                    <a:pt x="381" y="169"/>
                  </a:cubicBezTo>
                  <a:cubicBezTo>
                    <a:pt x="364" y="175"/>
                    <a:pt x="384" y="175"/>
                    <a:pt x="376" y="186"/>
                  </a:cubicBezTo>
                  <a:cubicBezTo>
                    <a:pt x="369" y="199"/>
                    <a:pt x="398" y="199"/>
                    <a:pt x="392" y="209"/>
                  </a:cubicBezTo>
                  <a:cubicBezTo>
                    <a:pt x="384" y="219"/>
                    <a:pt x="389" y="209"/>
                    <a:pt x="361" y="199"/>
                  </a:cubicBezTo>
                  <a:cubicBezTo>
                    <a:pt x="332" y="186"/>
                    <a:pt x="319" y="192"/>
                    <a:pt x="326" y="200"/>
                  </a:cubicBezTo>
                  <a:cubicBezTo>
                    <a:pt x="331" y="205"/>
                    <a:pt x="316" y="216"/>
                    <a:pt x="316" y="208"/>
                  </a:cubicBezTo>
                  <a:cubicBezTo>
                    <a:pt x="316" y="199"/>
                    <a:pt x="311" y="202"/>
                    <a:pt x="302" y="208"/>
                  </a:cubicBezTo>
                  <a:cubicBezTo>
                    <a:pt x="293" y="214"/>
                    <a:pt x="294" y="202"/>
                    <a:pt x="282" y="211"/>
                  </a:cubicBezTo>
                  <a:cubicBezTo>
                    <a:pt x="270" y="219"/>
                    <a:pt x="270" y="208"/>
                    <a:pt x="276" y="203"/>
                  </a:cubicBezTo>
                  <a:cubicBezTo>
                    <a:pt x="281" y="200"/>
                    <a:pt x="270" y="202"/>
                    <a:pt x="250" y="213"/>
                  </a:cubicBezTo>
                  <a:cubicBezTo>
                    <a:pt x="230" y="222"/>
                    <a:pt x="227" y="214"/>
                    <a:pt x="224" y="227"/>
                  </a:cubicBezTo>
                  <a:cubicBezTo>
                    <a:pt x="221" y="239"/>
                    <a:pt x="220" y="230"/>
                    <a:pt x="214" y="233"/>
                  </a:cubicBezTo>
                  <a:cubicBezTo>
                    <a:pt x="206" y="237"/>
                    <a:pt x="211" y="231"/>
                    <a:pt x="204" y="228"/>
                  </a:cubicBezTo>
                  <a:cubicBezTo>
                    <a:pt x="197" y="225"/>
                    <a:pt x="206" y="220"/>
                    <a:pt x="212" y="220"/>
                  </a:cubicBezTo>
                  <a:cubicBezTo>
                    <a:pt x="218" y="220"/>
                    <a:pt x="212" y="208"/>
                    <a:pt x="203" y="209"/>
                  </a:cubicBezTo>
                  <a:cubicBezTo>
                    <a:pt x="194" y="209"/>
                    <a:pt x="185" y="203"/>
                    <a:pt x="192" y="211"/>
                  </a:cubicBezTo>
                  <a:cubicBezTo>
                    <a:pt x="200" y="217"/>
                    <a:pt x="186" y="224"/>
                    <a:pt x="195" y="230"/>
                  </a:cubicBezTo>
                  <a:cubicBezTo>
                    <a:pt x="203" y="234"/>
                    <a:pt x="194" y="236"/>
                    <a:pt x="195" y="245"/>
                  </a:cubicBezTo>
                  <a:cubicBezTo>
                    <a:pt x="197" y="253"/>
                    <a:pt x="189" y="231"/>
                    <a:pt x="176" y="241"/>
                  </a:cubicBezTo>
                  <a:cubicBezTo>
                    <a:pt x="162" y="250"/>
                    <a:pt x="156" y="248"/>
                    <a:pt x="163" y="258"/>
                  </a:cubicBezTo>
                  <a:cubicBezTo>
                    <a:pt x="172" y="267"/>
                    <a:pt x="162" y="269"/>
                    <a:pt x="148" y="261"/>
                  </a:cubicBezTo>
                  <a:cubicBezTo>
                    <a:pt x="133" y="255"/>
                    <a:pt x="130" y="259"/>
                    <a:pt x="136" y="264"/>
                  </a:cubicBezTo>
                  <a:cubicBezTo>
                    <a:pt x="142" y="270"/>
                    <a:pt x="153" y="269"/>
                    <a:pt x="144" y="275"/>
                  </a:cubicBezTo>
                  <a:cubicBezTo>
                    <a:pt x="136" y="279"/>
                    <a:pt x="137" y="269"/>
                    <a:pt x="128" y="267"/>
                  </a:cubicBezTo>
                  <a:cubicBezTo>
                    <a:pt x="118" y="265"/>
                    <a:pt x="125" y="261"/>
                    <a:pt x="121" y="256"/>
                  </a:cubicBezTo>
                  <a:cubicBezTo>
                    <a:pt x="115" y="252"/>
                    <a:pt x="127" y="250"/>
                    <a:pt x="119" y="244"/>
                  </a:cubicBezTo>
                  <a:cubicBezTo>
                    <a:pt x="112" y="237"/>
                    <a:pt x="104" y="236"/>
                    <a:pt x="102" y="230"/>
                  </a:cubicBezTo>
                  <a:cubicBezTo>
                    <a:pt x="101" y="224"/>
                    <a:pt x="102" y="234"/>
                    <a:pt x="118" y="237"/>
                  </a:cubicBezTo>
                  <a:cubicBezTo>
                    <a:pt x="133" y="239"/>
                    <a:pt x="148" y="250"/>
                    <a:pt x="162" y="242"/>
                  </a:cubicBezTo>
                  <a:cubicBezTo>
                    <a:pt x="176" y="234"/>
                    <a:pt x="180" y="228"/>
                    <a:pt x="165" y="219"/>
                  </a:cubicBezTo>
                  <a:cubicBezTo>
                    <a:pt x="151" y="209"/>
                    <a:pt x="153" y="214"/>
                    <a:pt x="137" y="203"/>
                  </a:cubicBezTo>
                  <a:cubicBezTo>
                    <a:pt x="122" y="194"/>
                    <a:pt x="127" y="202"/>
                    <a:pt x="113" y="199"/>
                  </a:cubicBezTo>
                  <a:cubicBezTo>
                    <a:pt x="101" y="194"/>
                    <a:pt x="113" y="194"/>
                    <a:pt x="104" y="191"/>
                  </a:cubicBezTo>
                  <a:cubicBezTo>
                    <a:pt x="95" y="186"/>
                    <a:pt x="102" y="196"/>
                    <a:pt x="90" y="191"/>
                  </a:cubicBezTo>
                  <a:cubicBezTo>
                    <a:pt x="90" y="192"/>
                    <a:pt x="90" y="192"/>
                    <a:pt x="90" y="192"/>
                  </a:cubicBezTo>
                  <a:cubicBezTo>
                    <a:pt x="92" y="196"/>
                    <a:pt x="89" y="196"/>
                    <a:pt x="87" y="194"/>
                  </a:cubicBezTo>
                  <a:cubicBezTo>
                    <a:pt x="84" y="194"/>
                    <a:pt x="86" y="194"/>
                    <a:pt x="84" y="196"/>
                  </a:cubicBezTo>
                  <a:cubicBezTo>
                    <a:pt x="83" y="197"/>
                    <a:pt x="78" y="197"/>
                    <a:pt x="78" y="199"/>
                  </a:cubicBezTo>
                  <a:cubicBezTo>
                    <a:pt x="77" y="202"/>
                    <a:pt x="77" y="203"/>
                    <a:pt x="75" y="202"/>
                  </a:cubicBezTo>
                  <a:cubicBezTo>
                    <a:pt x="67" y="206"/>
                    <a:pt x="74" y="203"/>
                    <a:pt x="74" y="205"/>
                  </a:cubicBezTo>
                  <a:cubicBezTo>
                    <a:pt x="75" y="208"/>
                    <a:pt x="70" y="206"/>
                    <a:pt x="72" y="211"/>
                  </a:cubicBezTo>
                  <a:cubicBezTo>
                    <a:pt x="74" y="219"/>
                    <a:pt x="77" y="213"/>
                    <a:pt x="80" y="217"/>
                  </a:cubicBezTo>
                  <a:cubicBezTo>
                    <a:pt x="83" y="222"/>
                    <a:pt x="86" y="220"/>
                    <a:pt x="83" y="224"/>
                  </a:cubicBezTo>
                  <a:cubicBezTo>
                    <a:pt x="80" y="227"/>
                    <a:pt x="74" y="231"/>
                    <a:pt x="77" y="234"/>
                  </a:cubicBezTo>
                  <a:cubicBezTo>
                    <a:pt x="80" y="236"/>
                    <a:pt x="86" y="250"/>
                    <a:pt x="84" y="250"/>
                  </a:cubicBezTo>
                  <a:cubicBezTo>
                    <a:pt x="81" y="250"/>
                    <a:pt x="81" y="250"/>
                    <a:pt x="81" y="252"/>
                  </a:cubicBezTo>
                  <a:cubicBezTo>
                    <a:pt x="83" y="252"/>
                    <a:pt x="81" y="252"/>
                    <a:pt x="81" y="253"/>
                  </a:cubicBezTo>
                  <a:cubicBezTo>
                    <a:pt x="81" y="256"/>
                    <a:pt x="80" y="255"/>
                    <a:pt x="81" y="256"/>
                  </a:cubicBezTo>
                  <a:cubicBezTo>
                    <a:pt x="84" y="258"/>
                    <a:pt x="80" y="258"/>
                    <a:pt x="80" y="259"/>
                  </a:cubicBezTo>
                  <a:cubicBezTo>
                    <a:pt x="81" y="262"/>
                    <a:pt x="87" y="262"/>
                    <a:pt x="84" y="264"/>
                  </a:cubicBezTo>
                  <a:cubicBezTo>
                    <a:pt x="83" y="265"/>
                    <a:pt x="84" y="265"/>
                    <a:pt x="84" y="267"/>
                  </a:cubicBezTo>
                  <a:cubicBezTo>
                    <a:pt x="83" y="269"/>
                    <a:pt x="89" y="269"/>
                    <a:pt x="89" y="272"/>
                  </a:cubicBezTo>
                  <a:cubicBezTo>
                    <a:pt x="87" y="275"/>
                    <a:pt x="81" y="275"/>
                    <a:pt x="84" y="278"/>
                  </a:cubicBezTo>
                  <a:cubicBezTo>
                    <a:pt x="87" y="279"/>
                    <a:pt x="92" y="281"/>
                    <a:pt x="93" y="284"/>
                  </a:cubicBezTo>
                  <a:cubicBezTo>
                    <a:pt x="95" y="287"/>
                    <a:pt x="96" y="286"/>
                    <a:pt x="95" y="289"/>
                  </a:cubicBezTo>
                  <a:cubicBezTo>
                    <a:pt x="93" y="292"/>
                    <a:pt x="89" y="298"/>
                    <a:pt x="80" y="306"/>
                  </a:cubicBezTo>
                  <a:cubicBezTo>
                    <a:pt x="72" y="314"/>
                    <a:pt x="69" y="315"/>
                    <a:pt x="66" y="318"/>
                  </a:cubicBezTo>
                  <a:cubicBezTo>
                    <a:pt x="69" y="320"/>
                    <a:pt x="72" y="315"/>
                    <a:pt x="74" y="317"/>
                  </a:cubicBezTo>
                  <a:cubicBezTo>
                    <a:pt x="74" y="317"/>
                    <a:pt x="72" y="317"/>
                    <a:pt x="72" y="318"/>
                  </a:cubicBezTo>
                  <a:cubicBezTo>
                    <a:pt x="74" y="321"/>
                    <a:pt x="69" y="317"/>
                    <a:pt x="72" y="320"/>
                  </a:cubicBezTo>
                  <a:cubicBezTo>
                    <a:pt x="74" y="323"/>
                    <a:pt x="74" y="320"/>
                    <a:pt x="75" y="323"/>
                  </a:cubicBezTo>
                  <a:cubicBezTo>
                    <a:pt x="77" y="325"/>
                    <a:pt x="81" y="321"/>
                    <a:pt x="83" y="325"/>
                  </a:cubicBezTo>
                  <a:cubicBezTo>
                    <a:pt x="83" y="326"/>
                    <a:pt x="86" y="325"/>
                    <a:pt x="86" y="326"/>
                  </a:cubicBezTo>
                  <a:cubicBezTo>
                    <a:pt x="84" y="328"/>
                    <a:pt x="84" y="328"/>
                    <a:pt x="80" y="326"/>
                  </a:cubicBezTo>
                  <a:cubicBezTo>
                    <a:pt x="74" y="325"/>
                    <a:pt x="77" y="331"/>
                    <a:pt x="74" y="328"/>
                  </a:cubicBezTo>
                  <a:cubicBezTo>
                    <a:pt x="69" y="326"/>
                    <a:pt x="72" y="332"/>
                    <a:pt x="69" y="329"/>
                  </a:cubicBezTo>
                  <a:cubicBezTo>
                    <a:pt x="66" y="328"/>
                    <a:pt x="69" y="331"/>
                    <a:pt x="67" y="332"/>
                  </a:cubicBezTo>
                  <a:cubicBezTo>
                    <a:pt x="70" y="335"/>
                    <a:pt x="66" y="334"/>
                    <a:pt x="66" y="337"/>
                  </a:cubicBezTo>
                  <a:cubicBezTo>
                    <a:pt x="66" y="342"/>
                    <a:pt x="61" y="338"/>
                    <a:pt x="63" y="345"/>
                  </a:cubicBezTo>
                  <a:cubicBezTo>
                    <a:pt x="66" y="349"/>
                    <a:pt x="61" y="346"/>
                    <a:pt x="64" y="351"/>
                  </a:cubicBezTo>
                  <a:cubicBezTo>
                    <a:pt x="67" y="356"/>
                    <a:pt x="64" y="352"/>
                    <a:pt x="63" y="357"/>
                  </a:cubicBezTo>
                  <a:cubicBezTo>
                    <a:pt x="64" y="360"/>
                    <a:pt x="67" y="360"/>
                    <a:pt x="66" y="362"/>
                  </a:cubicBezTo>
                  <a:cubicBezTo>
                    <a:pt x="66" y="363"/>
                    <a:pt x="64" y="366"/>
                    <a:pt x="66" y="366"/>
                  </a:cubicBezTo>
                  <a:cubicBezTo>
                    <a:pt x="67" y="366"/>
                    <a:pt x="66" y="366"/>
                    <a:pt x="67" y="370"/>
                  </a:cubicBezTo>
                  <a:cubicBezTo>
                    <a:pt x="70" y="373"/>
                    <a:pt x="69" y="376"/>
                    <a:pt x="69" y="376"/>
                  </a:cubicBezTo>
                  <a:cubicBezTo>
                    <a:pt x="74" y="374"/>
                    <a:pt x="70" y="377"/>
                    <a:pt x="75" y="377"/>
                  </a:cubicBezTo>
                  <a:cubicBezTo>
                    <a:pt x="81" y="376"/>
                    <a:pt x="77" y="382"/>
                    <a:pt x="81" y="380"/>
                  </a:cubicBezTo>
                  <a:cubicBezTo>
                    <a:pt x="84" y="377"/>
                    <a:pt x="87" y="379"/>
                    <a:pt x="87" y="380"/>
                  </a:cubicBezTo>
                  <a:cubicBezTo>
                    <a:pt x="89" y="382"/>
                    <a:pt x="92" y="380"/>
                    <a:pt x="90" y="384"/>
                  </a:cubicBezTo>
                  <a:cubicBezTo>
                    <a:pt x="89" y="388"/>
                    <a:pt x="93" y="388"/>
                    <a:pt x="90" y="390"/>
                  </a:cubicBezTo>
                  <a:cubicBezTo>
                    <a:pt x="87" y="393"/>
                    <a:pt x="92" y="391"/>
                    <a:pt x="92" y="396"/>
                  </a:cubicBezTo>
                  <a:cubicBezTo>
                    <a:pt x="93" y="402"/>
                    <a:pt x="99" y="401"/>
                    <a:pt x="98" y="402"/>
                  </a:cubicBezTo>
                  <a:cubicBezTo>
                    <a:pt x="95" y="407"/>
                    <a:pt x="102" y="402"/>
                    <a:pt x="102" y="407"/>
                  </a:cubicBezTo>
                  <a:cubicBezTo>
                    <a:pt x="102" y="408"/>
                    <a:pt x="107" y="408"/>
                    <a:pt x="104" y="410"/>
                  </a:cubicBezTo>
                  <a:cubicBezTo>
                    <a:pt x="101" y="412"/>
                    <a:pt x="101" y="415"/>
                    <a:pt x="96" y="412"/>
                  </a:cubicBezTo>
                  <a:cubicBezTo>
                    <a:pt x="95" y="410"/>
                    <a:pt x="93" y="413"/>
                    <a:pt x="95" y="415"/>
                  </a:cubicBezTo>
                  <a:cubicBezTo>
                    <a:pt x="98" y="419"/>
                    <a:pt x="93" y="419"/>
                    <a:pt x="96" y="424"/>
                  </a:cubicBezTo>
                  <a:cubicBezTo>
                    <a:pt x="98" y="425"/>
                    <a:pt x="101" y="427"/>
                    <a:pt x="102" y="424"/>
                  </a:cubicBezTo>
                  <a:cubicBezTo>
                    <a:pt x="102" y="421"/>
                    <a:pt x="105" y="424"/>
                    <a:pt x="109" y="422"/>
                  </a:cubicBezTo>
                  <a:cubicBezTo>
                    <a:pt x="112" y="419"/>
                    <a:pt x="110" y="424"/>
                    <a:pt x="113" y="422"/>
                  </a:cubicBezTo>
                  <a:cubicBezTo>
                    <a:pt x="116" y="419"/>
                    <a:pt x="113" y="425"/>
                    <a:pt x="118" y="427"/>
                  </a:cubicBezTo>
                  <a:cubicBezTo>
                    <a:pt x="121" y="429"/>
                    <a:pt x="115" y="430"/>
                    <a:pt x="116" y="432"/>
                  </a:cubicBezTo>
                  <a:cubicBezTo>
                    <a:pt x="119" y="435"/>
                    <a:pt x="116" y="435"/>
                    <a:pt x="119" y="435"/>
                  </a:cubicBezTo>
                  <a:cubicBezTo>
                    <a:pt x="122" y="436"/>
                    <a:pt x="122" y="433"/>
                    <a:pt x="125" y="438"/>
                  </a:cubicBezTo>
                  <a:cubicBezTo>
                    <a:pt x="128" y="441"/>
                    <a:pt x="125" y="447"/>
                    <a:pt x="128" y="446"/>
                  </a:cubicBezTo>
                  <a:cubicBezTo>
                    <a:pt x="133" y="444"/>
                    <a:pt x="133" y="449"/>
                    <a:pt x="139" y="446"/>
                  </a:cubicBezTo>
                  <a:cubicBezTo>
                    <a:pt x="144" y="443"/>
                    <a:pt x="142" y="447"/>
                    <a:pt x="145" y="449"/>
                  </a:cubicBezTo>
                  <a:cubicBezTo>
                    <a:pt x="148" y="452"/>
                    <a:pt x="150" y="447"/>
                    <a:pt x="153" y="452"/>
                  </a:cubicBezTo>
                  <a:cubicBezTo>
                    <a:pt x="154" y="453"/>
                    <a:pt x="157" y="450"/>
                    <a:pt x="159" y="453"/>
                  </a:cubicBezTo>
                  <a:cubicBezTo>
                    <a:pt x="160" y="457"/>
                    <a:pt x="163" y="453"/>
                    <a:pt x="163" y="455"/>
                  </a:cubicBezTo>
                  <a:cubicBezTo>
                    <a:pt x="163" y="458"/>
                    <a:pt x="165" y="458"/>
                    <a:pt x="163" y="460"/>
                  </a:cubicBezTo>
                  <a:cubicBezTo>
                    <a:pt x="160" y="461"/>
                    <a:pt x="160" y="463"/>
                    <a:pt x="162" y="463"/>
                  </a:cubicBezTo>
                  <a:cubicBezTo>
                    <a:pt x="163" y="463"/>
                    <a:pt x="165" y="464"/>
                    <a:pt x="162" y="464"/>
                  </a:cubicBezTo>
                  <a:cubicBezTo>
                    <a:pt x="160" y="464"/>
                    <a:pt x="159" y="466"/>
                    <a:pt x="160" y="468"/>
                  </a:cubicBezTo>
                  <a:cubicBezTo>
                    <a:pt x="162" y="469"/>
                    <a:pt x="163" y="472"/>
                    <a:pt x="162" y="474"/>
                  </a:cubicBezTo>
                  <a:cubicBezTo>
                    <a:pt x="160" y="477"/>
                    <a:pt x="154" y="474"/>
                    <a:pt x="153" y="477"/>
                  </a:cubicBezTo>
                  <a:cubicBezTo>
                    <a:pt x="153" y="480"/>
                    <a:pt x="147" y="475"/>
                    <a:pt x="148" y="485"/>
                  </a:cubicBezTo>
                  <a:cubicBezTo>
                    <a:pt x="153" y="481"/>
                    <a:pt x="150" y="486"/>
                    <a:pt x="154" y="483"/>
                  </a:cubicBezTo>
                  <a:cubicBezTo>
                    <a:pt x="157" y="481"/>
                    <a:pt x="157" y="485"/>
                    <a:pt x="154" y="486"/>
                  </a:cubicBezTo>
                  <a:cubicBezTo>
                    <a:pt x="148" y="488"/>
                    <a:pt x="151" y="489"/>
                    <a:pt x="145" y="489"/>
                  </a:cubicBezTo>
                  <a:cubicBezTo>
                    <a:pt x="144" y="489"/>
                    <a:pt x="145" y="494"/>
                    <a:pt x="148" y="492"/>
                  </a:cubicBezTo>
                  <a:cubicBezTo>
                    <a:pt x="150" y="492"/>
                    <a:pt x="153" y="497"/>
                    <a:pt x="150" y="497"/>
                  </a:cubicBezTo>
                  <a:cubicBezTo>
                    <a:pt x="148" y="496"/>
                    <a:pt x="147" y="496"/>
                    <a:pt x="145" y="499"/>
                  </a:cubicBezTo>
                  <a:cubicBezTo>
                    <a:pt x="145" y="502"/>
                    <a:pt x="144" y="502"/>
                    <a:pt x="144" y="503"/>
                  </a:cubicBezTo>
                  <a:cubicBezTo>
                    <a:pt x="145" y="508"/>
                    <a:pt x="144" y="505"/>
                    <a:pt x="140" y="505"/>
                  </a:cubicBezTo>
                  <a:cubicBezTo>
                    <a:pt x="139" y="505"/>
                    <a:pt x="136" y="502"/>
                    <a:pt x="137" y="505"/>
                  </a:cubicBezTo>
                  <a:cubicBezTo>
                    <a:pt x="137" y="506"/>
                    <a:pt x="133" y="506"/>
                    <a:pt x="139" y="508"/>
                  </a:cubicBezTo>
                  <a:cubicBezTo>
                    <a:pt x="144" y="511"/>
                    <a:pt x="140" y="513"/>
                    <a:pt x="145" y="513"/>
                  </a:cubicBezTo>
                  <a:cubicBezTo>
                    <a:pt x="150" y="514"/>
                    <a:pt x="145" y="514"/>
                    <a:pt x="151" y="517"/>
                  </a:cubicBezTo>
                  <a:cubicBezTo>
                    <a:pt x="157" y="519"/>
                    <a:pt x="151" y="516"/>
                    <a:pt x="162" y="527"/>
                  </a:cubicBezTo>
                  <a:cubicBezTo>
                    <a:pt x="163" y="525"/>
                    <a:pt x="166" y="525"/>
                    <a:pt x="168" y="525"/>
                  </a:cubicBezTo>
                  <a:cubicBezTo>
                    <a:pt x="169" y="525"/>
                    <a:pt x="169" y="528"/>
                    <a:pt x="172" y="528"/>
                  </a:cubicBezTo>
                  <a:cubicBezTo>
                    <a:pt x="176" y="528"/>
                    <a:pt x="174" y="531"/>
                    <a:pt x="179" y="528"/>
                  </a:cubicBezTo>
                  <a:cubicBezTo>
                    <a:pt x="182" y="527"/>
                    <a:pt x="183" y="530"/>
                    <a:pt x="185" y="530"/>
                  </a:cubicBezTo>
                  <a:cubicBezTo>
                    <a:pt x="186" y="530"/>
                    <a:pt x="186" y="531"/>
                    <a:pt x="191" y="533"/>
                  </a:cubicBezTo>
                  <a:cubicBezTo>
                    <a:pt x="195" y="534"/>
                    <a:pt x="191" y="534"/>
                    <a:pt x="192" y="536"/>
                  </a:cubicBezTo>
                  <a:cubicBezTo>
                    <a:pt x="195" y="537"/>
                    <a:pt x="197" y="533"/>
                    <a:pt x="198" y="534"/>
                  </a:cubicBezTo>
                  <a:cubicBezTo>
                    <a:pt x="201" y="536"/>
                    <a:pt x="201" y="533"/>
                    <a:pt x="203" y="534"/>
                  </a:cubicBezTo>
                  <a:cubicBezTo>
                    <a:pt x="204" y="534"/>
                    <a:pt x="204" y="536"/>
                    <a:pt x="207" y="536"/>
                  </a:cubicBezTo>
                  <a:cubicBezTo>
                    <a:pt x="211" y="536"/>
                    <a:pt x="206" y="539"/>
                    <a:pt x="207" y="541"/>
                  </a:cubicBezTo>
                  <a:cubicBezTo>
                    <a:pt x="209" y="542"/>
                    <a:pt x="209" y="542"/>
                    <a:pt x="214" y="544"/>
                  </a:cubicBezTo>
                  <a:cubicBezTo>
                    <a:pt x="215" y="547"/>
                    <a:pt x="217" y="542"/>
                    <a:pt x="217" y="545"/>
                  </a:cubicBezTo>
                  <a:cubicBezTo>
                    <a:pt x="218" y="548"/>
                    <a:pt x="220" y="545"/>
                    <a:pt x="220" y="548"/>
                  </a:cubicBezTo>
                  <a:cubicBezTo>
                    <a:pt x="221" y="553"/>
                    <a:pt x="226" y="551"/>
                    <a:pt x="226" y="550"/>
                  </a:cubicBezTo>
                  <a:cubicBezTo>
                    <a:pt x="227" y="548"/>
                    <a:pt x="229" y="547"/>
                    <a:pt x="230" y="545"/>
                  </a:cubicBezTo>
                  <a:cubicBezTo>
                    <a:pt x="226" y="534"/>
                    <a:pt x="221" y="536"/>
                    <a:pt x="223" y="527"/>
                  </a:cubicBezTo>
                  <a:cubicBezTo>
                    <a:pt x="224" y="516"/>
                    <a:pt x="221" y="527"/>
                    <a:pt x="221" y="520"/>
                  </a:cubicBezTo>
                  <a:cubicBezTo>
                    <a:pt x="221" y="514"/>
                    <a:pt x="212" y="516"/>
                    <a:pt x="217" y="513"/>
                  </a:cubicBezTo>
                  <a:cubicBezTo>
                    <a:pt x="220" y="509"/>
                    <a:pt x="221" y="505"/>
                    <a:pt x="226" y="500"/>
                  </a:cubicBezTo>
                  <a:cubicBezTo>
                    <a:pt x="230" y="496"/>
                    <a:pt x="232" y="500"/>
                    <a:pt x="232" y="497"/>
                  </a:cubicBezTo>
                  <a:cubicBezTo>
                    <a:pt x="232" y="496"/>
                    <a:pt x="232" y="497"/>
                    <a:pt x="233" y="492"/>
                  </a:cubicBezTo>
                  <a:cubicBezTo>
                    <a:pt x="226" y="488"/>
                    <a:pt x="238" y="491"/>
                    <a:pt x="230" y="483"/>
                  </a:cubicBezTo>
                  <a:cubicBezTo>
                    <a:pt x="224" y="475"/>
                    <a:pt x="224" y="475"/>
                    <a:pt x="221" y="477"/>
                  </a:cubicBezTo>
                  <a:cubicBezTo>
                    <a:pt x="218" y="477"/>
                    <a:pt x="221" y="472"/>
                    <a:pt x="217" y="469"/>
                  </a:cubicBezTo>
                  <a:cubicBezTo>
                    <a:pt x="211" y="468"/>
                    <a:pt x="220" y="461"/>
                    <a:pt x="217" y="457"/>
                  </a:cubicBezTo>
                  <a:cubicBezTo>
                    <a:pt x="214" y="453"/>
                    <a:pt x="221" y="443"/>
                    <a:pt x="224" y="446"/>
                  </a:cubicBezTo>
                  <a:cubicBezTo>
                    <a:pt x="230" y="455"/>
                    <a:pt x="232" y="452"/>
                    <a:pt x="232" y="446"/>
                  </a:cubicBezTo>
                  <a:cubicBezTo>
                    <a:pt x="232" y="440"/>
                    <a:pt x="242" y="436"/>
                    <a:pt x="247" y="432"/>
                  </a:cubicBezTo>
                  <a:cubicBezTo>
                    <a:pt x="250" y="425"/>
                    <a:pt x="252" y="435"/>
                    <a:pt x="256" y="430"/>
                  </a:cubicBezTo>
                  <a:cubicBezTo>
                    <a:pt x="262" y="427"/>
                    <a:pt x="261" y="432"/>
                    <a:pt x="268" y="433"/>
                  </a:cubicBezTo>
                  <a:cubicBezTo>
                    <a:pt x="276" y="433"/>
                    <a:pt x="284" y="447"/>
                    <a:pt x="290" y="443"/>
                  </a:cubicBezTo>
                  <a:cubicBezTo>
                    <a:pt x="293" y="438"/>
                    <a:pt x="294" y="435"/>
                    <a:pt x="299" y="438"/>
                  </a:cubicBezTo>
                  <a:cubicBezTo>
                    <a:pt x="303" y="441"/>
                    <a:pt x="303" y="433"/>
                    <a:pt x="313" y="441"/>
                  </a:cubicBezTo>
                  <a:cubicBezTo>
                    <a:pt x="322" y="447"/>
                    <a:pt x="317" y="436"/>
                    <a:pt x="323" y="441"/>
                  </a:cubicBezTo>
                  <a:cubicBezTo>
                    <a:pt x="331" y="446"/>
                    <a:pt x="338" y="435"/>
                    <a:pt x="329" y="432"/>
                  </a:cubicBezTo>
                  <a:cubicBezTo>
                    <a:pt x="313" y="424"/>
                    <a:pt x="334" y="425"/>
                    <a:pt x="328" y="419"/>
                  </a:cubicBezTo>
                  <a:cubicBezTo>
                    <a:pt x="322" y="415"/>
                    <a:pt x="343" y="415"/>
                    <a:pt x="335" y="412"/>
                  </a:cubicBezTo>
                  <a:cubicBezTo>
                    <a:pt x="328" y="408"/>
                    <a:pt x="325" y="401"/>
                    <a:pt x="334" y="401"/>
                  </a:cubicBezTo>
                  <a:cubicBezTo>
                    <a:pt x="343" y="401"/>
                    <a:pt x="373" y="394"/>
                    <a:pt x="381" y="390"/>
                  </a:cubicBezTo>
                  <a:cubicBezTo>
                    <a:pt x="390" y="387"/>
                    <a:pt x="392" y="380"/>
                    <a:pt x="398" y="385"/>
                  </a:cubicBezTo>
                  <a:cubicBezTo>
                    <a:pt x="402" y="388"/>
                    <a:pt x="406" y="380"/>
                    <a:pt x="409" y="391"/>
                  </a:cubicBezTo>
                  <a:cubicBezTo>
                    <a:pt x="411" y="404"/>
                    <a:pt x="416" y="396"/>
                    <a:pt x="422" y="399"/>
                  </a:cubicBezTo>
                  <a:cubicBezTo>
                    <a:pt x="428" y="402"/>
                    <a:pt x="433" y="399"/>
                    <a:pt x="428" y="404"/>
                  </a:cubicBezTo>
                  <a:cubicBezTo>
                    <a:pt x="424" y="408"/>
                    <a:pt x="433" y="408"/>
                    <a:pt x="445" y="401"/>
                  </a:cubicBezTo>
                  <a:cubicBezTo>
                    <a:pt x="457" y="391"/>
                    <a:pt x="456" y="398"/>
                    <a:pt x="453" y="401"/>
                  </a:cubicBezTo>
                  <a:cubicBezTo>
                    <a:pt x="450" y="404"/>
                    <a:pt x="462" y="405"/>
                    <a:pt x="472" y="425"/>
                  </a:cubicBezTo>
                  <a:cubicBezTo>
                    <a:pt x="486" y="455"/>
                    <a:pt x="480" y="429"/>
                    <a:pt x="489" y="436"/>
                  </a:cubicBezTo>
                  <a:cubicBezTo>
                    <a:pt x="500" y="446"/>
                    <a:pt x="504" y="433"/>
                    <a:pt x="514" y="443"/>
                  </a:cubicBezTo>
                  <a:cubicBezTo>
                    <a:pt x="521" y="453"/>
                    <a:pt x="524" y="460"/>
                    <a:pt x="530" y="453"/>
                  </a:cubicBezTo>
                  <a:cubicBezTo>
                    <a:pt x="538" y="449"/>
                    <a:pt x="530" y="455"/>
                    <a:pt x="538" y="461"/>
                  </a:cubicBezTo>
                  <a:cubicBezTo>
                    <a:pt x="538" y="461"/>
                    <a:pt x="538" y="461"/>
                    <a:pt x="543" y="460"/>
                  </a:cubicBezTo>
                  <a:cubicBezTo>
                    <a:pt x="547" y="453"/>
                    <a:pt x="546" y="458"/>
                    <a:pt x="553" y="455"/>
                  </a:cubicBezTo>
                  <a:cubicBezTo>
                    <a:pt x="559" y="453"/>
                    <a:pt x="553" y="452"/>
                    <a:pt x="562" y="447"/>
                  </a:cubicBezTo>
                  <a:cubicBezTo>
                    <a:pt x="571" y="443"/>
                    <a:pt x="578" y="440"/>
                    <a:pt x="582" y="443"/>
                  </a:cubicBezTo>
                  <a:cubicBezTo>
                    <a:pt x="587" y="446"/>
                    <a:pt x="593" y="440"/>
                    <a:pt x="594" y="446"/>
                  </a:cubicBezTo>
                  <a:cubicBezTo>
                    <a:pt x="596" y="450"/>
                    <a:pt x="622" y="455"/>
                    <a:pt x="625" y="447"/>
                  </a:cubicBezTo>
                  <a:cubicBezTo>
                    <a:pt x="626" y="441"/>
                    <a:pt x="617" y="441"/>
                    <a:pt x="623" y="433"/>
                  </a:cubicBezTo>
                  <a:cubicBezTo>
                    <a:pt x="629" y="424"/>
                    <a:pt x="626" y="424"/>
                    <a:pt x="640" y="429"/>
                  </a:cubicBezTo>
                  <a:cubicBezTo>
                    <a:pt x="652" y="435"/>
                    <a:pt x="657" y="429"/>
                    <a:pt x="657" y="436"/>
                  </a:cubicBezTo>
                  <a:cubicBezTo>
                    <a:pt x="657" y="444"/>
                    <a:pt x="664" y="450"/>
                    <a:pt x="672" y="447"/>
                  </a:cubicBezTo>
                  <a:cubicBezTo>
                    <a:pt x="681" y="444"/>
                    <a:pt x="683" y="444"/>
                    <a:pt x="693" y="449"/>
                  </a:cubicBezTo>
                  <a:cubicBezTo>
                    <a:pt x="704" y="452"/>
                    <a:pt x="698" y="455"/>
                    <a:pt x="712" y="458"/>
                  </a:cubicBezTo>
                  <a:cubicBezTo>
                    <a:pt x="731" y="463"/>
                    <a:pt x="724" y="455"/>
                    <a:pt x="736" y="457"/>
                  </a:cubicBezTo>
                  <a:cubicBezTo>
                    <a:pt x="748" y="457"/>
                    <a:pt x="745" y="441"/>
                    <a:pt x="756" y="447"/>
                  </a:cubicBezTo>
                  <a:cubicBezTo>
                    <a:pt x="765" y="453"/>
                    <a:pt x="765" y="447"/>
                    <a:pt x="771" y="452"/>
                  </a:cubicBezTo>
                  <a:cubicBezTo>
                    <a:pt x="779" y="457"/>
                    <a:pt x="782" y="457"/>
                    <a:pt x="788" y="450"/>
                  </a:cubicBezTo>
                  <a:cubicBezTo>
                    <a:pt x="794" y="444"/>
                    <a:pt x="792" y="440"/>
                    <a:pt x="800" y="430"/>
                  </a:cubicBezTo>
                  <a:cubicBezTo>
                    <a:pt x="806" y="422"/>
                    <a:pt x="803" y="419"/>
                    <a:pt x="798" y="419"/>
                  </a:cubicBezTo>
                  <a:cubicBezTo>
                    <a:pt x="794" y="419"/>
                    <a:pt x="800" y="410"/>
                    <a:pt x="815" y="408"/>
                  </a:cubicBezTo>
                  <a:cubicBezTo>
                    <a:pt x="829" y="407"/>
                    <a:pt x="833" y="412"/>
                    <a:pt x="838" y="412"/>
                  </a:cubicBezTo>
                  <a:cubicBezTo>
                    <a:pt x="842" y="412"/>
                    <a:pt x="852" y="424"/>
                    <a:pt x="855" y="440"/>
                  </a:cubicBezTo>
                  <a:cubicBezTo>
                    <a:pt x="856" y="457"/>
                    <a:pt x="859" y="455"/>
                    <a:pt x="868" y="457"/>
                  </a:cubicBezTo>
                  <a:cubicBezTo>
                    <a:pt x="877" y="458"/>
                    <a:pt x="874" y="463"/>
                    <a:pt x="879" y="463"/>
                  </a:cubicBezTo>
                  <a:cubicBezTo>
                    <a:pt x="884" y="464"/>
                    <a:pt x="879" y="468"/>
                    <a:pt x="882" y="469"/>
                  </a:cubicBezTo>
                  <a:cubicBezTo>
                    <a:pt x="885" y="471"/>
                    <a:pt x="879" y="472"/>
                    <a:pt x="884" y="475"/>
                  </a:cubicBezTo>
                  <a:cubicBezTo>
                    <a:pt x="888" y="480"/>
                    <a:pt x="894" y="478"/>
                    <a:pt x="899" y="474"/>
                  </a:cubicBezTo>
                  <a:cubicBezTo>
                    <a:pt x="903" y="471"/>
                    <a:pt x="903" y="475"/>
                    <a:pt x="908" y="471"/>
                  </a:cubicBezTo>
                  <a:cubicBezTo>
                    <a:pt x="912" y="466"/>
                    <a:pt x="917" y="474"/>
                    <a:pt x="912" y="480"/>
                  </a:cubicBezTo>
                  <a:cubicBezTo>
                    <a:pt x="908" y="488"/>
                    <a:pt x="905" y="511"/>
                    <a:pt x="899" y="508"/>
                  </a:cubicBezTo>
                  <a:cubicBezTo>
                    <a:pt x="893" y="505"/>
                    <a:pt x="891" y="503"/>
                    <a:pt x="890" y="506"/>
                  </a:cubicBezTo>
                  <a:cubicBezTo>
                    <a:pt x="888" y="511"/>
                    <a:pt x="882" y="506"/>
                    <a:pt x="885" y="513"/>
                  </a:cubicBezTo>
                  <a:cubicBezTo>
                    <a:pt x="887" y="519"/>
                    <a:pt x="888" y="525"/>
                    <a:pt x="885" y="530"/>
                  </a:cubicBezTo>
                  <a:cubicBezTo>
                    <a:pt x="884" y="536"/>
                    <a:pt x="882" y="530"/>
                    <a:pt x="881" y="536"/>
                  </a:cubicBezTo>
                  <a:cubicBezTo>
                    <a:pt x="881" y="536"/>
                    <a:pt x="881" y="536"/>
                    <a:pt x="882" y="539"/>
                  </a:cubicBezTo>
                  <a:cubicBezTo>
                    <a:pt x="885" y="536"/>
                    <a:pt x="882" y="534"/>
                    <a:pt x="884" y="536"/>
                  </a:cubicBezTo>
                  <a:cubicBezTo>
                    <a:pt x="887" y="536"/>
                    <a:pt x="887" y="536"/>
                    <a:pt x="888" y="533"/>
                  </a:cubicBezTo>
                  <a:cubicBezTo>
                    <a:pt x="890" y="530"/>
                    <a:pt x="888" y="528"/>
                    <a:pt x="891" y="528"/>
                  </a:cubicBezTo>
                  <a:cubicBezTo>
                    <a:pt x="893" y="528"/>
                    <a:pt x="890" y="533"/>
                    <a:pt x="893" y="530"/>
                  </a:cubicBezTo>
                  <a:cubicBezTo>
                    <a:pt x="896" y="528"/>
                    <a:pt x="893" y="533"/>
                    <a:pt x="896" y="533"/>
                  </a:cubicBezTo>
                  <a:cubicBezTo>
                    <a:pt x="897" y="533"/>
                    <a:pt x="899" y="534"/>
                    <a:pt x="900" y="534"/>
                  </a:cubicBezTo>
                  <a:cubicBezTo>
                    <a:pt x="902" y="536"/>
                    <a:pt x="902" y="534"/>
                    <a:pt x="906" y="533"/>
                  </a:cubicBezTo>
                  <a:cubicBezTo>
                    <a:pt x="909" y="533"/>
                    <a:pt x="908" y="531"/>
                    <a:pt x="914" y="528"/>
                  </a:cubicBezTo>
                  <a:cubicBezTo>
                    <a:pt x="919" y="525"/>
                    <a:pt x="922" y="516"/>
                    <a:pt x="934" y="505"/>
                  </a:cubicBezTo>
                  <a:cubicBezTo>
                    <a:pt x="944" y="492"/>
                    <a:pt x="941" y="486"/>
                    <a:pt x="946" y="483"/>
                  </a:cubicBezTo>
                  <a:cubicBezTo>
                    <a:pt x="952" y="478"/>
                    <a:pt x="947" y="478"/>
                    <a:pt x="954" y="472"/>
                  </a:cubicBezTo>
                  <a:cubicBezTo>
                    <a:pt x="961" y="466"/>
                    <a:pt x="961" y="449"/>
                    <a:pt x="960" y="444"/>
                  </a:cubicBezTo>
                  <a:cubicBezTo>
                    <a:pt x="958" y="440"/>
                    <a:pt x="961" y="440"/>
                    <a:pt x="963" y="435"/>
                  </a:cubicBezTo>
                  <a:cubicBezTo>
                    <a:pt x="964" y="429"/>
                    <a:pt x="970" y="427"/>
                    <a:pt x="966" y="422"/>
                  </a:cubicBezTo>
                  <a:cubicBezTo>
                    <a:pt x="963" y="419"/>
                    <a:pt x="967" y="419"/>
                    <a:pt x="964" y="416"/>
                  </a:cubicBezTo>
                  <a:cubicBezTo>
                    <a:pt x="963" y="412"/>
                    <a:pt x="970" y="413"/>
                    <a:pt x="966" y="408"/>
                  </a:cubicBezTo>
                  <a:cubicBezTo>
                    <a:pt x="960" y="405"/>
                    <a:pt x="958" y="402"/>
                    <a:pt x="957" y="401"/>
                  </a:cubicBezTo>
                  <a:cubicBezTo>
                    <a:pt x="954" y="398"/>
                    <a:pt x="951" y="401"/>
                    <a:pt x="947" y="399"/>
                  </a:cubicBezTo>
                  <a:cubicBezTo>
                    <a:pt x="944" y="398"/>
                    <a:pt x="947" y="405"/>
                    <a:pt x="940" y="407"/>
                  </a:cubicBezTo>
                  <a:cubicBezTo>
                    <a:pt x="929" y="410"/>
                    <a:pt x="943" y="396"/>
                    <a:pt x="935" y="399"/>
                  </a:cubicBezTo>
                  <a:cubicBezTo>
                    <a:pt x="929" y="401"/>
                    <a:pt x="937" y="404"/>
                    <a:pt x="931" y="404"/>
                  </a:cubicBezTo>
                  <a:cubicBezTo>
                    <a:pt x="925" y="404"/>
                    <a:pt x="937" y="394"/>
                    <a:pt x="926" y="394"/>
                  </a:cubicBezTo>
                  <a:cubicBezTo>
                    <a:pt x="917" y="394"/>
                    <a:pt x="912" y="393"/>
                    <a:pt x="925" y="385"/>
                  </a:cubicBezTo>
                  <a:cubicBezTo>
                    <a:pt x="938" y="376"/>
                    <a:pt x="940" y="376"/>
                    <a:pt x="943" y="368"/>
                  </a:cubicBezTo>
                  <a:cubicBezTo>
                    <a:pt x="946" y="360"/>
                    <a:pt x="957" y="360"/>
                    <a:pt x="960" y="351"/>
                  </a:cubicBezTo>
                  <a:cubicBezTo>
                    <a:pt x="964" y="342"/>
                    <a:pt x="979" y="332"/>
                    <a:pt x="987" y="334"/>
                  </a:cubicBezTo>
                  <a:cubicBezTo>
                    <a:pt x="995" y="337"/>
                    <a:pt x="998" y="332"/>
                    <a:pt x="1002" y="335"/>
                  </a:cubicBezTo>
                  <a:cubicBezTo>
                    <a:pt x="1007" y="338"/>
                    <a:pt x="1002" y="332"/>
                    <a:pt x="1013" y="334"/>
                  </a:cubicBezTo>
                  <a:cubicBezTo>
                    <a:pt x="1025" y="335"/>
                    <a:pt x="1025" y="338"/>
                    <a:pt x="1028" y="331"/>
                  </a:cubicBezTo>
                  <a:cubicBezTo>
                    <a:pt x="1028" y="329"/>
                    <a:pt x="1056" y="329"/>
                    <a:pt x="1047" y="337"/>
                  </a:cubicBezTo>
                  <a:cubicBezTo>
                    <a:pt x="1039" y="343"/>
                    <a:pt x="1059" y="338"/>
                    <a:pt x="1060" y="337"/>
                  </a:cubicBezTo>
                  <a:cubicBezTo>
                    <a:pt x="1063" y="332"/>
                    <a:pt x="1066" y="343"/>
                    <a:pt x="1074" y="337"/>
                  </a:cubicBezTo>
                  <a:cubicBezTo>
                    <a:pt x="1082" y="332"/>
                    <a:pt x="1059" y="332"/>
                    <a:pt x="1075" y="320"/>
                  </a:cubicBezTo>
                  <a:cubicBezTo>
                    <a:pt x="1092" y="309"/>
                    <a:pt x="1085" y="304"/>
                    <a:pt x="1104" y="303"/>
                  </a:cubicBezTo>
                  <a:cubicBezTo>
                    <a:pt x="1121" y="300"/>
                    <a:pt x="1107" y="323"/>
                    <a:pt x="1120" y="317"/>
                  </a:cubicBezTo>
                  <a:cubicBezTo>
                    <a:pt x="1132" y="310"/>
                    <a:pt x="1129" y="303"/>
                    <a:pt x="1136" y="306"/>
                  </a:cubicBezTo>
                  <a:cubicBezTo>
                    <a:pt x="1144" y="307"/>
                    <a:pt x="1132" y="290"/>
                    <a:pt x="1146" y="290"/>
                  </a:cubicBezTo>
                  <a:cubicBezTo>
                    <a:pt x="1159" y="292"/>
                    <a:pt x="1147" y="290"/>
                    <a:pt x="1146" y="304"/>
                  </a:cubicBezTo>
                  <a:cubicBezTo>
                    <a:pt x="1142" y="318"/>
                    <a:pt x="1133" y="314"/>
                    <a:pt x="1121" y="329"/>
                  </a:cubicBezTo>
                  <a:cubicBezTo>
                    <a:pt x="1109" y="345"/>
                    <a:pt x="1103" y="351"/>
                    <a:pt x="1095" y="352"/>
                  </a:cubicBezTo>
                  <a:cubicBezTo>
                    <a:pt x="1086" y="356"/>
                    <a:pt x="1094" y="359"/>
                    <a:pt x="1086" y="365"/>
                  </a:cubicBezTo>
                  <a:cubicBezTo>
                    <a:pt x="1077" y="371"/>
                    <a:pt x="1080" y="398"/>
                    <a:pt x="1085" y="421"/>
                  </a:cubicBezTo>
                  <a:cubicBezTo>
                    <a:pt x="1086" y="430"/>
                    <a:pt x="1085" y="449"/>
                    <a:pt x="1098" y="429"/>
                  </a:cubicBezTo>
                  <a:cubicBezTo>
                    <a:pt x="1107" y="416"/>
                    <a:pt x="1098" y="412"/>
                    <a:pt x="1111" y="412"/>
                  </a:cubicBezTo>
                  <a:cubicBezTo>
                    <a:pt x="1120" y="412"/>
                    <a:pt x="1109" y="396"/>
                    <a:pt x="1121" y="396"/>
                  </a:cubicBezTo>
                  <a:cubicBezTo>
                    <a:pt x="1139" y="394"/>
                    <a:pt x="1124" y="387"/>
                    <a:pt x="1129" y="379"/>
                  </a:cubicBezTo>
                  <a:cubicBezTo>
                    <a:pt x="1133" y="370"/>
                    <a:pt x="1139" y="382"/>
                    <a:pt x="1141" y="374"/>
                  </a:cubicBezTo>
                  <a:cubicBezTo>
                    <a:pt x="1142" y="365"/>
                    <a:pt x="1130" y="368"/>
                    <a:pt x="1136" y="360"/>
                  </a:cubicBezTo>
                  <a:cubicBezTo>
                    <a:pt x="1147" y="348"/>
                    <a:pt x="1121" y="354"/>
                    <a:pt x="1133" y="345"/>
                  </a:cubicBezTo>
                  <a:cubicBezTo>
                    <a:pt x="1146" y="334"/>
                    <a:pt x="1138" y="329"/>
                    <a:pt x="1146" y="326"/>
                  </a:cubicBezTo>
                  <a:cubicBezTo>
                    <a:pt x="1155" y="323"/>
                    <a:pt x="1147" y="331"/>
                    <a:pt x="1158" y="323"/>
                  </a:cubicBezTo>
                  <a:cubicBezTo>
                    <a:pt x="1171" y="312"/>
                    <a:pt x="1155" y="337"/>
                    <a:pt x="1167" y="326"/>
                  </a:cubicBezTo>
                  <a:cubicBezTo>
                    <a:pt x="1181" y="314"/>
                    <a:pt x="1188" y="318"/>
                    <a:pt x="1194" y="326"/>
                  </a:cubicBezTo>
                  <a:cubicBezTo>
                    <a:pt x="1200" y="332"/>
                    <a:pt x="1190" y="325"/>
                    <a:pt x="1213" y="312"/>
                  </a:cubicBezTo>
                  <a:cubicBezTo>
                    <a:pt x="1222" y="307"/>
                    <a:pt x="1229" y="298"/>
                    <a:pt x="1241" y="295"/>
                  </a:cubicBezTo>
                  <a:cubicBezTo>
                    <a:pt x="1263" y="287"/>
                    <a:pt x="1263" y="298"/>
                    <a:pt x="1267" y="293"/>
                  </a:cubicBezTo>
                  <a:cubicBezTo>
                    <a:pt x="1273" y="287"/>
                    <a:pt x="1266" y="286"/>
                    <a:pt x="1263" y="275"/>
                  </a:cubicBezTo>
                  <a:cubicBezTo>
                    <a:pt x="1258" y="262"/>
                    <a:pt x="1255" y="275"/>
                    <a:pt x="1252" y="265"/>
                  </a:cubicBezTo>
                  <a:cubicBezTo>
                    <a:pt x="1251" y="259"/>
                    <a:pt x="1264" y="269"/>
                    <a:pt x="1270" y="259"/>
                  </a:cubicBezTo>
                  <a:cubicBezTo>
                    <a:pt x="1272" y="258"/>
                    <a:pt x="1273" y="258"/>
                    <a:pt x="1273" y="256"/>
                  </a:cubicBezTo>
                  <a:cubicBezTo>
                    <a:pt x="1273" y="256"/>
                    <a:pt x="1273" y="256"/>
                    <a:pt x="1273" y="256"/>
                  </a:cubicBezTo>
                  <a:close/>
                  <a:moveTo>
                    <a:pt x="969" y="421"/>
                  </a:moveTo>
                  <a:cubicBezTo>
                    <a:pt x="967" y="424"/>
                    <a:pt x="970" y="422"/>
                    <a:pt x="969" y="425"/>
                  </a:cubicBezTo>
                  <a:cubicBezTo>
                    <a:pt x="967" y="429"/>
                    <a:pt x="970" y="429"/>
                    <a:pt x="970" y="430"/>
                  </a:cubicBezTo>
                  <a:cubicBezTo>
                    <a:pt x="969" y="430"/>
                    <a:pt x="972" y="430"/>
                    <a:pt x="973" y="435"/>
                  </a:cubicBezTo>
                  <a:cubicBezTo>
                    <a:pt x="975" y="438"/>
                    <a:pt x="970" y="441"/>
                    <a:pt x="972" y="444"/>
                  </a:cubicBezTo>
                  <a:cubicBezTo>
                    <a:pt x="973" y="449"/>
                    <a:pt x="972" y="461"/>
                    <a:pt x="970" y="464"/>
                  </a:cubicBezTo>
                  <a:cubicBezTo>
                    <a:pt x="969" y="468"/>
                    <a:pt x="975" y="468"/>
                    <a:pt x="972" y="477"/>
                  </a:cubicBezTo>
                  <a:cubicBezTo>
                    <a:pt x="969" y="481"/>
                    <a:pt x="973" y="485"/>
                    <a:pt x="972" y="488"/>
                  </a:cubicBezTo>
                  <a:cubicBezTo>
                    <a:pt x="969" y="491"/>
                    <a:pt x="970" y="492"/>
                    <a:pt x="970" y="496"/>
                  </a:cubicBezTo>
                  <a:cubicBezTo>
                    <a:pt x="972" y="500"/>
                    <a:pt x="973" y="499"/>
                    <a:pt x="973" y="494"/>
                  </a:cubicBezTo>
                  <a:cubicBezTo>
                    <a:pt x="975" y="489"/>
                    <a:pt x="977" y="488"/>
                    <a:pt x="978" y="489"/>
                  </a:cubicBezTo>
                  <a:cubicBezTo>
                    <a:pt x="978" y="491"/>
                    <a:pt x="979" y="489"/>
                    <a:pt x="981" y="491"/>
                  </a:cubicBezTo>
                  <a:cubicBezTo>
                    <a:pt x="983" y="491"/>
                    <a:pt x="983" y="497"/>
                    <a:pt x="983" y="496"/>
                  </a:cubicBezTo>
                  <a:cubicBezTo>
                    <a:pt x="986" y="491"/>
                    <a:pt x="984" y="492"/>
                    <a:pt x="984" y="489"/>
                  </a:cubicBezTo>
                  <a:cubicBezTo>
                    <a:pt x="984" y="486"/>
                    <a:pt x="984" y="488"/>
                    <a:pt x="981" y="488"/>
                  </a:cubicBezTo>
                  <a:cubicBezTo>
                    <a:pt x="979" y="486"/>
                    <a:pt x="979" y="483"/>
                    <a:pt x="978" y="480"/>
                  </a:cubicBezTo>
                  <a:cubicBezTo>
                    <a:pt x="973" y="477"/>
                    <a:pt x="977" y="468"/>
                    <a:pt x="978" y="464"/>
                  </a:cubicBezTo>
                  <a:cubicBezTo>
                    <a:pt x="981" y="463"/>
                    <a:pt x="978" y="460"/>
                    <a:pt x="981" y="458"/>
                  </a:cubicBezTo>
                  <a:cubicBezTo>
                    <a:pt x="984" y="458"/>
                    <a:pt x="987" y="458"/>
                    <a:pt x="990" y="461"/>
                  </a:cubicBezTo>
                  <a:cubicBezTo>
                    <a:pt x="992" y="464"/>
                    <a:pt x="993" y="468"/>
                    <a:pt x="993" y="464"/>
                  </a:cubicBezTo>
                  <a:cubicBezTo>
                    <a:pt x="993" y="463"/>
                    <a:pt x="990" y="460"/>
                    <a:pt x="989" y="457"/>
                  </a:cubicBezTo>
                  <a:cubicBezTo>
                    <a:pt x="989" y="452"/>
                    <a:pt x="986" y="446"/>
                    <a:pt x="984" y="441"/>
                  </a:cubicBezTo>
                  <a:cubicBezTo>
                    <a:pt x="984" y="436"/>
                    <a:pt x="983" y="435"/>
                    <a:pt x="983" y="432"/>
                  </a:cubicBezTo>
                  <a:cubicBezTo>
                    <a:pt x="983" y="429"/>
                    <a:pt x="981" y="433"/>
                    <a:pt x="981" y="430"/>
                  </a:cubicBezTo>
                  <a:cubicBezTo>
                    <a:pt x="983" y="425"/>
                    <a:pt x="981" y="430"/>
                    <a:pt x="981" y="427"/>
                  </a:cubicBezTo>
                  <a:cubicBezTo>
                    <a:pt x="979" y="422"/>
                    <a:pt x="984" y="422"/>
                    <a:pt x="983" y="413"/>
                  </a:cubicBezTo>
                  <a:cubicBezTo>
                    <a:pt x="981" y="407"/>
                    <a:pt x="979" y="410"/>
                    <a:pt x="981" y="408"/>
                  </a:cubicBezTo>
                  <a:cubicBezTo>
                    <a:pt x="981" y="407"/>
                    <a:pt x="979" y="408"/>
                    <a:pt x="979" y="407"/>
                  </a:cubicBezTo>
                  <a:cubicBezTo>
                    <a:pt x="979" y="404"/>
                    <a:pt x="978" y="404"/>
                    <a:pt x="979" y="402"/>
                  </a:cubicBezTo>
                  <a:cubicBezTo>
                    <a:pt x="981" y="401"/>
                    <a:pt x="979" y="399"/>
                    <a:pt x="978" y="398"/>
                  </a:cubicBezTo>
                  <a:cubicBezTo>
                    <a:pt x="977" y="394"/>
                    <a:pt x="978" y="398"/>
                    <a:pt x="975" y="398"/>
                  </a:cubicBezTo>
                  <a:cubicBezTo>
                    <a:pt x="972" y="399"/>
                    <a:pt x="978" y="401"/>
                    <a:pt x="977" y="404"/>
                  </a:cubicBezTo>
                  <a:cubicBezTo>
                    <a:pt x="977" y="407"/>
                    <a:pt x="975" y="405"/>
                    <a:pt x="975" y="407"/>
                  </a:cubicBezTo>
                  <a:cubicBezTo>
                    <a:pt x="975" y="408"/>
                    <a:pt x="978" y="407"/>
                    <a:pt x="975" y="408"/>
                  </a:cubicBezTo>
                  <a:cubicBezTo>
                    <a:pt x="973" y="412"/>
                    <a:pt x="975" y="407"/>
                    <a:pt x="972" y="408"/>
                  </a:cubicBezTo>
                  <a:cubicBezTo>
                    <a:pt x="970" y="408"/>
                    <a:pt x="969" y="408"/>
                    <a:pt x="970" y="412"/>
                  </a:cubicBezTo>
                  <a:cubicBezTo>
                    <a:pt x="970" y="413"/>
                    <a:pt x="970" y="416"/>
                    <a:pt x="969" y="421"/>
                  </a:cubicBezTo>
                  <a:close/>
                  <a:moveTo>
                    <a:pt x="1007" y="517"/>
                  </a:moveTo>
                  <a:cubicBezTo>
                    <a:pt x="1010" y="516"/>
                    <a:pt x="1004" y="514"/>
                    <a:pt x="1004" y="516"/>
                  </a:cubicBezTo>
                  <a:cubicBezTo>
                    <a:pt x="1002" y="519"/>
                    <a:pt x="998" y="520"/>
                    <a:pt x="999" y="523"/>
                  </a:cubicBezTo>
                  <a:cubicBezTo>
                    <a:pt x="1001" y="525"/>
                    <a:pt x="1001" y="519"/>
                    <a:pt x="1007" y="517"/>
                  </a:cubicBezTo>
                  <a:close/>
                  <a:moveTo>
                    <a:pt x="1015" y="511"/>
                  </a:moveTo>
                  <a:cubicBezTo>
                    <a:pt x="1018" y="508"/>
                    <a:pt x="1018" y="509"/>
                    <a:pt x="1021" y="506"/>
                  </a:cubicBezTo>
                  <a:cubicBezTo>
                    <a:pt x="1024" y="505"/>
                    <a:pt x="1028" y="506"/>
                    <a:pt x="1025" y="503"/>
                  </a:cubicBezTo>
                  <a:cubicBezTo>
                    <a:pt x="1024" y="502"/>
                    <a:pt x="1022" y="506"/>
                    <a:pt x="1019" y="505"/>
                  </a:cubicBezTo>
                  <a:cubicBezTo>
                    <a:pt x="1018" y="503"/>
                    <a:pt x="1021" y="506"/>
                    <a:pt x="1018" y="506"/>
                  </a:cubicBezTo>
                  <a:cubicBezTo>
                    <a:pt x="1015" y="508"/>
                    <a:pt x="1012" y="509"/>
                    <a:pt x="1010" y="514"/>
                  </a:cubicBezTo>
                  <a:cubicBezTo>
                    <a:pt x="1010" y="516"/>
                    <a:pt x="1013" y="516"/>
                    <a:pt x="1015" y="511"/>
                  </a:cubicBezTo>
                  <a:close/>
                  <a:moveTo>
                    <a:pt x="1031" y="500"/>
                  </a:moveTo>
                  <a:cubicBezTo>
                    <a:pt x="1033" y="497"/>
                    <a:pt x="1037" y="494"/>
                    <a:pt x="1039" y="494"/>
                  </a:cubicBezTo>
                  <a:cubicBezTo>
                    <a:pt x="1040" y="496"/>
                    <a:pt x="1030" y="505"/>
                    <a:pt x="1031" y="500"/>
                  </a:cubicBezTo>
                  <a:close/>
                  <a:moveTo>
                    <a:pt x="1071" y="461"/>
                  </a:moveTo>
                  <a:cubicBezTo>
                    <a:pt x="1071" y="460"/>
                    <a:pt x="1072" y="453"/>
                    <a:pt x="1074" y="455"/>
                  </a:cubicBezTo>
                  <a:cubicBezTo>
                    <a:pt x="1075" y="457"/>
                    <a:pt x="1071" y="461"/>
                    <a:pt x="1071" y="461"/>
                  </a:cubicBezTo>
                  <a:close/>
                  <a:moveTo>
                    <a:pt x="1066" y="464"/>
                  </a:moveTo>
                  <a:cubicBezTo>
                    <a:pt x="1068" y="464"/>
                    <a:pt x="1069" y="463"/>
                    <a:pt x="1069" y="463"/>
                  </a:cubicBezTo>
                  <a:cubicBezTo>
                    <a:pt x="1069" y="464"/>
                    <a:pt x="1066" y="466"/>
                    <a:pt x="1066" y="464"/>
                  </a:cubicBezTo>
                  <a:close/>
                  <a:moveTo>
                    <a:pt x="1060" y="477"/>
                  </a:moveTo>
                  <a:cubicBezTo>
                    <a:pt x="1059" y="477"/>
                    <a:pt x="1059" y="475"/>
                    <a:pt x="1060" y="475"/>
                  </a:cubicBezTo>
                  <a:cubicBezTo>
                    <a:pt x="1060" y="477"/>
                    <a:pt x="1060" y="478"/>
                    <a:pt x="1060" y="477"/>
                  </a:cubicBezTo>
                  <a:close/>
                  <a:moveTo>
                    <a:pt x="1054" y="481"/>
                  </a:moveTo>
                  <a:cubicBezTo>
                    <a:pt x="1054" y="481"/>
                    <a:pt x="1056" y="480"/>
                    <a:pt x="1056" y="481"/>
                  </a:cubicBezTo>
                  <a:cubicBezTo>
                    <a:pt x="1056" y="481"/>
                    <a:pt x="1056" y="483"/>
                    <a:pt x="1054" y="481"/>
                  </a:cubicBezTo>
                  <a:close/>
                  <a:moveTo>
                    <a:pt x="1082" y="447"/>
                  </a:moveTo>
                  <a:cubicBezTo>
                    <a:pt x="1085" y="447"/>
                    <a:pt x="1085" y="441"/>
                    <a:pt x="1083" y="441"/>
                  </a:cubicBezTo>
                  <a:cubicBezTo>
                    <a:pt x="1082" y="441"/>
                    <a:pt x="1082" y="444"/>
                    <a:pt x="1080" y="446"/>
                  </a:cubicBezTo>
                  <a:cubicBezTo>
                    <a:pt x="1077" y="446"/>
                    <a:pt x="1075" y="447"/>
                    <a:pt x="1077" y="449"/>
                  </a:cubicBezTo>
                  <a:cubicBezTo>
                    <a:pt x="1079" y="452"/>
                    <a:pt x="1079" y="449"/>
                    <a:pt x="1082" y="447"/>
                  </a:cubicBezTo>
                  <a:close/>
                  <a:moveTo>
                    <a:pt x="1085" y="443"/>
                  </a:moveTo>
                  <a:cubicBezTo>
                    <a:pt x="1083" y="441"/>
                    <a:pt x="1086" y="440"/>
                    <a:pt x="1088" y="440"/>
                  </a:cubicBezTo>
                  <a:cubicBezTo>
                    <a:pt x="1088" y="441"/>
                    <a:pt x="1086" y="443"/>
                    <a:pt x="1085" y="443"/>
                  </a:cubicBezTo>
                  <a:close/>
                  <a:moveTo>
                    <a:pt x="1162" y="385"/>
                  </a:moveTo>
                  <a:cubicBezTo>
                    <a:pt x="1165" y="384"/>
                    <a:pt x="1170" y="396"/>
                    <a:pt x="1167" y="393"/>
                  </a:cubicBezTo>
                  <a:cubicBezTo>
                    <a:pt x="1164" y="390"/>
                    <a:pt x="1161" y="387"/>
                    <a:pt x="1162" y="385"/>
                  </a:cubicBezTo>
                  <a:close/>
                  <a:moveTo>
                    <a:pt x="0" y="396"/>
                  </a:moveTo>
                  <a:cubicBezTo>
                    <a:pt x="11" y="398"/>
                    <a:pt x="20" y="399"/>
                    <a:pt x="26" y="398"/>
                  </a:cubicBezTo>
                  <a:cubicBezTo>
                    <a:pt x="25" y="393"/>
                    <a:pt x="28" y="391"/>
                    <a:pt x="25" y="390"/>
                  </a:cubicBezTo>
                  <a:cubicBezTo>
                    <a:pt x="22" y="387"/>
                    <a:pt x="25" y="391"/>
                    <a:pt x="14" y="387"/>
                  </a:cubicBezTo>
                  <a:cubicBezTo>
                    <a:pt x="14" y="388"/>
                    <a:pt x="13" y="387"/>
                    <a:pt x="14" y="388"/>
                  </a:cubicBezTo>
                  <a:cubicBezTo>
                    <a:pt x="14" y="391"/>
                    <a:pt x="11" y="391"/>
                    <a:pt x="10" y="391"/>
                  </a:cubicBezTo>
                  <a:cubicBezTo>
                    <a:pt x="8" y="390"/>
                    <a:pt x="11" y="388"/>
                    <a:pt x="11" y="387"/>
                  </a:cubicBezTo>
                  <a:cubicBezTo>
                    <a:pt x="13" y="385"/>
                    <a:pt x="11" y="385"/>
                    <a:pt x="10" y="388"/>
                  </a:cubicBezTo>
                  <a:cubicBezTo>
                    <a:pt x="7" y="391"/>
                    <a:pt x="8" y="390"/>
                    <a:pt x="5" y="390"/>
                  </a:cubicBezTo>
                  <a:cubicBezTo>
                    <a:pt x="2" y="390"/>
                    <a:pt x="5" y="393"/>
                    <a:pt x="0" y="396"/>
                  </a:cubicBezTo>
                  <a:close/>
                  <a:moveTo>
                    <a:pt x="1142" y="342"/>
                  </a:moveTo>
                  <a:cubicBezTo>
                    <a:pt x="1147" y="337"/>
                    <a:pt x="1152" y="334"/>
                    <a:pt x="1152" y="337"/>
                  </a:cubicBezTo>
                  <a:cubicBezTo>
                    <a:pt x="1152" y="340"/>
                    <a:pt x="1141" y="345"/>
                    <a:pt x="1142" y="342"/>
                  </a:cubicBezTo>
                  <a:close/>
                  <a:moveTo>
                    <a:pt x="937" y="393"/>
                  </a:moveTo>
                  <a:cubicBezTo>
                    <a:pt x="934" y="390"/>
                    <a:pt x="935" y="387"/>
                    <a:pt x="938" y="388"/>
                  </a:cubicBezTo>
                  <a:cubicBezTo>
                    <a:pt x="943" y="388"/>
                    <a:pt x="940" y="394"/>
                    <a:pt x="937" y="393"/>
                  </a:cubicBezTo>
                  <a:close/>
                  <a:moveTo>
                    <a:pt x="1274" y="175"/>
                  </a:moveTo>
                  <a:cubicBezTo>
                    <a:pt x="1274" y="175"/>
                    <a:pt x="1274" y="175"/>
                    <a:pt x="1274" y="175"/>
                  </a:cubicBezTo>
                  <a:cubicBezTo>
                    <a:pt x="1278" y="175"/>
                    <a:pt x="1284" y="174"/>
                    <a:pt x="1289" y="172"/>
                  </a:cubicBezTo>
                  <a:cubicBezTo>
                    <a:pt x="1301" y="171"/>
                    <a:pt x="1287" y="163"/>
                    <a:pt x="1278" y="164"/>
                  </a:cubicBezTo>
                  <a:cubicBezTo>
                    <a:pt x="1277" y="164"/>
                    <a:pt x="1275" y="164"/>
                    <a:pt x="1274" y="164"/>
                  </a:cubicBezTo>
                  <a:cubicBezTo>
                    <a:pt x="1273" y="164"/>
                    <a:pt x="1273" y="164"/>
                    <a:pt x="1273" y="164"/>
                  </a:cubicBezTo>
                  <a:cubicBezTo>
                    <a:pt x="1267" y="166"/>
                    <a:pt x="1263" y="171"/>
                    <a:pt x="1261" y="174"/>
                  </a:cubicBezTo>
                  <a:cubicBezTo>
                    <a:pt x="1261" y="177"/>
                    <a:pt x="1267" y="177"/>
                    <a:pt x="1273" y="175"/>
                  </a:cubicBezTo>
                  <a:lnTo>
                    <a:pt x="1274" y="175"/>
                  </a:lnTo>
                  <a:close/>
                  <a:moveTo>
                    <a:pt x="1188" y="192"/>
                  </a:moveTo>
                  <a:cubicBezTo>
                    <a:pt x="1185" y="196"/>
                    <a:pt x="1174" y="191"/>
                    <a:pt x="1176" y="189"/>
                  </a:cubicBezTo>
                  <a:cubicBezTo>
                    <a:pt x="1179" y="188"/>
                    <a:pt x="1191" y="189"/>
                    <a:pt x="1188" y="192"/>
                  </a:cubicBezTo>
                  <a:close/>
                  <a:moveTo>
                    <a:pt x="978" y="132"/>
                  </a:moveTo>
                  <a:cubicBezTo>
                    <a:pt x="969" y="127"/>
                    <a:pt x="964" y="132"/>
                    <a:pt x="957" y="136"/>
                  </a:cubicBezTo>
                  <a:cubicBezTo>
                    <a:pt x="951" y="141"/>
                    <a:pt x="958" y="136"/>
                    <a:pt x="970" y="139"/>
                  </a:cubicBezTo>
                  <a:cubicBezTo>
                    <a:pt x="990" y="143"/>
                    <a:pt x="987" y="136"/>
                    <a:pt x="978" y="132"/>
                  </a:cubicBezTo>
                  <a:close/>
                  <a:moveTo>
                    <a:pt x="1034" y="116"/>
                  </a:moveTo>
                  <a:cubicBezTo>
                    <a:pt x="1042" y="116"/>
                    <a:pt x="1044" y="110"/>
                    <a:pt x="1039" y="112"/>
                  </a:cubicBezTo>
                  <a:cubicBezTo>
                    <a:pt x="1036" y="112"/>
                    <a:pt x="1036" y="105"/>
                    <a:pt x="1028" y="109"/>
                  </a:cubicBezTo>
                  <a:cubicBezTo>
                    <a:pt x="1021" y="112"/>
                    <a:pt x="1030" y="105"/>
                    <a:pt x="1018" y="107"/>
                  </a:cubicBezTo>
                  <a:cubicBezTo>
                    <a:pt x="1005" y="109"/>
                    <a:pt x="1009" y="102"/>
                    <a:pt x="1007" y="105"/>
                  </a:cubicBezTo>
                  <a:cubicBezTo>
                    <a:pt x="1004" y="107"/>
                    <a:pt x="999" y="112"/>
                    <a:pt x="1016" y="115"/>
                  </a:cubicBezTo>
                  <a:cubicBezTo>
                    <a:pt x="1025" y="118"/>
                    <a:pt x="1027" y="116"/>
                    <a:pt x="1034" y="116"/>
                  </a:cubicBezTo>
                  <a:close/>
                  <a:moveTo>
                    <a:pt x="996" y="105"/>
                  </a:moveTo>
                  <a:cubicBezTo>
                    <a:pt x="1002" y="105"/>
                    <a:pt x="989" y="99"/>
                    <a:pt x="981" y="101"/>
                  </a:cubicBezTo>
                  <a:cubicBezTo>
                    <a:pt x="975" y="102"/>
                    <a:pt x="970" y="93"/>
                    <a:pt x="964" y="96"/>
                  </a:cubicBezTo>
                  <a:cubicBezTo>
                    <a:pt x="958" y="99"/>
                    <a:pt x="966" y="102"/>
                    <a:pt x="963" y="104"/>
                  </a:cubicBezTo>
                  <a:cubicBezTo>
                    <a:pt x="960" y="104"/>
                    <a:pt x="952" y="98"/>
                    <a:pt x="947" y="94"/>
                  </a:cubicBezTo>
                  <a:cubicBezTo>
                    <a:pt x="943" y="93"/>
                    <a:pt x="941" y="94"/>
                    <a:pt x="935" y="99"/>
                  </a:cubicBezTo>
                  <a:cubicBezTo>
                    <a:pt x="929" y="102"/>
                    <a:pt x="937" y="105"/>
                    <a:pt x="934" y="107"/>
                  </a:cubicBezTo>
                  <a:cubicBezTo>
                    <a:pt x="929" y="109"/>
                    <a:pt x="935" y="113"/>
                    <a:pt x="946" y="118"/>
                  </a:cubicBezTo>
                  <a:cubicBezTo>
                    <a:pt x="955" y="121"/>
                    <a:pt x="949" y="113"/>
                    <a:pt x="957" y="115"/>
                  </a:cubicBezTo>
                  <a:cubicBezTo>
                    <a:pt x="964" y="118"/>
                    <a:pt x="967" y="110"/>
                    <a:pt x="972" y="115"/>
                  </a:cubicBezTo>
                  <a:cubicBezTo>
                    <a:pt x="977" y="118"/>
                    <a:pt x="983" y="113"/>
                    <a:pt x="992" y="112"/>
                  </a:cubicBezTo>
                  <a:cubicBezTo>
                    <a:pt x="999" y="109"/>
                    <a:pt x="989" y="105"/>
                    <a:pt x="996" y="105"/>
                  </a:cubicBezTo>
                  <a:close/>
                  <a:moveTo>
                    <a:pt x="923" y="107"/>
                  </a:moveTo>
                  <a:cubicBezTo>
                    <a:pt x="917" y="110"/>
                    <a:pt x="920" y="98"/>
                    <a:pt x="923" y="101"/>
                  </a:cubicBezTo>
                  <a:cubicBezTo>
                    <a:pt x="926" y="104"/>
                    <a:pt x="926" y="105"/>
                    <a:pt x="923" y="107"/>
                  </a:cubicBezTo>
                  <a:close/>
                  <a:moveTo>
                    <a:pt x="850" y="150"/>
                  </a:moveTo>
                  <a:cubicBezTo>
                    <a:pt x="853" y="150"/>
                    <a:pt x="852" y="150"/>
                    <a:pt x="858" y="152"/>
                  </a:cubicBezTo>
                  <a:cubicBezTo>
                    <a:pt x="865" y="155"/>
                    <a:pt x="870" y="160"/>
                    <a:pt x="873" y="155"/>
                  </a:cubicBezTo>
                  <a:cubicBezTo>
                    <a:pt x="874" y="150"/>
                    <a:pt x="862" y="150"/>
                    <a:pt x="870" y="149"/>
                  </a:cubicBezTo>
                  <a:cubicBezTo>
                    <a:pt x="876" y="147"/>
                    <a:pt x="861" y="146"/>
                    <a:pt x="868" y="144"/>
                  </a:cubicBezTo>
                  <a:cubicBezTo>
                    <a:pt x="876" y="143"/>
                    <a:pt x="864" y="138"/>
                    <a:pt x="858" y="136"/>
                  </a:cubicBezTo>
                  <a:cubicBezTo>
                    <a:pt x="852" y="133"/>
                    <a:pt x="850" y="143"/>
                    <a:pt x="849" y="138"/>
                  </a:cubicBezTo>
                  <a:cubicBezTo>
                    <a:pt x="847" y="133"/>
                    <a:pt x="842" y="136"/>
                    <a:pt x="836" y="133"/>
                  </a:cubicBezTo>
                  <a:cubicBezTo>
                    <a:pt x="830" y="130"/>
                    <a:pt x="820" y="135"/>
                    <a:pt x="824" y="138"/>
                  </a:cubicBezTo>
                  <a:cubicBezTo>
                    <a:pt x="829" y="143"/>
                    <a:pt x="815" y="144"/>
                    <a:pt x="824" y="146"/>
                  </a:cubicBezTo>
                  <a:cubicBezTo>
                    <a:pt x="832" y="147"/>
                    <a:pt x="835" y="147"/>
                    <a:pt x="845" y="154"/>
                  </a:cubicBezTo>
                  <a:cubicBezTo>
                    <a:pt x="852" y="155"/>
                    <a:pt x="845" y="150"/>
                    <a:pt x="850" y="150"/>
                  </a:cubicBezTo>
                  <a:close/>
                  <a:moveTo>
                    <a:pt x="739" y="121"/>
                  </a:moveTo>
                  <a:cubicBezTo>
                    <a:pt x="731" y="119"/>
                    <a:pt x="727" y="122"/>
                    <a:pt x="734" y="126"/>
                  </a:cubicBezTo>
                  <a:cubicBezTo>
                    <a:pt x="743" y="130"/>
                    <a:pt x="748" y="121"/>
                    <a:pt x="739" y="121"/>
                  </a:cubicBezTo>
                  <a:close/>
                  <a:moveTo>
                    <a:pt x="640" y="65"/>
                  </a:moveTo>
                  <a:cubicBezTo>
                    <a:pt x="648" y="63"/>
                    <a:pt x="654" y="62"/>
                    <a:pt x="667" y="62"/>
                  </a:cubicBezTo>
                  <a:cubicBezTo>
                    <a:pt x="683" y="60"/>
                    <a:pt x="684" y="57"/>
                    <a:pt x="676" y="53"/>
                  </a:cubicBezTo>
                  <a:cubicBezTo>
                    <a:pt x="669" y="46"/>
                    <a:pt x="670" y="45"/>
                    <a:pt x="660" y="51"/>
                  </a:cubicBezTo>
                  <a:cubicBezTo>
                    <a:pt x="651" y="59"/>
                    <a:pt x="667" y="45"/>
                    <a:pt x="663" y="43"/>
                  </a:cubicBezTo>
                  <a:cubicBezTo>
                    <a:pt x="658" y="42"/>
                    <a:pt x="652" y="39"/>
                    <a:pt x="648" y="48"/>
                  </a:cubicBezTo>
                  <a:cubicBezTo>
                    <a:pt x="641" y="57"/>
                    <a:pt x="641" y="49"/>
                    <a:pt x="635" y="63"/>
                  </a:cubicBezTo>
                  <a:cubicBezTo>
                    <a:pt x="632" y="66"/>
                    <a:pt x="634" y="68"/>
                    <a:pt x="640" y="65"/>
                  </a:cubicBezTo>
                  <a:close/>
                  <a:moveTo>
                    <a:pt x="617" y="51"/>
                  </a:moveTo>
                  <a:cubicBezTo>
                    <a:pt x="628" y="56"/>
                    <a:pt x="641" y="51"/>
                    <a:pt x="637" y="48"/>
                  </a:cubicBezTo>
                  <a:cubicBezTo>
                    <a:pt x="632" y="45"/>
                    <a:pt x="643" y="37"/>
                    <a:pt x="638" y="35"/>
                  </a:cubicBezTo>
                  <a:cubicBezTo>
                    <a:pt x="632" y="32"/>
                    <a:pt x="635" y="29"/>
                    <a:pt x="626" y="34"/>
                  </a:cubicBezTo>
                  <a:cubicBezTo>
                    <a:pt x="616" y="37"/>
                    <a:pt x="625" y="31"/>
                    <a:pt x="620" y="31"/>
                  </a:cubicBezTo>
                  <a:cubicBezTo>
                    <a:pt x="616" y="31"/>
                    <a:pt x="603" y="29"/>
                    <a:pt x="597" y="32"/>
                  </a:cubicBezTo>
                  <a:cubicBezTo>
                    <a:pt x="591" y="37"/>
                    <a:pt x="579" y="42"/>
                    <a:pt x="588" y="42"/>
                  </a:cubicBezTo>
                  <a:cubicBezTo>
                    <a:pt x="599" y="42"/>
                    <a:pt x="591" y="45"/>
                    <a:pt x="597" y="48"/>
                  </a:cubicBezTo>
                  <a:cubicBezTo>
                    <a:pt x="600" y="49"/>
                    <a:pt x="605" y="48"/>
                    <a:pt x="617" y="51"/>
                  </a:cubicBezTo>
                  <a:close/>
                  <a:moveTo>
                    <a:pt x="576" y="31"/>
                  </a:moveTo>
                  <a:cubicBezTo>
                    <a:pt x="567" y="31"/>
                    <a:pt x="565" y="34"/>
                    <a:pt x="571" y="35"/>
                  </a:cubicBezTo>
                  <a:cubicBezTo>
                    <a:pt x="578" y="37"/>
                    <a:pt x="574" y="40"/>
                    <a:pt x="581" y="39"/>
                  </a:cubicBezTo>
                  <a:cubicBezTo>
                    <a:pt x="599" y="34"/>
                    <a:pt x="584" y="32"/>
                    <a:pt x="576" y="31"/>
                  </a:cubicBezTo>
                  <a:close/>
                  <a:moveTo>
                    <a:pt x="600" y="29"/>
                  </a:moveTo>
                  <a:cubicBezTo>
                    <a:pt x="614" y="28"/>
                    <a:pt x="620" y="31"/>
                    <a:pt x="616" y="25"/>
                  </a:cubicBezTo>
                  <a:cubicBezTo>
                    <a:pt x="613" y="20"/>
                    <a:pt x="623" y="23"/>
                    <a:pt x="622" y="20"/>
                  </a:cubicBezTo>
                  <a:cubicBezTo>
                    <a:pt x="620" y="17"/>
                    <a:pt x="616" y="20"/>
                    <a:pt x="611" y="15"/>
                  </a:cubicBezTo>
                  <a:cubicBezTo>
                    <a:pt x="605" y="11"/>
                    <a:pt x="603" y="9"/>
                    <a:pt x="597" y="12"/>
                  </a:cubicBezTo>
                  <a:cubicBezTo>
                    <a:pt x="593" y="15"/>
                    <a:pt x="590" y="12"/>
                    <a:pt x="582" y="17"/>
                  </a:cubicBezTo>
                  <a:cubicBezTo>
                    <a:pt x="574" y="21"/>
                    <a:pt x="587" y="18"/>
                    <a:pt x="582" y="21"/>
                  </a:cubicBezTo>
                  <a:cubicBezTo>
                    <a:pt x="576" y="26"/>
                    <a:pt x="567" y="28"/>
                    <a:pt x="573" y="28"/>
                  </a:cubicBezTo>
                  <a:cubicBezTo>
                    <a:pt x="581" y="29"/>
                    <a:pt x="579" y="31"/>
                    <a:pt x="588" y="32"/>
                  </a:cubicBezTo>
                  <a:cubicBezTo>
                    <a:pt x="599" y="32"/>
                    <a:pt x="588" y="29"/>
                    <a:pt x="600" y="29"/>
                  </a:cubicBezTo>
                  <a:close/>
                  <a:moveTo>
                    <a:pt x="561" y="12"/>
                  </a:moveTo>
                  <a:cubicBezTo>
                    <a:pt x="561" y="11"/>
                    <a:pt x="571" y="12"/>
                    <a:pt x="571" y="14"/>
                  </a:cubicBezTo>
                  <a:cubicBezTo>
                    <a:pt x="571" y="15"/>
                    <a:pt x="559" y="15"/>
                    <a:pt x="561" y="12"/>
                  </a:cubicBezTo>
                  <a:close/>
                  <a:moveTo>
                    <a:pt x="600" y="82"/>
                  </a:moveTo>
                  <a:cubicBezTo>
                    <a:pt x="599" y="81"/>
                    <a:pt x="610" y="77"/>
                    <a:pt x="611" y="79"/>
                  </a:cubicBezTo>
                  <a:cubicBezTo>
                    <a:pt x="613" y="81"/>
                    <a:pt x="605" y="84"/>
                    <a:pt x="600" y="82"/>
                  </a:cubicBezTo>
                  <a:close/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914" name="Freeform 238">
              <a:extLst>
                <a:ext uri="{FF2B5EF4-FFF2-40B4-BE49-F238E27FC236}">
                  <a16:creationId xmlns:a16="http://schemas.microsoft.com/office/drawing/2014/main" id="{4F49A642-56FA-1E58-69AE-B2A5BD0F36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223555" y="5073744"/>
              <a:ext cx="1015486" cy="1078131"/>
            </a:xfrm>
            <a:custGeom>
              <a:avLst/>
              <a:gdLst/>
              <a:ahLst/>
              <a:cxnLst>
                <a:cxn ang="0">
                  <a:pos x="86" y="62"/>
                </a:cxn>
                <a:cxn ang="0">
                  <a:pos x="105" y="36"/>
                </a:cxn>
                <a:cxn ang="0">
                  <a:pos x="133" y="43"/>
                </a:cxn>
                <a:cxn ang="0">
                  <a:pos x="151" y="17"/>
                </a:cxn>
                <a:cxn ang="0">
                  <a:pos x="154" y="6"/>
                </a:cxn>
                <a:cxn ang="0">
                  <a:pos x="172" y="14"/>
                </a:cxn>
                <a:cxn ang="0">
                  <a:pos x="185" y="18"/>
                </a:cxn>
                <a:cxn ang="0">
                  <a:pos x="188" y="25"/>
                </a:cxn>
                <a:cxn ang="0">
                  <a:pos x="188" y="51"/>
                </a:cxn>
                <a:cxn ang="0">
                  <a:pos x="220" y="70"/>
                </a:cxn>
                <a:cxn ang="0">
                  <a:pos x="227" y="29"/>
                </a:cxn>
                <a:cxn ang="0">
                  <a:pos x="232" y="6"/>
                </a:cxn>
                <a:cxn ang="0">
                  <a:pos x="241" y="18"/>
                </a:cxn>
                <a:cxn ang="0">
                  <a:pos x="256" y="42"/>
                </a:cxn>
                <a:cxn ang="0">
                  <a:pos x="271" y="87"/>
                </a:cxn>
                <a:cxn ang="0">
                  <a:pos x="291" y="109"/>
                </a:cxn>
                <a:cxn ang="0">
                  <a:pos x="300" y="118"/>
                </a:cxn>
                <a:cxn ang="0">
                  <a:pos x="317" y="149"/>
                </a:cxn>
                <a:cxn ang="0">
                  <a:pos x="323" y="186"/>
                </a:cxn>
                <a:cxn ang="0">
                  <a:pos x="311" y="228"/>
                </a:cxn>
                <a:cxn ang="0">
                  <a:pos x="294" y="273"/>
                </a:cxn>
                <a:cxn ang="0">
                  <a:pos x="265" y="295"/>
                </a:cxn>
                <a:cxn ang="0">
                  <a:pos x="256" y="283"/>
                </a:cxn>
                <a:cxn ang="0">
                  <a:pos x="229" y="287"/>
                </a:cxn>
                <a:cxn ang="0">
                  <a:pos x="207" y="258"/>
                </a:cxn>
                <a:cxn ang="0">
                  <a:pos x="195" y="253"/>
                </a:cxn>
                <a:cxn ang="0">
                  <a:pos x="200" y="228"/>
                </a:cxn>
                <a:cxn ang="0">
                  <a:pos x="186" y="242"/>
                </a:cxn>
                <a:cxn ang="0">
                  <a:pos x="168" y="222"/>
                </a:cxn>
                <a:cxn ang="0">
                  <a:pos x="107" y="222"/>
                </a:cxn>
                <a:cxn ang="0">
                  <a:pos x="70" y="238"/>
                </a:cxn>
                <a:cxn ang="0">
                  <a:pos x="34" y="252"/>
                </a:cxn>
                <a:cxn ang="0">
                  <a:pos x="22" y="228"/>
                </a:cxn>
                <a:cxn ang="0">
                  <a:pos x="10" y="174"/>
                </a:cxn>
                <a:cxn ang="0">
                  <a:pos x="5" y="151"/>
                </a:cxn>
                <a:cxn ang="0">
                  <a:pos x="8" y="116"/>
                </a:cxn>
                <a:cxn ang="0">
                  <a:pos x="38" y="101"/>
                </a:cxn>
                <a:cxn ang="0">
                  <a:pos x="72" y="78"/>
                </a:cxn>
                <a:cxn ang="0">
                  <a:pos x="259" y="339"/>
                </a:cxn>
                <a:cxn ang="0">
                  <a:pos x="273" y="342"/>
                </a:cxn>
                <a:cxn ang="0">
                  <a:pos x="277" y="339"/>
                </a:cxn>
                <a:cxn ang="0">
                  <a:pos x="279" y="328"/>
                </a:cxn>
                <a:cxn ang="0">
                  <a:pos x="279" y="314"/>
                </a:cxn>
                <a:cxn ang="0">
                  <a:pos x="258" y="314"/>
                </a:cxn>
                <a:cxn ang="0">
                  <a:pos x="247" y="300"/>
                </a:cxn>
                <a:cxn ang="0">
                  <a:pos x="277" y="305"/>
                </a:cxn>
                <a:cxn ang="0">
                  <a:pos x="280" y="305"/>
                </a:cxn>
                <a:cxn ang="0">
                  <a:pos x="279" y="309"/>
                </a:cxn>
                <a:cxn ang="0">
                  <a:pos x="197" y="261"/>
                </a:cxn>
                <a:cxn ang="0">
                  <a:pos x="188" y="261"/>
                </a:cxn>
                <a:cxn ang="0">
                  <a:pos x="140" y="8"/>
                </a:cxn>
                <a:cxn ang="0">
                  <a:pos x="139" y="11"/>
                </a:cxn>
                <a:cxn ang="0">
                  <a:pos x="139" y="11"/>
                </a:cxn>
                <a:cxn ang="0">
                  <a:pos x="188" y="36"/>
                </a:cxn>
                <a:cxn ang="0">
                  <a:pos x="321" y="143"/>
                </a:cxn>
                <a:cxn ang="0">
                  <a:pos x="319" y="154"/>
                </a:cxn>
                <a:cxn ang="0">
                  <a:pos x="213" y="59"/>
                </a:cxn>
              </a:cxnLst>
              <a:rect l="0" t="0" r="r" b="b"/>
              <a:pathLst>
                <a:path w="326" h="346">
                  <a:moveTo>
                    <a:pt x="72" y="78"/>
                  </a:moveTo>
                  <a:cubicBezTo>
                    <a:pt x="78" y="73"/>
                    <a:pt x="70" y="73"/>
                    <a:pt x="77" y="62"/>
                  </a:cubicBezTo>
                  <a:cubicBezTo>
                    <a:pt x="84" y="53"/>
                    <a:pt x="84" y="74"/>
                    <a:pt x="86" y="62"/>
                  </a:cubicBezTo>
                  <a:cubicBezTo>
                    <a:pt x="86" y="48"/>
                    <a:pt x="92" y="65"/>
                    <a:pt x="92" y="54"/>
                  </a:cubicBezTo>
                  <a:cubicBezTo>
                    <a:pt x="92" y="46"/>
                    <a:pt x="93" y="51"/>
                    <a:pt x="98" y="42"/>
                  </a:cubicBezTo>
                  <a:cubicBezTo>
                    <a:pt x="102" y="32"/>
                    <a:pt x="104" y="42"/>
                    <a:pt x="105" y="36"/>
                  </a:cubicBezTo>
                  <a:cubicBezTo>
                    <a:pt x="105" y="29"/>
                    <a:pt x="110" y="39"/>
                    <a:pt x="110" y="32"/>
                  </a:cubicBezTo>
                  <a:cubicBezTo>
                    <a:pt x="110" y="26"/>
                    <a:pt x="121" y="43"/>
                    <a:pt x="125" y="42"/>
                  </a:cubicBezTo>
                  <a:cubicBezTo>
                    <a:pt x="130" y="42"/>
                    <a:pt x="130" y="46"/>
                    <a:pt x="133" y="43"/>
                  </a:cubicBezTo>
                  <a:cubicBezTo>
                    <a:pt x="136" y="40"/>
                    <a:pt x="127" y="42"/>
                    <a:pt x="133" y="32"/>
                  </a:cubicBezTo>
                  <a:cubicBezTo>
                    <a:pt x="139" y="25"/>
                    <a:pt x="133" y="26"/>
                    <a:pt x="140" y="20"/>
                  </a:cubicBezTo>
                  <a:cubicBezTo>
                    <a:pt x="150" y="12"/>
                    <a:pt x="145" y="18"/>
                    <a:pt x="151" y="17"/>
                  </a:cubicBezTo>
                  <a:cubicBezTo>
                    <a:pt x="157" y="15"/>
                    <a:pt x="156" y="20"/>
                    <a:pt x="157" y="14"/>
                  </a:cubicBezTo>
                  <a:cubicBezTo>
                    <a:pt x="159" y="8"/>
                    <a:pt x="153" y="11"/>
                    <a:pt x="151" y="9"/>
                  </a:cubicBezTo>
                  <a:cubicBezTo>
                    <a:pt x="150" y="6"/>
                    <a:pt x="151" y="6"/>
                    <a:pt x="154" y="6"/>
                  </a:cubicBezTo>
                  <a:cubicBezTo>
                    <a:pt x="157" y="6"/>
                    <a:pt x="156" y="9"/>
                    <a:pt x="159" y="8"/>
                  </a:cubicBezTo>
                  <a:cubicBezTo>
                    <a:pt x="162" y="8"/>
                    <a:pt x="159" y="12"/>
                    <a:pt x="165" y="12"/>
                  </a:cubicBezTo>
                  <a:cubicBezTo>
                    <a:pt x="169" y="11"/>
                    <a:pt x="168" y="17"/>
                    <a:pt x="172" y="14"/>
                  </a:cubicBezTo>
                  <a:cubicBezTo>
                    <a:pt x="175" y="14"/>
                    <a:pt x="174" y="20"/>
                    <a:pt x="180" y="14"/>
                  </a:cubicBezTo>
                  <a:cubicBezTo>
                    <a:pt x="186" y="9"/>
                    <a:pt x="181" y="15"/>
                    <a:pt x="183" y="15"/>
                  </a:cubicBezTo>
                  <a:cubicBezTo>
                    <a:pt x="185" y="15"/>
                    <a:pt x="183" y="20"/>
                    <a:pt x="185" y="18"/>
                  </a:cubicBezTo>
                  <a:cubicBezTo>
                    <a:pt x="188" y="17"/>
                    <a:pt x="185" y="17"/>
                    <a:pt x="186" y="14"/>
                  </a:cubicBezTo>
                  <a:cubicBezTo>
                    <a:pt x="189" y="12"/>
                    <a:pt x="188" y="14"/>
                    <a:pt x="191" y="17"/>
                  </a:cubicBezTo>
                  <a:cubicBezTo>
                    <a:pt x="195" y="18"/>
                    <a:pt x="189" y="18"/>
                    <a:pt x="188" y="25"/>
                  </a:cubicBezTo>
                  <a:cubicBezTo>
                    <a:pt x="188" y="32"/>
                    <a:pt x="188" y="22"/>
                    <a:pt x="183" y="28"/>
                  </a:cubicBezTo>
                  <a:cubicBezTo>
                    <a:pt x="180" y="36"/>
                    <a:pt x="188" y="28"/>
                    <a:pt x="181" y="37"/>
                  </a:cubicBezTo>
                  <a:cubicBezTo>
                    <a:pt x="177" y="46"/>
                    <a:pt x="180" y="43"/>
                    <a:pt x="188" y="51"/>
                  </a:cubicBezTo>
                  <a:cubicBezTo>
                    <a:pt x="191" y="56"/>
                    <a:pt x="191" y="51"/>
                    <a:pt x="198" y="57"/>
                  </a:cubicBezTo>
                  <a:cubicBezTo>
                    <a:pt x="206" y="65"/>
                    <a:pt x="207" y="60"/>
                    <a:pt x="209" y="65"/>
                  </a:cubicBezTo>
                  <a:cubicBezTo>
                    <a:pt x="209" y="68"/>
                    <a:pt x="216" y="73"/>
                    <a:pt x="220" y="70"/>
                  </a:cubicBezTo>
                  <a:cubicBezTo>
                    <a:pt x="224" y="67"/>
                    <a:pt x="221" y="65"/>
                    <a:pt x="226" y="59"/>
                  </a:cubicBezTo>
                  <a:cubicBezTo>
                    <a:pt x="229" y="54"/>
                    <a:pt x="226" y="54"/>
                    <a:pt x="227" y="48"/>
                  </a:cubicBezTo>
                  <a:cubicBezTo>
                    <a:pt x="230" y="40"/>
                    <a:pt x="226" y="34"/>
                    <a:pt x="227" y="29"/>
                  </a:cubicBezTo>
                  <a:cubicBezTo>
                    <a:pt x="229" y="25"/>
                    <a:pt x="227" y="25"/>
                    <a:pt x="229" y="22"/>
                  </a:cubicBezTo>
                  <a:cubicBezTo>
                    <a:pt x="232" y="20"/>
                    <a:pt x="227" y="22"/>
                    <a:pt x="229" y="17"/>
                  </a:cubicBezTo>
                  <a:cubicBezTo>
                    <a:pt x="232" y="11"/>
                    <a:pt x="232" y="9"/>
                    <a:pt x="232" y="6"/>
                  </a:cubicBezTo>
                  <a:cubicBezTo>
                    <a:pt x="233" y="1"/>
                    <a:pt x="236" y="0"/>
                    <a:pt x="238" y="5"/>
                  </a:cubicBezTo>
                  <a:cubicBezTo>
                    <a:pt x="238" y="9"/>
                    <a:pt x="238" y="12"/>
                    <a:pt x="239" y="14"/>
                  </a:cubicBezTo>
                  <a:cubicBezTo>
                    <a:pt x="242" y="15"/>
                    <a:pt x="239" y="15"/>
                    <a:pt x="241" y="18"/>
                  </a:cubicBezTo>
                  <a:cubicBezTo>
                    <a:pt x="244" y="23"/>
                    <a:pt x="244" y="26"/>
                    <a:pt x="244" y="31"/>
                  </a:cubicBezTo>
                  <a:cubicBezTo>
                    <a:pt x="244" y="36"/>
                    <a:pt x="247" y="42"/>
                    <a:pt x="248" y="37"/>
                  </a:cubicBezTo>
                  <a:cubicBezTo>
                    <a:pt x="251" y="32"/>
                    <a:pt x="250" y="39"/>
                    <a:pt x="256" y="42"/>
                  </a:cubicBezTo>
                  <a:cubicBezTo>
                    <a:pt x="261" y="45"/>
                    <a:pt x="256" y="56"/>
                    <a:pt x="261" y="62"/>
                  </a:cubicBezTo>
                  <a:cubicBezTo>
                    <a:pt x="265" y="67"/>
                    <a:pt x="262" y="74"/>
                    <a:pt x="264" y="79"/>
                  </a:cubicBezTo>
                  <a:cubicBezTo>
                    <a:pt x="267" y="82"/>
                    <a:pt x="265" y="85"/>
                    <a:pt x="271" y="87"/>
                  </a:cubicBezTo>
                  <a:cubicBezTo>
                    <a:pt x="277" y="88"/>
                    <a:pt x="273" y="92"/>
                    <a:pt x="280" y="93"/>
                  </a:cubicBezTo>
                  <a:cubicBezTo>
                    <a:pt x="288" y="96"/>
                    <a:pt x="288" y="99"/>
                    <a:pt x="285" y="99"/>
                  </a:cubicBezTo>
                  <a:cubicBezTo>
                    <a:pt x="282" y="99"/>
                    <a:pt x="290" y="105"/>
                    <a:pt x="291" y="109"/>
                  </a:cubicBezTo>
                  <a:cubicBezTo>
                    <a:pt x="293" y="112"/>
                    <a:pt x="290" y="113"/>
                    <a:pt x="293" y="118"/>
                  </a:cubicBezTo>
                  <a:cubicBezTo>
                    <a:pt x="296" y="123"/>
                    <a:pt x="293" y="113"/>
                    <a:pt x="296" y="118"/>
                  </a:cubicBezTo>
                  <a:cubicBezTo>
                    <a:pt x="300" y="121"/>
                    <a:pt x="299" y="115"/>
                    <a:pt x="300" y="118"/>
                  </a:cubicBezTo>
                  <a:cubicBezTo>
                    <a:pt x="303" y="121"/>
                    <a:pt x="299" y="126"/>
                    <a:pt x="303" y="132"/>
                  </a:cubicBezTo>
                  <a:cubicBezTo>
                    <a:pt x="308" y="137"/>
                    <a:pt x="306" y="132"/>
                    <a:pt x="309" y="138"/>
                  </a:cubicBezTo>
                  <a:cubicBezTo>
                    <a:pt x="312" y="143"/>
                    <a:pt x="316" y="143"/>
                    <a:pt x="317" y="149"/>
                  </a:cubicBezTo>
                  <a:cubicBezTo>
                    <a:pt x="319" y="155"/>
                    <a:pt x="320" y="151"/>
                    <a:pt x="320" y="157"/>
                  </a:cubicBezTo>
                  <a:cubicBezTo>
                    <a:pt x="319" y="163"/>
                    <a:pt x="321" y="163"/>
                    <a:pt x="320" y="168"/>
                  </a:cubicBezTo>
                  <a:cubicBezTo>
                    <a:pt x="319" y="169"/>
                    <a:pt x="326" y="180"/>
                    <a:pt x="323" y="186"/>
                  </a:cubicBezTo>
                  <a:cubicBezTo>
                    <a:pt x="320" y="191"/>
                    <a:pt x="323" y="196"/>
                    <a:pt x="319" y="202"/>
                  </a:cubicBezTo>
                  <a:cubicBezTo>
                    <a:pt x="317" y="207"/>
                    <a:pt x="320" y="210"/>
                    <a:pt x="317" y="216"/>
                  </a:cubicBezTo>
                  <a:cubicBezTo>
                    <a:pt x="314" y="222"/>
                    <a:pt x="319" y="221"/>
                    <a:pt x="311" y="228"/>
                  </a:cubicBezTo>
                  <a:cubicBezTo>
                    <a:pt x="302" y="236"/>
                    <a:pt x="303" y="250"/>
                    <a:pt x="300" y="252"/>
                  </a:cubicBezTo>
                  <a:cubicBezTo>
                    <a:pt x="297" y="253"/>
                    <a:pt x="296" y="261"/>
                    <a:pt x="296" y="264"/>
                  </a:cubicBezTo>
                  <a:cubicBezTo>
                    <a:pt x="296" y="269"/>
                    <a:pt x="293" y="272"/>
                    <a:pt x="294" y="273"/>
                  </a:cubicBezTo>
                  <a:cubicBezTo>
                    <a:pt x="296" y="275"/>
                    <a:pt x="294" y="281"/>
                    <a:pt x="286" y="281"/>
                  </a:cubicBezTo>
                  <a:cubicBezTo>
                    <a:pt x="279" y="280"/>
                    <a:pt x="271" y="291"/>
                    <a:pt x="268" y="291"/>
                  </a:cubicBezTo>
                  <a:cubicBezTo>
                    <a:pt x="265" y="292"/>
                    <a:pt x="268" y="300"/>
                    <a:pt x="265" y="295"/>
                  </a:cubicBezTo>
                  <a:cubicBezTo>
                    <a:pt x="261" y="289"/>
                    <a:pt x="259" y="291"/>
                    <a:pt x="258" y="287"/>
                  </a:cubicBezTo>
                  <a:cubicBezTo>
                    <a:pt x="258" y="284"/>
                    <a:pt x="258" y="291"/>
                    <a:pt x="255" y="289"/>
                  </a:cubicBezTo>
                  <a:cubicBezTo>
                    <a:pt x="251" y="286"/>
                    <a:pt x="259" y="286"/>
                    <a:pt x="256" y="283"/>
                  </a:cubicBezTo>
                  <a:cubicBezTo>
                    <a:pt x="251" y="280"/>
                    <a:pt x="255" y="284"/>
                    <a:pt x="250" y="287"/>
                  </a:cubicBezTo>
                  <a:cubicBezTo>
                    <a:pt x="244" y="289"/>
                    <a:pt x="247" y="294"/>
                    <a:pt x="239" y="291"/>
                  </a:cubicBezTo>
                  <a:cubicBezTo>
                    <a:pt x="232" y="286"/>
                    <a:pt x="230" y="286"/>
                    <a:pt x="229" y="287"/>
                  </a:cubicBezTo>
                  <a:cubicBezTo>
                    <a:pt x="227" y="289"/>
                    <a:pt x="226" y="284"/>
                    <a:pt x="223" y="283"/>
                  </a:cubicBezTo>
                  <a:cubicBezTo>
                    <a:pt x="218" y="283"/>
                    <a:pt x="212" y="273"/>
                    <a:pt x="213" y="270"/>
                  </a:cubicBezTo>
                  <a:cubicBezTo>
                    <a:pt x="215" y="267"/>
                    <a:pt x="212" y="259"/>
                    <a:pt x="207" y="258"/>
                  </a:cubicBezTo>
                  <a:cubicBezTo>
                    <a:pt x="204" y="256"/>
                    <a:pt x="203" y="259"/>
                    <a:pt x="201" y="258"/>
                  </a:cubicBezTo>
                  <a:cubicBezTo>
                    <a:pt x="200" y="255"/>
                    <a:pt x="206" y="252"/>
                    <a:pt x="203" y="245"/>
                  </a:cubicBezTo>
                  <a:cubicBezTo>
                    <a:pt x="198" y="239"/>
                    <a:pt x="201" y="252"/>
                    <a:pt x="195" y="253"/>
                  </a:cubicBezTo>
                  <a:cubicBezTo>
                    <a:pt x="189" y="253"/>
                    <a:pt x="191" y="249"/>
                    <a:pt x="194" y="249"/>
                  </a:cubicBezTo>
                  <a:cubicBezTo>
                    <a:pt x="197" y="250"/>
                    <a:pt x="197" y="247"/>
                    <a:pt x="195" y="244"/>
                  </a:cubicBezTo>
                  <a:cubicBezTo>
                    <a:pt x="195" y="241"/>
                    <a:pt x="201" y="231"/>
                    <a:pt x="200" y="228"/>
                  </a:cubicBezTo>
                  <a:cubicBezTo>
                    <a:pt x="198" y="225"/>
                    <a:pt x="198" y="224"/>
                    <a:pt x="198" y="227"/>
                  </a:cubicBezTo>
                  <a:cubicBezTo>
                    <a:pt x="198" y="230"/>
                    <a:pt x="194" y="230"/>
                    <a:pt x="194" y="235"/>
                  </a:cubicBezTo>
                  <a:cubicBezTo>
                    <a:pt x="192" y="239"/>
                    <a:pt x="194" y="233"/>
                    <a:pt x="186" y="242"/>
                  </a:cubicBezTo>
                  <a:cubicBezTo>
                    <a:pt x="178" y="252"/>
                    <a:pt x="188" y="252"/>
                    <a:pt x="180" y="249"/>
                  </a:cubicBezTo>
                  <a:cubicBezTo>
                    <a:pt x="175" y="245"/>
                    <a:pt x="178" y="235"/>
                    <a:pt x="172" y="231"/>
                  </a:cubicBezTo>
                  <a:cubicBezTo>
                    <a:pt x="165" y="227"/>
                    <a:pt x="174" y="227"/>
                    <a:pt x="168" y="222"/>
                  </a:cubicBezTo>
                  <a:cubicBezTo>
                    <a:pt x="163" y="218"/>
                    <a:pt x="163" y="222"/>
                    <a:pt x="151" y="216"/>
                  </a:cubicBezTo>
                  <a:cubicBezTo>
                    <a:pt x="139" y="210"/>
                    <a:pt x="150" y="216"/>
                    <a:pt x="136" y="213"/>
                  </a:cubicBezTo>
                  <a:cubicBezTo>
                    <a:pt x="128" y="213"/>
                    <a:pt x="122" y="222"/>
                    <a:pt x="107" y="222"/>
                  </a:cubicBezTo>
                  <a:cubicBezTo>
                    <a:pt x="98" y="221"/>
                    <a:pt x="99" y="228"/>
                    <a:pt x="93" y="228"/>
                  </a:cubicBezTo>
                  <a:cubicBezTo>
                    <a:pt x="87" y="228"/>
                    <a:pt x="90" y="242"/>
                    <a:pt x="81" y="239"/>
                  </a:cubicBezTo>
                  <a:cubicBezTo>
                    <a:pt x="73" y="236"/>
                    <a:pt x="78" y="242"/>
                    <a:pt x="70" y="238"/>
                  </a:cubicBezTo>
                  <a:cubicBezTo>
                    <a:pt x="66" y="236"/>
                    <a:pt x="66" y="239"/>
                    <a:pt x="58" y="239"/>
                  </a:cubicBezTo>
                  <a:cubicBezTo>
                    <a:pt x="52" y="239"/>
                    <a:pt x="55" y="244"/>
                    <a:pt x="51" y="245"/>
                  </a:cubicBezTo>
                  <a:cubicBezTo>
                    <a:pt x="45" y="245"/>
                    <a:pt x="45" y="253"/>
                    <a:pt x="34" y="252"/>
                  </a:cubicBezTo>
                  <a:cubicBezTo>
                    <a:pt x="23" y="250"/>
                    <a:pt x="23" y="242"/>
                    <a:pt x="19" y="244"/>
                  </a:cubicBezTo>
                  <a:cubicBezTo>
                    <a:pt x="16" y="244"/>
                    <a:pt x="16" y="235"/>
                    <a:pt x="17" y="235"/>
                  </a:cubicBezTo>
                  <a:cubicBezTo>
                    <a:pt x="20" y="236"/>
                    <a:pt x="23" y="233"/>
                    <a:pt x="22" y="228"/>
                  </a:cubicBezTo>
                  <a:cubicBezTo>
                    <a:pt x="22" y="222"/>
                    <a:pt x="26" y="225"/>
                    <a:pt x="20" y="210"/>
                  </a:cubicBezTo>
                  <a:cubicBezTo>
                    <a:pt x="14" y="194"/>
                    <a:pt x="19" y="194"/>
                    <a:pt x="16" y="186"/>
                  </a:cubicBezTo>
                  <a:cubicBezTo>
                    <a:pt x="11" y="179"/>
                    <a:pt x="10" y="179"/>
                    <a:pt x="10" y="174"/>
                  </a:cubicBezTo>
                  <a:cubicBezTo>
                    <a:pt x="11" y="168"/>
                    <a:pt x="3" y="163"/>
                    <a:pt x="3" y="158"/>
                  </a:cubicBezTo>
                  <a:cubicBezTo>
                    <a:pt x="3" y="152"/>
                    <a:pt x="7" y="163"/>
                    <a:pt x="8" y="162"/>
                  </a:cubicBezTo>
                  <a:cubicBezTo>
                    <a:pt x="8" y="158"/>
                    <a:pt x="3" y="154"/>
                    <a:pt x="5" y="151"/>
                  </a:cubicBezTo>
                  <a:cubicBezTo>
                    <a:pt x="7" y="149"/>
                    <a:pt x="11" y="165"/>
                    <a:pt x="11" y="157"/>
                  </a:cubicBezTo>
                  <a:cubicBezTo>
                    <a:pt x="11" y="149"/>
                    <a:pt x="0" y="141"/>
                    <a:pt x="5" y="132"/>
                  </a:cubicBezTo>
                  <a:cubicBezTo>
                    <a:pt x="11" y="123"/>
                    <a:pt x="3" y="124"/>
                    <a:pt x="8" y="116"/>
                  </a:cubicBezTo>
                  <a:cubicBezTo>
                    <a:pt x="13" y="109"/>
                    <a:pt x="10" y="126"/>
                    <a:pt x="13" y="116"/>
                  </a:cubicBezTo>
                  <a:cubicBezTo>
                    <a:pt x="16" y="109"/>
                    <a:pt x="17" y="115"/>
                    <a:pt x="25" y="105"/>
                  </a:cubicBezTo>
                  <a:cubicBezTo>
                    <a:pt x="32" y="96"/>
                    <a:pt x="32" y="104"/>
                    <a:pt x="38" y="101"/>
                  </a:cubicBezTo>
                  <a:cubicBezTo>
                    <a:pt x="45" y="98"/>
                    <a:pt x="48" y="98"/>
                    <a:pt x="49" y="95"/>
                  </a:cubicBezTo>
                  <a:cubicBezTo>
                    <a:pt x="51" y="92"/>
                    <a:pt x="55" y="98"/>
                    <a:pt x="63" y="92"/>
                  </a:cubicBezTo>
                  <a:cubicBezTo>
                    <a:pt x="70" y="87"/>
                    <a:pt x="67" y="82"/>
                    <a:pt x="72" y="78"/>
                  </a:cubicBezTo>
                  <a:close/>
                  <a:moveTo>
                    <a:pt x="255" y="323"/>
                  </a:moveTo>
                  <a:cubicBezTo>
                    <a:pt x="256" y="326"/>
                    <a:pt x="256" y="325"/>
                    <a:pt x="256" y="328"/>
                  </a:cubicBezTo>
                  <a:cubicBezTo>
                    <a:pt x="256" y="331"/>
                    <a:pt x="258" y="337"/>
                    <a:pt x="259" y="339"/>
                  </a:cubicBezTo>
                  <a:cubicBezTo>
                    <a:pt x="262" y="340"/>
                    <a:pt x="262" y="345"/>
                    <a:pt x="264" y="345"/>
                  </a:cubicBezTo>
                  <a:cubicBezTo>
                    <a:pt x="265" y="343"/>
                    <a:pt x="267" y="345"/>
                    <a:pt x="270" y="345"/>
                  </a:cubicBezTo>
                  <a:cubicBezTo>
                    <a:pt x="271" y="346"/>
                    <a:pt x="270" y="343"/>
                    <a:pt x="273" y="342"/>
                  </a:cubicBezTo>
                  <a:cubicBezTo>
                    <a:pt x="274" y="340"/>
                    <a:pt x="274" y="337"/>
                    <a:pt x="274" y="339"/>
                  </a:cubicBezTo>
                  <a:cubicBezTo>
                    <a:pt x="276" y="340"/>
                    <a:pt x="274" y="336"/>
                    <a:pt x="276" y="337"/>
                  </a:cubicBezTo>
                  <a:cubicBezTo>
                    <a:pt x="277" y="337"/>
                    <a:pt x="277" y="339"/>
                    <a:pt x="277" y="339"/>
                  </a:cubicBezTo>
                  <a:cubicBezTo>
                    <a:pt x="276" y="339"/>
                    <a:pt x="276" y="340"/>
                    <a:pt x="279" y="340"/>
                  </a:cubicBezTo>
                  <a:cubicBezTo>
                    <a:pt x="280" y="342"/>
                    <a:pt x="277" y="334"/>
                    <a:pt x="279" y="333"/>
                  </a:cubicBezTo>
                  <a:cubicBezTo>
                    <a:pt x="280" y="333"/>
                    <a:pt x="277" y="329"/>
                    <a:pt x="279" y="328"/>
                  </a:cubicBezTo>
                  <a:cubicBezTo>
                    <a:pt x="282" y="326"/>
                    <a:pt x="280" y="331"/>
                    <a:pt x="282" y="329"/>
                  </a:cubicBezTo>
                  <a:cubicBezTo>
                    <a:pt x="283" y="328"/>
                    <a:pt x="280" y="328"/>
                    <a:pt x="282" y="322"/>
                  </a:cubicBezTo>
                  <a:cubicBezTo>
                    <a:pt x="282" y="317"/>
                    <a:pt x="280" y="312"/>
                    <a:pt x="279" y="314"/>
                  </a:cubicBezTo>
                  <a:cubicBezTo>
                    <a:pt x="277" y="315"/>
                    <a:pt x="277" y="312"/>
                    <a:pt x="276" y="315"/>
                  </a:cubicBezTo>
                  <a:cubicBezTo>
                    <a:pt x="274" y="317"/>
                    <a:pt x="276" y="314"/>
                    <a:pt x="270" y="317"/>
                  </a:cubicBezTo>
                  <a:cubicBezTo>
                    <a:pt x="262" y="320"/>
                    <a:pt x="264" y="314"/>
                    <a:pt x="258" y="314"/>
                  </a:cubicBezTo>
                  <a:cubicBezTo>
                    <a:pt x="253" y="314"/>
                    <a:pt x="253" y="309"/>
                    <a:pt x="251" y="315"/>
                  </a:cubicBezTo>
                  <a:cubicBezTo>
                    <a:pt x="251" y="317"/>
                    <a:pt x="253" y="318"/>
                    <a:pt x="255" y="323"/>
                  </a:cubicBezTo>
                  <a:close/>
                  <a:moveTo>
                    <a:pt x="247" y="300"/>
                  </a:moveTo>
                  <a:cubicBezTo>
                    <a:pt x="248" y="298"/>
                    <a:pt x="250" y="305"/>
                    <a:pt x="247" y="306"/>
                  </a:cubicBezTo>
                  <a:cubicBezTo>
                    <a:pt x="245" y="306"/>
                    <a:pt x="245" y="301"/>
                    <a:pt x="247" y="300"/>
                  </a:cubicBezTo>
                  <a:close/>
                  <a:moveTo>
                    <a:pt x="277" y="305"/>
                  </a:moveTo>
                  <a:cubicBezTo>
                    <a:pt x="279" y="305"/>
                    <a:pt x="279" y="305"/>
                    <a:pt x="279" y="306"/>
                  </a:cubicBezTo>
                  <a:cubicBezTo>
                    <a:pt x="279" y="308"/>
                    <a:pt x="282" y="308"/>
                    <a:pt x="282" y="306"/>
                  </a:cubicBezTo>
                  <a:cubicBezTo>
                    <a:pt x="280" y="305"/>
                    <a:pt x="283" y="305"/>
                    <a:pt x="280" y="305"/>
                  </a:cubicBezTo>
                  <a:cubicBezTo>
                    <a:pt x="279" y="303"/>
                    <a:pt x="279" y="300"/>
                    <a:pt x="277" y="303"/>
                  </a:cubicBezTo>
                  <a:cubicBezTo>
                    <a:pt x="277" y="303"/>
                    <a:pt x="276" y="303"/>
                    <a:pt x="277" y="305"/>
                  </a:cubicBezTo>
                  <a:close/>
                  <a:moveTo>
                    <a:pt x="279" y="309"/>
                  </a:moveTo>
                  <a:cubicBezTo>
                    <a:pt x="279" y="308"/>
                    <a:pt x="283" y="308"/>
                    <a:pt x="282" y="309"/>
                  </a:cubicBezTo>
                  <a:cubicBezTo>
                    <a:pt x="282" y="311"/>
                    <a:pt x="279" y="309"/>
                    <a:pt x="279" y="309"/>
                  </a:cubicBezTo>
                  <a:close/>
                  <a:moveTo>
                    <a:pt x="197" y="261"/>
                  </a:moveTo>
                  <a:cubicBezTo>
                    <a:pt x="198" y="259"/>
                    <a:pt x="201" y="261"/>
                    <a:pt x="200" y="259"/>
                  </a:cubicBezTo>
                  <a:cubicBezTo>
                    <a:pt x="200" y="258"/>
                    <a:pt x="198" y="259"/>
                    <a:pt x="197" y="256"/>
                  </a:cubicBezTo>
                  <a:cubicBezTo>
                    <a:pt x="195" y="255"/>
                    <a:pt x="188" y="258"/>
                    <a:pt x="188" y="261"/>
                  </a:cubicBezTo>
                  <a:cubicBezTo>
                    <a:pt x="189" y="263"/>
                    <a:pt x="195" y="261"/>
                    <a:pt x="197" y="261"/>
                  </a:cubicBezTo>
                  <a:close/>
                  <a:moveTo>
                    <a:pt x="148" y="8"/>
                  </a:moveTo>
                  <a:cubicBezTo>
                    <a:pt x="145" y="3"/>
                    <a:pt x="145" y="11"/>
                    <a:pt x="140" y="8"/>
                  </a:cubicBezTo>
                  <a:cubicBezTo>
                    <a:pt x="137" y="6"/>
                    <a:pt x="140" y="11"/>
                    <a:pt x="143" y="14"/>
                  </a:cubicBezTo>
                  <a:cubicBezTo>
                    <a:pt x="145" y="14"/>
                    <a:pt x="150" y="11"/>
                    <a:pt x="148" y="8"/>
                  </a:cubicBezTo>
                  <a:close/>
                  <a:moveTo>
                    <a:pt x="139" y="11"/>
                  </a:moveTo>
                  <a:cubicBezTo>
                    <a:pt x="137" y="8"/>
                    <a:pt x="137" y="8"/>
                    <a:pt x="137" y="11"/>
                  </a:cubicBezTo>
                  <a:cubicBezTo>
                    <a:pt x="137" y="12"/>
                    <a:pt x="136" y="12"/>
                    <a:pt x="139" y="14"/>
                  </a:cubicBezTo>
                  <a:cubicBezTo>
                    <a:pt x="140" y="14"/>
                    <a:pt x="140" y="12"/>
                    <a:pt x="139" y="11"/>
                  </a:cubicBezTo>
                  <a:close/>
                  <a:moveTo>
                    <a:pt x="188" y="36"/>
                  </a:moveTo>
                  <a:cubicBezTo>
                    <a:pt x="186" y="32"/>
                    <a:pt x="191" y="32"/>
                    <a:pt x="191" y="34"/>
                  </a:cubicBezTo>
                  <a:cubicBezTo>
                    <a:pt x="189" y="37"/>
                    <a:pt x="188" y="39"/>
                    <a:pt x="188" y="36"/>
                  </a:cubicBezTo>
                  <a:close/>
                  <a:moveTo>
                    <a:pt x="320" y="151"/>
                  </a:moveTo>
                  <a:cubicBezTo>
                    <a:pt x="320" y="149"/>
                    <a:pt x="321" y="148"/>
                    <a:pt x="321" y="146"/>
                  </a:cubicBezTo>
                  <a:cubicBezTo>
                    <a:pt x="321" y="144"/>
                    <a:pt x="321" y="144"/>
                    <a:pt x="321" y="143"/>
                  </a:cubicBezTo>
                  <a:cubicBezTo>
                    <a:pt x="321" y="141"/>
                    <a:pt x="320" y="143"/>
                    <a:pt x="320" y="144"/>
                  </a:cubicBezTo>
                  <a:cubicBezTo>
                    <a:pt x="321" y="146"/>
                    <a:pt x="319" y="148"/>
                    <a:pt x="319" y="148"/>
                  </a:cubicBezTo>
                  <a:cubicBezTo>
                    <a:pt x="320" y="149"/>
                    <a:pt x="317" y="152"/>
                    <a:pt x="319" y="154"/>
                  </a:cubicBezTo>
                  <a:cubicBezTo>
                    <a:pt x="320" y="154"/>
                    <a:pt x="320" y="152"/>
                    <a:pt x="320" y="151"/>
                  </a:cubicBezTo>
                  <a:close/>
                  <a:moveTo>
                    <a:pt x="210" y="60"/>
                  </a:moveTo>
                  <a:cubicBezTo>
                    <a:pt x="212" y="60"/>
                    <a:pt x="215" y="60"/>
                    <a:pt x="213" y="59"/>
                  </a:cubicBezTo>
                  <a:cubicBezTo>
                    <a:pt x="212" y="57"/>
                    <a:pt x="207" y="60"/>
                    <a:pt x="209" y="62"/>
                  </a:cubicBezTo>
                  <a:cubicBezTo>
                    <a:pt x="209" y="62"/>
                    <a:pt x="210" y="62"/>
                    <a:pt x="210" y="60"/>
                  </a:cubicBezTo>
                  <a:close/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915" name="Freeform 273">
              <a:extLst>
                <a:ext uri="{FF2B5EF4-FFF2-40B4-BE49-F238E27FC236}">
                  <a16:creationId xmlns:a16="http://schemas.microsoft.com/office/drawing/2014/main" id="{1647D710-ABE3-83F4-71D1-1EC318F4C3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06779" y="3720859"/>
              <a:ext cx="17675" cy="9640"/>
            </a:xfrm>
            <a:custGeom>
              <a:avLst/>
              <a:gdLst/>
              <a:ahLst/>
              <a:cxnLst>
                <a:cxn ang="0">
                  <a:pos x="3" y="3"/>
                </a:cxn>
                <a:cxn ang="0">
                  <a:pos x="0" y="0"/>
                </a:cxn>
                <a:cxn ang="0">
                  <a:pos x="3" y="1"/>
                </a:cxn>
                <a:cxn ang="0">
                  <a:pos x="4" y="1"/>
                </a:cxn>
                <a:cxn ang="0">
                  <a:pos x="3" y="3"/>
                </a:cxn>
              </a:cxnLst>
              <a:rect l="0" t="0" r="r" b="b"/>
              <a:pathLst>
                <a:path w="6" h="3">
                  <a:moveTo>
                    <a:pt x="3" y="3"/>
                  </a:moveTo>
                  <a:cubicBezTo>
                    <a:pt x="0" y="1"/>
                    <a:pt x="0" y="1"/>
                    <a:pt x="0" y="0"/>
                  </a:cubicBezTo>
                  <a:cubicBezTo>
                    <a:pt x="1" y="0"/>
                    <a:pt x="1" y="1"/>
                    <a:pt x="3" y="1"/>
                  </a:cubicBezTo>
                  <a:cubicBezTo>
                    <a:pt x="3" y="1"/>
                    <a:pt x="6" y="1"/>
                    <a:pt x="4" y="1"/>
                  </a:cubicBezTo>
                  <a:cubicBezTo>
                    <a:pt x="3" y="3"/>
                    <a:pt x="3" y="3"/>
                    <a:pt x="3" y="3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916" name="Freeform 274">
              <a:extLst>
                <a:ext uri="{FF2B5EF4-FFF2-40B4-BE49-F238E27FC236}">
                  <a16:creationId xmlns:a16="http://schemas.microsoft.com/office/drawing/2014/main" id="{A946F02D-7025-EE1D-9DE0-B67CA78DFB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99478" y="5096238"/>
              <a:ext cx="12854" cy="20888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2" y="7"/>
                </a:cxn>
                <a:cxn ang="0">
                  <a:pos x="2" y="2"/>
                </a:cxn>
              </a:cxnLst>
              <a:rect l="0" t="0" r="r" b="b"/>
              <a:pathLst>
                <a:path w="4" h="7">
                  <a:moveTo>
                    <a:pt x="2" y="2"/>
                  </a:moveTo>
                  <a:cubicBezTo>
                    <a:pt x="2" y="0"/>
                    <a:pt x="4" y="7"/>
                    <a:pt x="2" y="7"/>
                  </a:cubicBezTo>
                  <a:cubicBezTo>
                    <a:pt x="0" y="7"/>
                    <a:pt x="0" y="2"/>
                    <a:pt x="2" y="2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917" name="Freeform 275">
              <a:extLst>
                <a:ext uri="{FF2B5EF4-FFF2-40B4-BE49-F238E27FC236}">
                  <a16:creationId xmlns:a16="http://schemas.microsoft.com/office/drawing/2014/main" id="{74966416-A537-8422-20BD-CDAED3A0BC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42862" y="5136408"/>
              <a:ext cx="9641" cy="16068"/>
            </a:xfrm>
            <a:custGeom>
              <a:avLst/>
              <a:gdLst/>
              <a:ahLst/>
              <a:cxnLst>
                <a:cxn ang="0">
                  <a:pos x="2" y="3"/>
                </a:cxn>
                <a:cxn ang="0">
                  <a:pos x="2" y="2"/>
                </a:cxn>
                <a:cxn ang="0">
                  <a:pos x="2" y="3"/>
                </a:cxn>
              </a:cxnLst>
              <a:rect l="0" t="0" r="r" b="b"/>
              <a:pathLst>
                <a:path w="3" h="5">
                  <a:moveTo>
                    <a:pt x="2" y="3"/>
                  </a:moveTo>
                  <a:cubicBezTo>
                    <a:pt x="0" y="2"/>
                    <a:pt x="0" y="0"/>
                    <a:pt x="2" y="2"/>
                  </a:cubicBezTo>
                  <a:cubicBezTo>
                    <a:pt x="3" y="2"/>
                    <a:pt x="3" y="5"/>
                    <a:pt x="2" y="3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918" name="Freeform 276">
              <a:extLst>
                <a:ext uri="{FF2B5EF4-FFF2-40B4-BE49-F238E27FC236}">
                  <a16:creationId xmlns:a16="http://schemas.microsoft.com/office/drawing/2014/main" id="{FFD57B20-F43E-8E4F-208B-0F0F285188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23581" y="5120340"/>
              <a:ext cx="9641" cy="964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3" y="3"/>
                </a:cxn>
                <a:cxn ang="0">
                  <a:pos x="2" y="0"/>
                </a:cxn>
              </a:cxnLst>
              <a:rect l="0" t="0" r="r" b="b"/>
              <a:pathLst>
                <a:path w="3" h="3">
                  <a:moveTo>
                    <a:pt x="2" y="0"/>
                  </a:moveTo>
                  <a:cubicBezTo>
                    <a:pt x="0" y="2"/>
                    <a:pt x="3" y="3"/>
                    <a:pt x="3" y="3"/>
                  </a:cubicBezTo>
                  <a:cubicBezTo>
                    <a:pt x="3" y="2"/>
                    <a:pt x="3" y="0"/>
                    <a:pt x="2" y="0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919" name="Freeform 277">
              <a:extLst>
                <a:ext uri="{FF2B5EF4-FFF2-40B4-BE49-F238E27FC236}">
                  <a16:creationId xmlns:a16="http://schemas.microsoft.com/office/drawing/2014/main" id="{B815C5D3-D53F-5C00-3168-FF7FEC682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58841" y="4781315"/>
              <a:ext cx="274759" cy="335811"/>
            </a:xfrm>
            <a:custGeom>
              <a:avLst/>
              <a:gdLst/>
              <a:ahLst/>
              <a:cxnLst>
                <a:cxn ang="0">
                  <a:pos x="2" y="35"/>
                </a:cxn>
                <a:cxn ang="0">
                  <a:pos x="11" y="24"/>
                </a:cxn>
                <a:cxn ang="0">
                  <a:pos x="9" y="17"/>
                </a:cxn>
                <a:cxn ang="0">
                  <a:pos x="11" y="14"/>
                </a:cxn>
                <a:cxn ang="0">
                  <a:pos x="12" y="8"/>
                </a:cxn>
                <a:cxn ang="0">
                  <a:pos x="9" y="0"/>
                </a:cxn>
                <a:cxn ang="0">
                  <a:pos x="37" y="0"/>
                </a:cxn>
                <a:cxn ang="0">
                  <a:pos x="64" y="19"/>
                </a:cxn>
                <a:cxn ang="0">
                  <a:pos x="67" y="27"/>
                </a:cxn>
                <a:cxn ang="0">
                  <a:pos x="79" y="36"/>
                </a:cxn>
                <a:cxn ang="0">
                  <a:pos x="76" y="44"/>
                </a:cxn>
                <a:cxn ang="0">
                  <a:pos x="81" y="58"/>
                </a:cxn>
                <a:cxn ang="0">
                  <a:pos x="81" y="66"/>
                </a:cxn>
                <a:cxn ang="0">
                  <a:pos x="81" y="77"/>
                </a:cxn>
                <a:cxn ang="0">
                  <a:pos x="82" y="89"/>
                </a:cxn>
                <a:cxn ang="0">
                  <a:pos x="88" y="94"/>
                </a:cxn>
                <a:cxn ang="0">
                  <a:pos x="76" y="102"/>
                </a:cxn>
                <a:cxn ang="0">
                  <a:pos x="69" y="102"/>
                </a:cxn>
                <a:cxn ang="0">
                  <a:pos x="61" y="105"/>
                </a:cxn>
                <a:cxn ang="0">
                  <a:pos x="53" y="105"/>
                </a:cxn>
                <a:cxn ang="0">
                  <a:pos x="43" y="103"/>
                </a:cxn>
                <a:cxn ang="0">
                  <a:pos x="41" y="94"/>
                </a:cxn>
                <a:cxn ang="0">
                  <a:pos x="37" y="84"/>
                </a:cxn>
                <a:cxn ang="0">
                  <a:pos x="29" y="83"/>
                </a:cxn>
                <a:cxn ang="0">
                  <a:pos x="21" y="78"/>
                </a:cxn>
                <a:cxn ang="0">
                  <a:pos x="18" y="77"/>
                </a:cxn>
                <a:cxn ang="0">
                  <a:pos x="12" y="70"/>
                </a:cxn>
                <a:cxn ang="0">
                  <a:pos x="9" y="63"/>
                </a:cxn>
                <a:cxn ang="0">
                  <a:pos x="2" y="49"/>
                </a:cxn>
                <a:cxn ang="0">
                  <a:pos x="2" y="35"/>
                </a:cxn>
              </a:cxnLst>
              <a:rect l="0" t="0" r="r" b="b"/>
              <a:pathLst>
                <a:path w="88" h="108">
                  <a:moveTo>
                    <a:pt x="2" y="35"/>
                  </a:moveTo>
                  <a:cubicBezTo>
                    <a:pt x="8" y="33"/>
                    <a:pt x="6" y="28"/>
                    <a:pt x="11" y="24"/>
                  </a:cubicBezTo>
                  <a:cubicBezTo>
                    <a:pt x="15" y="19"/>
                    <a:pt x="9" y="19"/>
                    <a:pt x="9" y="17"/>
                  </a:cubicBezTo>
                  <a:cubicBezTo>
                    <a:pt x="9" y="16"/>
                    <a:pt x="11" y="16"/>
                    <a:pt x="11" y="14"/>
                  </a:cubicBezTo>
                  <a:cubicBezTo>
                    <a:pt x="12" y="14"/>
                    <a:pt x="12" y="13"/>
                    <a:pt x="12" y="8"/>
                  </a:cubicBezTo>
                  <a:cubicBezTo>
                    <a:pt x="11" y="2"/>
                    <a:pt x="9" y="3"/>
                    <a:pt x="9" y="0"/>
                  </a:cubicBezTo>
                  <a:cubicBezTo>
                    <a:pt x="12" y="0"/>
                    <a:pt x="32" y="0"/>
                    <a:pt x="37" y="0"/>
                  </a:cubicBezTo>
                  <a:cubicBezTo>
                    <a:pt x="53" y="11"/>
                    <a:pt x="60" y="16"/>
                    <a:pt x="64" y="19"/>
                  </a:cubicBezTo>
                  <a:cubicBezTo>
                    <a:pt x="70" y="22"/>
                    <a:pt x="64" y="22"/>
                    <a:pt x="67" y="27"/>
                  </a:cubicBezTo>
                  <a:cubicBezTo>
                    <a:pt x="72" y="30"/>
                    <a:pt x="78" y="36"/>
                    <a:pt x="79" y="36"/>
                  </a:cubicBezTo>
                  <a:cubicBezTo>
                    <a:pt x="76" y="41"/>
                    <a:pt x="78" y="41"/>
                    <a:pt x="76" y="44"/>
                  </a:cubicBezTo>
                  <a:cubicBezTo>
                    <a:pt x="73" y="52"/>
                    <a:pt x="78" y="55"/>
                    <a:pt x="81" y="58"/>
                  </a:cubicBezTo>
                  <a:cubicBezTo>
                    <a:pt x="82" y="63"/>
                    <a:pt x="78" y="59"/>
                    <a:pt x="81" y="66"/>
                  </a:cubicBezTo>
                  <a:cubicBezTo>
                    <a:pt x="82" y="72"/>
                    <a:pt x="78" y="69"/>
                    <a:pt x="81" y="77"/>
                  </a:cubicBezTo>
                  <a:cubicBezTo>
                    <a:pt x="84" y="84"/>
                    <a:pt x="81" y="84"/>
                    <a:pt x="82" y="89"/>
                  </a:cubicBezTo>
                  <a:cubicBezTo>
                    <a:pt x="85" y="92"/>
                    <a:pt x="85" y="89"/>
                    <a:pt x="88" y="94"/>
                  </a:cubicBezTo>
                  <a:cubicBezTo>
                    <a:pt x="85" y="97"/>
                    <a:pt x="82" y="98"/>
                    <a:pt x="76" y="102"/>
                  </a:cubicBezTo>
                  <a:cubicBezTo>
                    <a:pt x="70" y="105"/>
                    <a:pt x="69" y="97"/>
                    <a:pt x="69" y="102"/>
                  </a:cubicBezTo>
                  <a:cubicBezTo>
                    <a:pt x="67" y="106"/>
                    <a:pt x="63" y="106"/>
                    <a:pt x="61" y="105"/>
                  </a:cubicBezTo>
                  <a:cubicBezTo>
                    <a:pt x="60" y="103"/>
                    <a:pt x="56" y="108"/>
                    <a:pt x="53" y="105"/>
                  </a:cubicBezTo>
                  <a:cubicBezTo>
                    <a:pt x="50" y="100"/>
                    <a:pt x="50" y="106"/>
                    <a:pt x="43" y="103"/>
                  </a:cubicBezTo>
                  <a:cubicBezTo>
                    <a:pt x="40" y="98"/>
                    <a:pt x="43" y="98"/>
                    <a:pt x="41" y="94"/>
                  </a:cubicBezTo>
                  <a:cubicBezTo>
                    <a:pt x="40" y="89"/>
                    <a:pt x="38" y="86"/>
                    <a:pt x="37" y="84"/>
                  </a:cubicBezTo>
                  <a:cubicBezTo>
                    <a:pt x="34" y="84"/>
                    <a:pt x="31" y="84"/>
                    <a:pt x="29" y="83"/>
                  </a:cubicBezTo>
                  <a:cubicBezTo>
                    <a:pt x="21" y="78"/>
                    <a:pt x="23" y="81"/>
                    <a:pt x="21" y="78"/>
                  </a:cubicBezTo>
                  <a:cubicBezTo>
                    <a:pt x="20" y="75"/>
                    <a:pt x="20" y="80"/>
                    <a:pt x="18" y="77"/>
                  </a:cubicBezTo>
                  <a:cubicBezTo>
                    <a:pt x="17" y="74"/>
                    <a:pt x="14" y="75"/>
                    <a:pt x="12" y="70"/>
                  </a:cubicBezTo>
                  <a:cubicBezTo>
                    <a:pt x="11" y="69"/>
                    <a:pt x="9" y="67"/>
                    <a:pt x="9" y="63"/>
                  </a:cubicBezTo>
                  <a:cubicBezTo>
                    <a:pt x="8" y="59"/>
                    <a:pt x="0" y="53"/>
                    <a:pt x="2" y="49"/>
                  </a:cubicBezTo>
                  <a:cubicBezTo>
                    <a:pt x="3" y="44"/>
                    <a:pt x="0" y="41"/>
                    <a:pt x="2" y="35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920" name="Freeform 278">
              <a:extLst>
                <a:ext uri="{FF2B5EF4-FFF2-40B4-BE49-F238E27FC236}">
                  <a16:creationId xmlns:a16="http://schemas.microsoft.com/office/drawing/2014/main" id="{58106605-9CA8-23AC-B75E-C99B17F41C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99859" y="4921102"/>
              <a:ext cx="14460" cy="30528"/>
            </a:xfrm>
            <a:custGeom>
              <a:avLst/>
              <a:gdLst/>
              <a:ahLst/>
              <a:cxnLst>
                <a:cxn ang="0">
                  <a:pos x="2" y="9"/>
                </a:cxn>
                <a:cxn ang="0">
                  <a:pos x="2" y="4"/>
                </a:cxn>
                <a:cxn ang="0">
                  <a:pos x="3" y="4"/>
                </a:cxn>
                <a:cxn ang="0">
                  <a:pos x="3" y="7"/>
                </a:cxn>
                <a:cxn ang="0">
                  <a:pos x="2" y="9"/>
                </a:cxn>
              </a:cxnLst>
              <a:rect l="0" t="0" r="r" b="b"/>
              <a:pathLst>
                <a:path w="5" h="10">
                  <a:moveTo>
                    <a:pt x="2" y="9"/>
                  </a:moveTo>
                  <a:cubicBezTo>
                    <a:pt x="2" y="7"/>
                    <a:pt x="0" y="4"/>
                    <a:pt x="2" y="4"/>
                  </a:cubicBezTo>
                  <a:cubicBezTo>
                    <a:pt x="2" y="2"/>
                    <a:pt x="2" y="0"/>
                    <a:pt x="3" y="4"/>
                  </a:cubicBezTo>
                  <a:cubicBezTo>
                    <a:pt x="3" y="7"/>
                    <a:pt x="3" y="5"/>
                    <a:pt x="3" y="7"/>
                  </a:cubicBezTo>
                  <a:cubicBezTo>
                    <a:pt x="5" y="9"/>
                    <a:pt x="5" y="10"/>
                    <a:pt x="2" y="9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921" name="Freeform 279">
              <a:extLst>
                <a:ext uri="{FF2B5EF4-FFF2-40B4-BE49-F238E27FC236}">
                  <a16:creationId xmlns:a16="http://schemas.microsoft.com/office/drawing/2014/main" id="{CD60C1FA-497F-7A21-3EEF-917195FF29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09499" y="4900215"/>
              <a:ext cx="8034" cy="17674"/>
            </a:xfrm>
            <a:custGeom>
              <a:avLst/>
              <a:gdLst/>
              <a:ahLst/>
              <a:cxnLst>
                <a:cxn ang="0">
                  <a:pos x="2" y="6"/>
                </a:cxn>
                <a:cxn ang="0">
                  <a:pos x="2" y="3"/>
                </a:cxn>
                <a:cxn ang="0">
                  <a:pos x="3" y="1"/>
                </a:cxn>
                <a:cxn ang="0">
                  <a:pos x="3" y="4"/>
                </a:cxn>
                <a:cxn ang="0">
                  <a:pos x="2" y="6"/>
                </a:cxn>
              </a:cxnLst>
              <a:rect l="0" t="0" r="r" b="b"/>
              <a:pathLst>
                <a:path w="3" h="6">
                  <a:moveTo>
                    <a:pt x="2" y="6"/>
                  </a:moveTo>
                  <a:cubicBezTo>
                    <a:pt x="0" y="4"/>
                    <a:pt x="2" y="4"/>
                    <a:pt x="2" y="3"/>
                  </a:cubicBezTo>
                  <a:cubicBezTo>
                    <a:pt x="2" y="1"/>
                    <a:pt x="2" y="0"/>
                    <a:pt x="3" y="1"/>
                  </a:cubicBezTo>
                  <a:cubicBezTo>
                    <a:pt x="3" y="1"/>
                    <a:pt x="3" y="1"/>
                    <a:pt x="3" y="4"/>
                  </a:cubicBezTo>
                  <a:cubicBezTo>
                    <a:pt x="3" y="6"/>
                    <a:pt x="3" y="6"/>
                    <a:pt x="2" y="6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922" name="Freeform 280">
              <a:extLst>
                <a:ext uri="{FF2B5EF4-FFF2-40B4-BE49-F238E27FC236}">
                  <a16:creationId xmlns:a16="http://schemas.microsoft.com/office/drawing/2014/main" id="{03E4CDCA-94E5-1835-C9C3-5565E58A09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09499" y="4980552"/>
              <a:ext cx="14460" cy="16068"/>
            </a:xfrm>
            <a:custGeom>
              <a:avLst/>
              <a:gdLst/>
              <a:ahLst/>
              <a:cxnLst>
                <a:cxn ang="0">
                  <a:pos x="2" y="5"/>
                </a:cxn>
                <a:cxn ang="0">
                  <a:pos x="3" y="2"/>
                </a:cxn>
                <a:cxn ang="0">
                  <a:pos x="2" y="5"/>
                </a:cxn>
              </a:cxnLst>
              <a:rect l="0" t="0" r="r" b="b"/>
              <a:pathLst>
                <a:path w="5" h="5">
                  <a:moveTo>
                    <a:pt x="2" y="5"/>
                  </a:moveTo>
                  <a:cubicBezTo>
                    <a:pt x="0" y="5"/>
                    <a:pt x="5" y="0"/>
                    <a:pt x="3" y="2"/>
                  </a:cubicBezTo>
                  <a:cubicBezTo>
                    <a:pt x="3" y="3"/>
                    <a:pt x="3" y="5"/>
                    <a:pt x="2" y="5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923" name="Freeform 281">
              <a:extLst>
                <a:ext uri="{FF2B5EF4-FFF2-40B4-BE49-F238E27FC236}">
                  <a16:creationId xmlns:a16="http://schemas.microsoft.com/office/drawing/2014/main" id="{F81FDE7F-7E02-357E-BD05-8973FF52D4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95127" y="5391881"/>
              <a:ext cx="25709" cy="24102"/>
            </a:xfrm>
            <a:custGeom>
              <a:avLst/>
              <a:gdLst/>
              <a:ahLst/>
              <a:cxnLst>
                <a:cxn ang="0">
                  <a:pos x="1" y="2"/>
                </a:cxn>
                <a:cxn ang="0">
                  <a:pos x="6" y="5"/>
                </a:cxn>
                <a:cxn ang="0">
                  <a:pos x="1" y="2"/>
                </a:cxn>
              </a:cxnLst>
              <a:rect l="0" t="0" r="r" b="b"/>
              <a:pathLst>
                <a:path w="8" h="8">
                  <a:moveTo>
                    <a:pt x="1" y="2"/>
                  </a:moveTo>
                  <a:cubicBezTo>
                    <a:pt x="3" y="0"/>
                    <a:pt x="8" y="4"/>
                    <a:pt x="6" y="5"/>
                  </a:cubicBezTo>
                  <a:cubicBezTo>
                    <a:pt x="5" y="8"/>
                    <a:pt x="0" y="5"/>
                    <a:pt x="1" y="2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924" name="Freeform 282">
              <a:extLst>
                <a:ext uri="{FF2B5EF4-FFF2-40B4-BE49-F238E27FC236}">
                  <a16:creationId xmlns:a16="http://schemas.microsoft.com/office/drawing/2014/main" id="{AC70A338-B6AA-D697-5FAD-8512AD422B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41723" y="5361352"/>
              <a:ext cx="25709" cy="27315"/>
            </a:xfrm>
            <a:custGeom>
              <a:avLst/>
              <a:gdLst/>
              <a:ahLst/>
              <a:cxnLst>
                <a:cxn ang="0">
                  <a:pos x="5" y="7"/>
                </a:cxn>
                <a:cxn ang="0">
                  <a:pos x="6" y="3"/>
                </a:cxn>
                <a:cxn ang="0">
                  <a:pos x="5" y="7"/>
                </a:cxn>
              </a:cxnLst>
              <a:rect l="0" t="0" r="r" b="b"/>
              <a:pathLst>
                <a:path w="8" h="9">
                  <a:moveTo>
                    <a:pt x="5" y="7"/>
                  </a:moveTo>
                  <a:cubicBezTo>
                    <a:pt x="0" y="9"/>
                    <a:pt x="5" y="0"/>
                    <a:pt x="6" y="3"/>
                  </a:cubicBezTo>
                  <a:cubicBezTo>
                    <a:pt x="6" y="6"/>
                    <a:pt x="8" y="7"/>
                    <a:pt x="5" y="7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925" name="Freeform 283">
              <a:extLst>
                <a:ext uri="{FF2B5EF4-FFF2-40B4-BE49-F238E27FC236}">
                  <a16:creationId xmlns:a16="http://schemas.microsoft.com/office/drawing/2014/main" id="{8FBCB323-1013-F5F0-E667-80304301E7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39092" y="3365767"/>
              <a:ext cx="20888" cy="6427"/>
            </a:xfrm>
            <a:custGeom>
              <a:avLst/>
              <a:gdLst/>
              <a:ahLst/>
              <a:cxnLst>
                <a:cxn ang="0">
                  <a:pos x="6" y="2"/>
                </a:cxn>
                <a:cxn ang="0">
                  <a:pos x="3" y="2"/>
                </a:cxn>
                <a:cxn ang="0">
                  <a:pos x="1" y="2"/>
                </a:cxn>
                <a:cxn ang="0">
                  <a:pos x="6" y="2"/>
                </a:cxn>
              </a:cxnLst>
              <a:rect l="0" t="0" r="r" b="b"/>
              <a:pathLst>
                <a:path w="7" h="2">
                  <a:moveTo>
                    <a:pt x="6" y="2"/>
                  </a:moveTo>
                  <a:cubicBezTo>
                    <a:pt x="7" y="2"/>
                    <a:pt x="4" y="2"/>
                    <a:pt x="3" y="2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3" y="0"/>
                    <a:pt x="4" y="2"/>
                    <a:pt x="6" y="2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926" name="Freeform 284">
              <a:extLst>
                <a:ext uri="{FF2B5EF4-FFF2-40B4-BE49-F238E27FC236}">
                  <a16:creationId xmlns:a16="http://schemas.microsoft.com/office/drawing/2014/main" id="{BFDC6EB8-0AFF-4B31-0423-4F335E52FF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39092" y="3362553"/>
              <a:ext cx="17675" cy="3213"/>
            </a:xfrm>
            <a:custGeom>
              <a:avLst/>
              <a:gdLst/>
              <a:ahLst/>
              <a:cxnLst>
                <a:cxn ang="0">
                  <a:pos x="1" y="1"/>
                </a:cxn>
                <a:cxn ang="0">
                  <a:pos x="4" y="1"/>
                </a:cxn>
                <a:cxn ang="0">
                  <a:pos x="1" y="1"/>
                </a:cxn>
              </a:cxnLst>
              <a:rect l="0" t="0" r="r" b="b"/>
              <a:pathLst>
                <a:path w="6" h="1">
                  <a:moveTo>
                    <a:pt x="1" y="1"/>
                  </a:moveTo>
                  <a:cubicBezTo>
                    <a:pt x="0" y="0"/>
                    <a:pt x="6" y="1"/>
                    <a:pt x="4" y="1"/>
                  </a:cubicBezTo>
                  <a:cubicBezTo>
                    <a:pt x="3" y="1"/>
                    <a:pt x="1" y="1"/>
                    <a:pt x="1" y="1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927" name="Freeform 285">
              <a:extLst>
                <a:ext uri="{FF2B5EF4-FFF2-40B4-BE49-F238E27FC236}">
                  <a16:creationId xmlns:a16="http://schemas.microsoft.com/office/drawing/2014/main" id="{D5D308C7-0948-C949-6CE9-36B31642016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42305" y="3378621"/>
              <a:ext cx="14460" cy="3213"/>
            </a:xfrm>
            <a:custGeom>
              <a:avLst/>
              <a:gdLst/>
              <a:ahLst/>
              <a:cxnLst>
                <a:cxn ang="0">
                  <a:pos x="2" y="1"/>
                </a:cxn>
                <a:cxn ang="0">
                  <a:pos x="5" y="1"/>
                </a:cxn>
                <a:cxn ang="0">
                  <a:pos x="3" y="1"/>
                </a:cxn>
                <a:cxn ang="0">
                  <a:pos x="2" y="1"/>
                </a:cxn>
              </a:cxnLst>
              <a:rect l="0" t="0" r="r" b="b"/>
              <a:pathLst>
                <a:path w="5" h="1">
                  <a:moveTo>
                    <a:pt x="2" y="1"/>
                  </a:moveTo>
                  <a:cubicBezTo>
                    <a:pt x="0" y="0"/>
                    <a:pt x="5" y="0"/>
                    <a:pt x="5" y="1"/>
                  </a:cubicBezTo>
                  <a:cubicBezTo>
                    <a:pt x="5" y="1"/>
                    <a:pt x="5" y="1"/>
                    <a:pt x="3" y="1"/>
                  </a:cubicBezTo>
                  <a:cubicBezTo>
                    <a:pt x="2" y="1"/>
                    <a:pt x="2" y="1"/>
                    <a:pt x="2" y="1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928" name="Freeform 286">
              <a:extLst>
                <a:ext uri="{FF2B5EF4-FFF2-40B4-BE49-F238E27FC236}">
                  <a16:creationId xmlns:a16="http://schemas.microsoft.com/office/drawing/2014/main" id="{6C77946C-4EBB-AA70-FBF4-5504497E31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89281" y="3299890"/>
              <a:ext cx="8034" cy="9640"/>
            </a:xfrm>
            <a:custGeom>
              <a:avLst/>
              <a:gdLst/>
              <a:ahLst/>
              <a:cxnLst>
                <a:cxn ang="0">
                  <a:pos x="3" y="3"/>
                </a:cxn>
                <a:cxn ang="0">
                  <a:pos x="0" y="1"/>
                </a:cxn>
                <a:cxn ang="0">
                  <a:pos x="2" y="0"/>
                </a:cxn>
                <a:cxn ang="0">
                  <a:pos x="3" y="1"/>
                </a:cxn>
                <a:cxn ang="0">
                  <a:pos x="3" y="3"/>
                </a:cxn>
              </a:cxnLst>
              <a:rect l="0" t="0" r="r" b="b"/>
              <a:pathLst>
                <a:path w="3" h="3">
                  <a:moveTo>
                    <a:pt x="3" y="3"/>
                  </a:moveTo>
                  <a:cubicBezTo>
                    <a:pt x="2" y="3"/>
                    <a:pt x="0" y="1"/>
                    <a:pt x="0" y="1"/>
                  </a:cubicBezTo>
                  <a:cubicBezTo>
                    <a:pt x="2" y="0"/>
                    <a:pt x="0" y="0"/>
                    <a:pt x="2" y="0"/>
                  </a:cubicBezTo>
                  <a:cubicBezTo>
                    <a:pt x="2" y="0"/>
                    <a:pt x="2" y="0"/>
                    <a:pt x="3" y="1"/>
                  </a:cubicBezTo>
                  <a:cubicBezTo>
                    <a:pt x="3" y="3"/>
                    <a:pt x="3" y="3"/>
                    <a:pt x="3" y="3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929" name="Freeform 287">
              <a:extLst>
                <a:ext uri="{FF2B5EF4-FFF2-40B4-BE49-F238E27FC236}">
                  <a16:creationId xmlns:a16="http://schemas.microsoft.com/office/drawing/2014/main" id="{F4500FAB-6B20-E40E-8C21-828553202A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86068" y="3299890"/>
              <a:ext cx="8034" cy="22494"/>
            </a:xfrm>
            <a:custGeom>
              <a:avLst/>
              <a:gdLst/>
              <a:ahLst/>
              <a:cxnLst>
                <a:cxn ang="0">
                  <a:pos x="3" y="6"/>
                </a:cxn>
                <a:cxn ang="0">
                  <a:pos x="1" y="3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3" y="6"/>
                </a:cxn>
              </a:cxnLst>
              <a:rect l="0" t="0" r="r" b="b"/>
              <a:pathLst>
                <a:path w="3" h="7">
                  <a:moveTo>
                    <a:pt x="3" y="6"/>
                  </a:moveTo>
                  <a:cubicBezTo>
                    <a:pt x="1" y="4"/>
                    <a:pt x="0" y="3"/>
                    <a:pt x="1" y="3"/>
                  </a:cubicBezTo>
                  <a:cubicBezTo>
                    <a:pt x="1" y="3"/>
                    <a:pt x="1" y="4"/>
                    <a:pt x="1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" y="1"/>
                    <a:pt x="3" y="7"/>
                    <a:pt x="3" y="6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930" name="Freeform 288">
              <a:extLst>
                <a:ext uri="{FF2B5EF4-FFF2-40B4-BE49-F238E27FC236}">
                  <a16:creationId xmlns:a16="http://schemas.microsoft.com/office/drawing/2014/main" id="{1682744A-1360-16A3-E27F-D0524A781E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94102" y="3312744"/>
              <a:ext cx="12854" cy="19281"/>
            </a:xfrm>
            <a:custGeom>
              <a:avLst/>
              <a:gdLst/>
              <a:ahLst/>
              <a:cxnLst>
                <a:cxn ang="0">
                  <a:pos x="4" y="5"/>
                </a:cxn>
                <a:cxn ang="0">
                  <a:pos x="1" y="2"/>
                </a:cxn>
                <a:cxn ang="0">
                  <a:pos x="1" y="3"/>
                </a:cxn>
                <a:cxn ang="0">
                  <a:pos x="4" y="5"/>
                </a:cxn>
              </a:cxnLst>
              <a:rect l="0" t="0" r="r" b="b"/>
              <a:pathLst>
                <a:path w="4" h="6">
                  <a:moveTo>
                    <a:pt x="4" y="5"/>
                  </a:moveTo>
                  <a:cubicBezTo>
                    <a:pt x="1" y="3"/>
                    <a:pt x="1" y="3"/>
                    <a:pt x="1" y="2"/>
                  </a:cubicBezTo>
                  <a:cubicBezTo>
                    <a:pt x="0" y="0"/>
                    <a:pt x="1" y="2"/>
                    <a:pt x="1" y="3"/>
                  </a:cubicBezTo>
                  <a:cubicBezTo>
                    <a:pt x="3" y="3"/>
                    <a:pt x="4" y="6"/>
                    <a:pt x="4" y="5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931" name="Freeform 301">
              <a:extLst>
                <a:ext uri="{FF2B5EF4-FFF2-40B4-BE49-F238E27FC236}">
                  <a16:creationId xmlns:a16="http://schemas.microsoft.com/office/drawing/2014/main" id="{CB9474A8-E3F7-CD68-FCFC-A628B2CB0B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71139" y="3388262"/>
              <a:ext cx="6427" cy="9640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2" y="3"/>
                </a:cxn>
                <a:cxn ang="0">
                  <a:pos x="0" y="1"/>
                </a:cxn>
              </a:cxnLst>
              <a:rect l="0" t="0" r="r" b="b"/>
              <a:pathLst>
                <a:path w="2" h="3">
                  <a:moveTo>
                    <a:pt x="0" y="1"/>
                  </a:moveTo>
                  <a:cubicBezTo>
                    <a:pt x="0" y="3"/>
                    <a:pt x="2" y="3"/>
                    <a:pt x="2" y="3"/>
                  </a:cubicBezTo>
                  <a:cubicBezTo>
                    <a:pt x="2" y="1"/>
                    <a:pt x="2" y="0"/>
                    <a:pt x="0" y="1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932" name="Freeform 1256">
              <a:extLst>
                <a:ext uri="{FF2B5EF4-FFF2-40B4-BE49-F238E27FC236}">
                  <a16:creationId xmlns:a16="http://schemas.microsoft.com/office/drawing/2014/main" id="{E3B6CD85-B5B2-F323-146A-A77D435ED80A}"/>
                </a:ext>
              </a:extLst>
            </p:cNvPr>
            <p:cNvSpPr/>
            <p:nvPr/>
          </p:nvSpPr>
          <p:spPr bwMode="ltGray">
            <a:xfrm>
              <a:off x="18021021" y="4384586"/>
              <a:ext cx="263119" cy="74736"/>
            </a:xfrm>
            <a:custGeom>
              <a:avLst/>
              <a:gdLst>
                <a:gd name="connsiteX0" fmla="*/ 0 w 235744"/>
                <a:gd name="connsiteY0" fmla="*/ 64294 h 66960"/>
                <a:gd name="connsiteX1" fmla="*/ 16669 w 235744"/>
                <a:gd name="connsiteY1" fmla="*/ 54769 h 66960"/>
                <a:gd name="connsiteX2" fmla="*/ 14288 w 235744"/>
                <a:gd name="connsiteY2" fmla="*/ 47625 h 66960"/>
                <a:gd name="connsiteX3" fmla="*/ 16669 w 235744"/>
                <a:gd name="connsiteY3" fmla="*/ 35719 h 66960"/>
                <a:gd name="connsiteX4" fmla="*/ 30956 w 235744"/>
                <a:gd name="connsiteY4" fmla="*/ 30956 h 66960"/>
                <a:gd name="connsiteX5" fmla="*/ 38100 w 235744"/>
                <a:gd name="connsiteY5" fmla="*/ 35719 h 66960"/>
                <a:gd name="connsiteX6" fmla="*/ 42863 w 235744"/>
                <a:gd name="connsiteY6" fmla="*/ 42863 h 66960"/>
                <a:gd name="connsiteX7" fmla="*/ 50006 w 235744"/>
                <a:gd name="connsiteY7" fmla="*/ 50006 h 66960"/>
                <a:gd name="connsiteX8" fmla="*/ 52388 w 235744"/>
                <a:gd name="connsiteY8" fmla="*/ 57150 h 66960"/>
                <a:gd name="connsiteX9" fmla="*/ 71438 w 235744"/>
                <a:gd name="connsiteY9" fmla="*/ 57150 h 66960"/>
                <a:gd name="connsiteX10" fmla="*/ 95250 w 235744"/>
                <a:gd name="connsiteY10" fmla="*/ 59531 h 66960"/>
                <a:gd name="connsiteX11" fmla="*/ 100013 w 235744"/>
                <a:gd name="connsiteY11" fmla="*/ 66675 h 66960"/>
                <a:gd name="connsiteX12" fmla="*/ 114300 w 235744"/>
                <a:gd name="connsiteY12" fmla="*/ 64294 h 66960"/>
                <a:gd name="connsiteX13" fmla="*/ 116681 w 235744"/>
                <a:gd name="connsiteY13" fmla="*/ 52388 h 66960"/>
                <a:gd name="connsiteX14" fmla="*/ 140494 w 235744"/>
                <a:gd name="connsiteY14" fmla="*/ 50006 h 66960"/>
                <a:gd name="connsiteX15" fmla="*/ 147638 w 235744"/>
                <a:gd name="connsiteY15" fmla="*/ 47625 h 66960"/>
                <a:gd name="connsiteX16" fmla="*/ 152400 w 235744"/>
                <a:gd name="connsiteY16" fmla="*/ 40481 h 66960"/>
                <a:gd name="connsiteX17" fmla="*/ 169069 w 235744"/>
                <a:gd name="connsiteY17" fmla="*/ 38100 h 66960"/>
                <a:gd name="connsiteX18" fmla="*/ 176213 w 235744"/>
                <a:gd name="connsiteY18" fmla="*/ 35719 h 66960"/>
                <a:gd name="connsiteX19" fmla="*/ 178594 w 235744"/>
                <a:gd name="connsiteY19" fmla="*/ 23813 h 66960"/>
                <a:gd name="connsiteX20" fmla="*/ 180975 w 235744"/>
                <a:gd name="connsiteY20" fmla="*/ 16669 h 66960"/>
                <a:gd name="connsiteX21" fmla="*/ 183356 w 235744"/>
                <a:gd name="connsiteY21" fmla="*/ 2381 h 66960"/>
                <a:gd name="connsiteX22" fmla="*/ 190500 w 235744"/>
                <a:gd name="connsiteY22" fmla="*/ 0 h 66960"/>
                <a:gd name="connsiteX23" fmla="*/ 195263 w 235744"/>
                <a:gd name="connsiteY23" fmla="*/ 16669 h 66960"/>
                <a:gd name="connsiteX24" fmla="*/ 200025 w 235744"/>
                <a:gd name="connsiteY24" fmla="*/ 30956 h 66960"/>
                <a:gd name="connsiteX25" fmla="*/ 216694 w 235744"/>
                <a:gd name="connsiteY25" fmla="*/ 47625 h 66960"/>
                <a:gd name="connsiteX26" fmla="*/ 228600 w 235744"/>
                <a:gd name="connsiteY26" fmla="*/ 50006 h 66960"/>
                <a:gd name="connsiteX27" fmla="*/ 235744 w 235744"/>
                <a:gd name="connsiteY27" fmla="*/ 54769 h 66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35744" h="66960">
                  <a:moveTo>
                    <a:pt x="0" y="64294"/>
                  </a:moveTo>
                  <a:cubicBezTo>
                    <a:pt x="7024" y="62889"/>
                    <a:pt x="15098" y="64193"/>
                    <a:pt x="16669" y="54769"/>
                  </a:cubicBezTo>
                  <a:cubicBezTo>
                    <a:pt x="17082" y="52293"/>
                    <a:pt x="15082" y="50006"/>
                    <a:pt x="14288" y="47625"/>
                  </a:cubicBezTo>
                  <a:cubicBezTo>
                    <a:pt x="15082" y="43656"/>
                    <a:pt x="13807" y="38581"/>
                    <a:pt x="16669" y="35719"/>
                  </a:cubicBezTo>
                  <a:cubicBezTo>
                    <a:pt x="20219" y="32169"/>
                    <a:pt x="30956" y="30956"/>
                    <a:pt x="30956" y="30956"/>
                  </a:cubicBezTo>
                  <a:cubicBezTo>
                    <a:pt x="33337" y="32544"/>
                    <a:pt x="36076" y="33695"/>
                    <a:pt x="38100" y="35719"/>
                  </a:cubicBezTo>
                  <a:cubicBezTo>
                    <a:pt x="40124" y="37743"/>
                    <a:pt x="41031" y="40664"/>
                    <a:pt x="42863" y="42863"/>
                  </a:cubicBezTo>
                  <a:cubicBezTo>
                    <a:pt x="45019" y="45450"/>
                    <a:pt x="47625" y="47625"/>
                    <a:pt x="50006" y="50006"/>
                  </a:cubicBezTo>
                  <a:cubicBezTo>
                    <a:pt x="50800" y="52387"/>
                    <a:pt x="50613" y="55375"/>
                    <a:pt x="52388" y="57150"/>
                  </a:cubicBezTo>
                  <a:cubicBezTo>
                    <a:pt x="57269" y="62031"/>
                    <a:pt x="66910" y="58055"/>
                    <a:pt x="71438" y="57150"/>
                  </a:cubicBezTo>
                  <a:cubicBezTo>
                    <a:pt x="79375" y="57944"/>
                    <a:pt x="87682" y="57008"/>
                    <a:pt x="95250" y="59531"/>
                  </a:cubicBezTo>
                  <a:cubicBezTo>
                    <a:pt x="97965" y="60436"/>
                    <a:pt x="97236" y="65981"/>
                    <a:pt x="100013" y="66675"/>
                  </a:cubicBezTo>
                  <a:cubicBezTo>
                    <a:pt x="104697" y="67846"/>
                    <a:pt x="109538" y="65088"/>
                    <a:pt x="114300" y="64294"/>
                  </a:cubicBezTo>
                  <a:cubicBezTo>
                    <a:pt x="115094" y="60325"/>
                    <a:pt x="114673" y="55902"/>
                    <a:pt x="116681" y="52388"/>
                  </a:cubicBezTo>
                  <a:cubicBezTo>
                    <a:pt x="121734" y="43546"/>
                    <a:pt x="134251" y="49114"/>
                    <a:pt x="140494" y="50006"/>
                  </a:cubicBezTo>
                  <a:cubicBezTo>
                    <a:pt x="142875" y="49212"/>
                    <a:pt x="145678" y="49193"/>
                    <a:pt x="147638" y="47625"/>
                  </a:cubicBezTo>
                  <a:cubicBezTo>
                    <a:pt x="149873" y="45837"/>
                    <a:pt x="149785" y="41643"/>
                    <a:pt x="152400" y="40481"/>
                  </a:cubicBezTo>
                  <a:cubicBezTo>
                    <a:pt x="157529" y="38201"/>
                    <a:pt x="163513" y="38894"/>
                    <a:pt x="169069" y="38100"/>
                  </a:cubicBezTo>
                  <a:cubicBezTo>
                    <a:pt x="171450" y="37306"/>
                    <a:pt x="174821" y="37808"/>
                    <a:pt x="176213" y="35719"/>
                  </a:cubicBezTo>
                  <a:cubicBezTo>
                    <a:pt x="178458" y="32352"/>
                    <a:pt x="177612" y="27739"/>
                    <a:pt x="178594" y="23813"/>
                  </a:cubicBezTo>
                  <a:cubicBezTo>
                    <a:pt x="179203" y="21378"/>
                    <a:pt x="180431" y="19119"/>
                    <a:pt x="180975" y="16669"/>
                  </a:cubicBezTo>
                  <a:cubicBezTo>
                    <a:pt x="182022" y="11956"/>
                    <a:pt x="180960" y="6573"/>
                    <a:pt x="183356" y="2381"/>
                  </a:cubicBezTo>
                  <a:cubicBezTo>
                    <a:pt x="184601" y="202"/>
                    <a:pt x="188119" y="794"/>
                    <a:pt x="190500" y="0"/>
                  </a:cubicBezTo>
                  <a:cubicBezTo>
                    <a:pt x="198505" y="24018"/>
                    <a:pt x="186289" y="-13243"/>
                    <a:pt x="195263" y="16669"/>
                  </a:cubicBezTo>
                  <a:cubicBezTo>
                    <a:pt x="196706" y="21477"/>
                    <a:pt x="198438" y="26194"/>
                    <a:pt x="200025" y="30956"/>
                  </a:cubicBezTo>
                  <a:cubicBezTo>
                    <a:pt x="203019" y="39940"/>
                    <a:pt x="203046" y="44896"/>
                    <a:pt x="216694" y="47625"/>
                  </a:cubicBezTo>
                  <a:lnTo>
                    <a:pt x="228600" y="50006"/>
                  </a:lnTo>
                  <a:lnTo>
                    <a:pt x="235744" y="54769"/>
                  </a:ln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chemeClr val="tx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933" name="Freeform 1257">
              <a:extLst>
                <a:ext uri="{FF2B5EF4-FFF2-40B4-BE49-F238E27FC236}">
                  <a16:creationId xmlns:a16="http://schemas.microsoft.com/office/drawing/2014/main" id="{1DCCF253-5FAF-7A39-A10F-DD2DB61C87E6}"/>
                </a:ext>
              </a:extLst>
            </p:cNvPr>
            <p:cNvSpPr/>
            <p:nvPr/>
          </p:nvSpPr>
          <p:spPr bwMode="ltGray">
            <a:xfrm>
              <a:off x="18018160" y="4382057"/>
              <a:ext cx="305902" cy="262440"/>
            </a:xfrm>
            <a:custGeom>
              <a:avLst/>
              <a:gdLst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29061 w 1920955"/>
                <a:gd name="connsiteY34" fmla="*/ 688763 h 1660322"/>
                <a:gd name="connsiteX35" fmla="*/ 114774 w 1920955"/>
                <a:gd name="connsiteY35" fmla="*/ 741151 h 1660322"/>
                <a:gd name="connsiteX36" fmla="*/ 167161 w 1920955"/>
                <a:gd name="connsiteY36" fmla="*/ 779251 h 1660322"/>
                <a:gd name="connsiteX37" fmla="*/ 238599 w 1920955"/>
                <a:gd name="connsiteY37" fmla="*/ 779251 h 1660322"/>
                <a:gd name="connsiteX38" fmla="*/ 290986 w 1920955"/>
                <a:gd name="connsiteY38" fmla="*/ 817351 h 1660322"/>
                <a:gd name="connsiteX39" fmla="*/ 314799 w 1920955"/>
                <a:gd name="connsiteY39" fmla="*/ 864976 h 1660322"/>
                <a:gd name="connsiteX40" fmla="*/ 310036 w 1920955"/>
                <a:gd name="connsiteY40" fmla="*/ 884026 h 1660322"/>
                <a:gd name="connsiteX41" fmla="*/ 338611 w 1920955"/>
                <a:gd name="connsiteY41" fmla="*/ 950701 h 1660322"/>
                <a:gd name="connsiteX42" fmla="*/ 448149 w 1920955"/>
                <a:gd name="connsiteY42" fmla="*/ 1012613 h 1660322"/>
                <a:gd name="connsiteX43" fmla="*/ 481486 w 1920955"/>
                <a:gd name="connsiteY43" fmla="*/ 1088813 h 1660322"/>
                <a:gd name="connsiteX44" fmla="*/ 438624 w 1920955"/>
                <a:gd name="connsiteY44" fmla="*/ 1150726 h 1660322"/>
                <a:gd name="connsiteX45" fmla="*/ 538636 w 1920955"/>
                <a:gd name="connsiteY45" fmla="*/ 1217401 h 1660322"/>
                <a:gd name="connsiteX46" fmla="*/ 586261 w 1920955"/>
                <a:gd name="connsiteY46" fmla="*/ 1255501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07095 w 1920955"/>
                <a:gd name="connsiteY34" fmla="*/ 670892 h 1660322"/>
                <a:gd name="connsiteX35" fmla="*/ 114774 w 1920955"/>
                <a:gd name="connsiteY35" fmla="*/ 741151 h 1660322"/>
                <a:gd name="connsiteX36" fmla="*/ 167161 w 1920955"/>
                <a:gd name="connsiteY36" fmla="*/ 779251 h 1660322"/>
                <a:gd name="connsiteX37" fmla="*/ 238599 w 1920955"/>
                <a:gd name="connsiteY37" fmla="*/ 779251 h 1660322"/>
                <a:gd name="connsiteX38" fmla="*/ 290986 w 1920955"/>
                <a:gd name="connsiteY38" fmla="*/ 817351 h 1660322"/>
                <a:gd name="connsiteX39" fmla="*/ 314799 w 1920955"/>
                <a:gd name="connsiteY39" fmla="*/ 864976 h 1660322"/>
                <a:gd name="connsiteX40" fmla="*/ 310036 w 1920955"/>
                <a:gd name="connsiteY40" fmla="*/ 884026 h 1660322"/>
                <a:gd name="connsiteX41" fmla="*/ 338611 w 1920955"/>
                <a:gd name="connsiteY41" fmla="*/ 950701 h 1660322"/>
                <a:gd name="connsiteX42" fmla="*/ 448149 w 1920955"/>
                <a:gd name="connsiteY42" fmla="*/ 1012613 h 1660322"/>
                <a:gd name="connsiteX43" fmla="*/ 481486 w 1920955"/>
                <a:gd name="connsiteY43" fmla="*/ 1088813 h 1660322"/>
                <a:gd name="connsiteX44" fmla="*/ 438624 w 1920955"/>
                <a:gd name="connsiteY44" fmla="*/ 1150726 h 1660322"/>
                <a:gd name="connsiteX45" fmla="*/ 538636 w 1920955"/>
                <a:gd name="connsiteY45" fmla="*/ 1217401 h 1660322"/>
                <a:gd name="connsiteX46" fmla="*/ 586261 w 1920955"/>
                <a:gd name="connsiteY46" fmla="*/ 1255501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68110 w 1920955"/>
                <a:gd name="connsiteY34" fmla="*/ 637701 h 1660322"/>
                <a:gd name="connsiteX35" fmla="*/ 114774 w 1920955"/>
                <a:gd name="connsiteY35" fmla="*/ 741151 h 1660322"/>
                <a:gd name="connsiteX36" fmla="*/ 167161 w 1920955"/>
                <a:gd name="connsiteY36" fmla="*/ 779251 h 1660322"/>
                <a:gd name="connsiteX37" fmla="*/ 238599 w 1920955"/>
                <a:gd name="connsiteY37" fmla="*/ 779251 h 1660322"/>
                <a:gd name="connsiteX38" fmla="*/ 290986 w 1920955"/>
                <a:gd name="connsiteY38" fmla="*/ 817351 h 1660322"/>
                <a:gd name="connsiteX39" fmla="*/ 314799 w 1920955"/>
                <a:gd name="connsiteY39" fmla="*/ 864976 h 1660322"/>
                <a:gd name="connsiteX40" fmla="*/ 310036 w 1920955"/>
                <a:gd name="connsiteY40" fmla="*/ 884026 h 1660322"/>
                <a:gd name="connsiteX41" fmla="*/ 338611 w 1920955"/>
                <a:gd name="connsiteY41" fmla="*/ 950701 h 1660322"/>
                <a:gd name="connsiteX42" fmla="*/ 448149 w 1920955"/>
                <a:gd name="connsiteY42" fmla="*/ 1012613 h 1660322"/>
                <a:gd name="connsiteX43" fmla="*/ 481486 w 1920955"/>
                <a:gd name="connsiteY43" fmla="*/ 1088813 h 1660322"/>
                <a:gd name="connsiteX44" fmla="*/ 438624 w 1920955"/>
                <a:gd name="connsiteY44" fmla="*/ 1150726 h 1660322"/>
                <a:gd name="connsiteX45" fmla="*/ 538636 w 1920955"/>
                <a:gd name="connsiteY45" fmla="*/ 1217401 h 1660322"/>
                <a:gd name="connsiteX46" fmla="*/ 586261 w 1920955"/>
                <a:gd name="connsiteY46" fmla="*/ 1255501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11977 w 1920955"/>
                <a:gd name="connsiteY34" fmla="*/ 678550 h 1660322"/>
                <a:gd name="connsiteX35" fmla="*/ 114774 w 1920955"/>
                <a:gd name="connsiteY35" fmla="*/ 741151 h 1660322"/>
                <a:gd name="connsiteX36" fmla="*/ 167161 w 1920955"/>
                <a:gd name="connsiteY36" fmla="*/ 779251 h 1660322"/>
                <a:gd name="connsiteX37" fmla="*/ 238599 w 1920955"/>
                <a:gd name="connsiteY37" fmla="*/ 779251 h 1660322"/>
                <a:gd name="connsiteX38" fmla="*/ 290986 w 1920955"/>
                <a:gd name="connsiteY38" fmla="*/ 817351 h 1660322"/>
                <a:gd name="connsiteX39" fmla="*/ 314799 w 1920955"/>
                <a:gd name="connsiteY39" fmla="*/ 864976 h 1660322"/>
                <a:gd name="connsiteX40" fmla="*/ 310036 w 1920955"/>
                <a:gd name="connsiteY40" fmla="*/ 884026 h 1660322"/>
                <a:gd name="connsiteX41" fmla="*/ 338611 w 1920955"/>
                <a:gd name="connsiteY41" fmla="*/ 950701 h 1660322"/>
                <a:gd name="connsiteX42" fmla="*/ 448149 w 1920955"/>
                <a:gd name="connsiteY42" fmla="*/ 1012613 h 1660322"/>
                <a:gd name="connsiteX43" fmla="*/ 481486 w 1920955"/>
                <a:gd name="connsiteY43" fmla="*/ 1088813 h 1660322"/>
                <a:gd name="connsiteX44" fmla="*/ 438624 w 1920955"/>
                <a:gd name="connsiteY44" fmla="*/ 1150726 h 1660322"/>
                <a:gd name="connsiteX45" fmla="*/ 538636 w 1920955"/>
                <a:gd name="connsiteY45" fmla="*/ 1217401 h 1660322"/>
                <a:gd name="connsiteX46" fmla="*/ 586261 w 1920955"/>
                <a:gd name="connsiteY46" fmla="*/ 1255501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11977 w 1920955"/>
                <a:gd name="connsiteY34" fmla="*/ 678550 h 1660322"/>
                <a:gd name="connsiteX35" fmla="*/ 107453 w 1920955"/>
                <a:gd name="connsiteY35" fmla="*/ 746256 h 1660322"/>
                <a:gd name="connsiteX36" fmla="*/ 167161 w 1920955"/>
                <a:gd name="connsiteY36" fmla="*/ 779251 h 1660322"/>
                <a:gd name="connsiteX37" fmla="*/ 238599 w 1920955"/>
                <a:gd name="connsiteY37" fmla="*/ 779251 h 1660322"/>
                <a:gd name="connsiteX38" fmla="*/ 290986 w 1920955"/>
                <a:gd name="connsiteY38" fmla="*/ 817351 h 1660322"/>
                <a:gd name="connsiteX39" fmla="*/ 314799 w 1920955"/>
                <a:gd name="connsiteY39" fmla="*/ 864976 h 1660322"/>
                <a:gd name="connsiteX40" fmla="*/ 310036 w 1920955"/>
                <a:gd name="connsiteY40" fmla="*/ 884026 h 1660322"/>
                <a:gd name="connsiteX41" fmla="*/ 338611 w 1920955"/>
                <a:gd name="connsiteY41" fmla="*/ 950701 h 1660322"/>
                <a:gd name="connsiteX42" fmla="*/ 448149 w 1920955"/>
                <a:gd name="connsiteY42" fmla="*/ 1012613 h 1660322"/>
                <a:gd name="connsiteX43" fmla="*/ 481486 w 1920955"/>
                <a:gd name="connsiteY43" fmla="*/ 1088813 h 1660322"/>
                <a:gd name="connsiteX44" fmla="*/ 438624 w 1920955"/>
                <a:gd name="connsiteY44" fmla="*/ 1150726 h 1660322"/>
                <a:gd name="connsiteX45" fmla="*/ 538636 w 1920955"/>
                <a:gd name="connsiteY45" fmla="*/ 1217401 h 1660322"/>
                <a:gd name="connsiteX46" fmla="*/ 586261 w 1920955"/>
                <a:gd name="connsiteY46" fmla="*/ 1255501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11977 w 1920955"/>
                <a:gd name="connsiteY34" fmla="*/ 678550 h 1660322"/>
                <a:gd name="connsiteX35" fmla="*/ 112334 w 1920955"/>
                <a:gd name="connsiteY35" fmla="*/ 748809 h 1660322"/>
                <a:gd name="connsiteX36" fmla="*/ 167161 w 1920955"/>
                <a:gd name="connsiteY36" fmla="*/ 779251 h 1660322"/>
                <a:gd name="connsiteX37" fmla="*/ 238599 w 1920955"/>
                <a:gd name="connsiteY37" fmla="*/ 779251 h 1660322"/>
                <a:gd name="connsiteX38" fmla="*/ 290986 w 1920955"/>
                <a:gd name="connsiteY38" fmla="*/ 817351 h 1660322"/>
                <a:gd name="connsiteX39" fmla="*/ 314799 w 1920955"/>
                <a:gd name="connsiteY39" fmla="*/ 864976 h 1660322"/>
                <a:gd name="connsiteX40" fmla="*/ 310036 w 1920955"/>
                <a:gd name="connsiteY40" fmla="*/ 884026 h 1660322"/>
                <a:gd name="connsiteX41" fmla="*/ 338611 w 1920955"/>
                <a:gd name="connsiteY41" fmla="*/ 950701 h 1660322"/>
                <a:gd name="connsiteX42" fmla="*/ 448149 w 1920955"/>
                <a:gd name="connsiteY42" fmla="*/ 1012613 h 1660322"/>
                <a:gd name="connsiteX43" fmla="*/ 481486 w 1920955"/>
                <a:gd name="connsiteY43" fmla="*/ 1088813 h 1660322"/>
                <a:gd name="connsiteX44" fmla="*/ 438624 w 1920955"/>
                <a:gd name="connsiteY44" fmla="*/ 1150726 h 1660322"/>
                <a:gd name="connsiteX45" fmla="*/ 538636 w 1920955"/>
                <a:gd name="connsiteY45" fmla="*/ 1217401 h 1660322"/>
                <a:gd name="connsiteX46" fmla="*/ 586261 w 1920955"/>
                <a:gd name="connsiteY46" fmla="*/ 1255501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11977 w 1920955"/>
                <a:gd name="connsiteY34" fmla="*/ 678550 h 1660322"/>
                <a:gd name="connsiteX35" fmla="*/ 112334 w 1920955"/>
                <a:gd name="connsiteY35" fmla="*/ 748809 h 1660322"/>
                <a:gd name="connsiteX36" fmla="*/ 167161 w 1920955"/>
                <a:gd name="connsiteY36" fmla="*/ 779251 h 1660322"/>
                <a:gd name="connsiteX37" fmla="*/ 236159 w 1920955"/>
                <a:gd name="connsiteY37" fmla="*/ 789463 h 1660322"/>
                <a:gd name="connsiteX38" fmla="*/ 290986 w 1920955"/>
                <a:gd name="connsiteY38" fmla="*/ 817351 h 1660322"/>
                <a:gd name="connsiteX39" fmla="*/ 314799 w 1920955"/>
                <a:gd name="connsiteY39" fmla="*/ 864976 h 1660322"/>
                <a:gd name="connsiteX40" fmla="*/ 310036 w 1920955"/>
                <a:gd name="connsiteY40" fmla="*/ 884026 h 1660322"/>
                <a:gd name="connsiteX41" fmla="*/ 338611 w 1920955"/>
                <a:gd name="connsiteY41" fmla="*/ 950701 h 1660322"/>
                <a:gd name="connsiteX42" fmla="*/ 448149 w 1920955"/>
                <a:gd name="connsiteY42" fmla="*/ 1012613 h 1660322"/>
                <a:gd name="connsiteX43" fmla="*/ 481486 w 1920955"/>
                <a:gd name="connsiteY43" fmla="*/ 1088813 h 1660322"/>
                <a:gd name="connsiteX44" fmla="*/ 438624 w 1920955"/>
                <a:gd name="connsiteY44" fmla="*/ 1150726 h 1660322"/>
                <a:gd name="connsiteX45" fmla="*/ 538636 w 1920955"/>
                <a:gd name="connsiteY45" fmla="*/ 1217401 h 1660322"/>
                <a:gd name="connsiteX46" fmla="*/ 586261 w 1920955"/>
                <a:gd name="connsiteY46" fmla="*/ 1255501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11977 w 1920955"/>
                <a:gd name="connsiteY34" fmla="*/ 678550 h 1660322"/>
                <a:gd name="connsiteX35" fmla="*/ 112334 w 1920955"/>
                <a:gd name="connsiteY35" fmla="*/ 748809 h 1660322"/>
                <a:gd name="connsiteX36" fmla="*/ 167161 w 1920955"/>
                <a:gd name="connsiteY36" fmla="*/ 779251 h 1660322"/>
                <a:gd name="connsiteX37" fmla="*/ 236159 w 1920955"/>
                <a:gd name="connsiteY37" fmla="*/ 789463 h 1660322"/>
                <a:gd name="connsiteX38" fmla="*/ 271462 w 1920955"/>
                <a:gd name="connsiteY38" fmla="*/ 845434 h 1660322"/>
                <a:gd name="connsiteX39" fmla="*/ 314799 w 1920955"/>
                <a:gd name="connsiteY39" fmla="*/ 864976 h 1660322"/>
                <a:gd name="connsiteX40" fmla="*/ 310036 w 1920955"/>
                <a:gd name="connsiteY40" fmla="*/ 884026 h 1660322"/>
                <a:gd name="connsiteX41" fmla="*/ 338611 w 1920955"/>
                <a:gd name="connsiteY41" fmla="*/ 950701 h 1660322"/>
                <a:gd name="connsiteX42" fmla="*/ 448149 w 1920955"/>
                <a:gd name="connsiteY42" fmla="*/ 1012613 h 1660322"/>
                <a:gd name="connsiteX43" fmla="*/ 481486 w 1920955"/>
                <a:gd name="connsiteY43" fmla="*/ 1088813 h 1660322"/>
                <a:gd name="connsiteX44" fmla="*/ 438624 w 1920955"/>
                <a:gd name="connsiteY44" fmla="*/ 1150726 h 1660322"/>
                <a:gd name="connsiteX45" fmla="*/ 538636 w 1920955"/>
                <a:gd name="connsiteY45" fmla="*/ 1217401 h 1660322"/>
                <a:gd name="connsiteX46" fmla="*/ 586261 w 1920955"/>
                <a:gd name="connsiteY46" fmla="*/ 1255501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11977 w 1920955"/>
                <a:gd name="connsiteY34" fmla="*/ 678550 h 1660322"/>
                <a:gd name="connsiteX35" fmla="*/ 112334 w 1920955"/>
                <a:gd name="connsiteY35" fmla="*/ 748809 h 1660322"/>
                <a:gd name="connsiteX36" fmla="*/ 167161 w 1920955"/>
                <a:gd name="connsiteY36" fmla="*/ 779251 h 1660322"/>
                <a:gd name="connsiteX37" fmla="*/ 236159 w 1920955"/>
                <a:gd name="connsiteY37" fmla="*/ 789463 h 1660322"/>
                <a:gd name="connsiteX38" fmla="*/ 271462 w 1920955"/>
                <a:gd name="connsiteY38" fmla="*/ 845434 h 1660322"/>
                <a:gd name="connsiteX39" fmla="*/ 314799 w 1920955"/>
                <a:gd name="connsiteY39" fmla="*/ 864976 h 1660322"/>
                <a:gd name="connsiteX40" fmla="*/ 295393 w 1920955"/>
                <a:gd name="connsiteY40" fmla="*/ 919768 h 1660322"/>
                <a:gd name="connsiteX41" fmla="*/ 338611 w 1920955"/>
                <a:gd name="connsiteY41" fmla="*/ 950701 h 1660322"/>
                <a:gd name="connsiteX42" fmla="*/ 448149 w 1920955"/>
                <a:gd name="connsiteY42" fmla="*/ 1012613 h 1660322"/>
                <a:gd name="connsiteX43" fmla="*/ 481486 w 1920955"/>
                <a:gd name="connsiteY43" fmla="*/ 1088813 h 1660322"/>
                <a:gd name="connsiteX44" fmla="*/ 438624 w 1920955"/>
                <a:gd name="connsiteY44" fmla="*/ 1150726 h 1660322"/>
                <a:gd name="connsiteX45" fmla="*/ 538636 w 1920955"/>
                <a:gd name="connsiteY45" fmla="*/ 1217401 h 1660322"/>
                <a:gd name="connsiteX46" fmla="*/ 586261 w 1920955"/>
                <a:gd name="connsiteY46" fmla="*/ 1255501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11977 w 1920955"/>
                <a:gd name="connsiteY34" fmla="*/ 678550 h 1660322"/>
                <a:gd name="connsiteX35" fmla="*/ 112334 w 1920955"/>
                <a:gd name="connsiteY35" fmla="*/ 748809 h 1660322"/>
                <a:gd name="connsiteX36" fmla="*/ 167161 w 1920955"/>
                <a:gd name="connsiteY36" fmla="*/ 779251 h 1660322"/>
                <a:gd name="connsiteX37" fmla="*/ 236159 w 1920955"/>
                <a:gd name="connsiteY37" fmla="*/ 789463 h 1660322"/>
                <a:gd name="connsiteX38" fmla="*/ 271462 w 1920955"/>
                <a:gd name="connsiteY38" fmla="*/ 845434 h 1660322"/>
                <a:gd name="connsiteX39" fmla="*/ 270869 w 1920955"/>
                <a:gd name="connsiteY39" fmla="*/ 890506 h 1660322"/>
                <a:gd name="connsiteX40" fmla="*/ 295393 w 1920955"/>
                <a:gd name="connsiteY40" fmla="*/ 919768 h 1660322"/>
                <a:gd name="connsiteX41" fmla="*/ 338611 w 1920955"/>
                <a:gd name="connsiteY41" fmla="*/ 950701 h 1660322"/>
                <a:gd name="connsiteX42" fmla="*/ 448149 w 1920955"/>
                <a:gd name="connsiteY42" fmla="*/ 1012613 h 1660322"/>
                <a:gd name="connsiteX43" fmla="*/ 481486 w 1920955"/>
                <a:gd name="connsiteY43" fmla="*/ 1088813 h 1660322"/>
                <a:gd name="connsiteX44" fmla="*/ 438624 w 1920955"/>
                <a:gd name="connsiteY44" fmla="*/ 1150726 h 1660322"/>
                <a:gd name="connsiteX45" fmla="*/ 538636 w 1920955"/>
                <a:gd name="connsiteY45" fmla="*/ 1217401 h 1660322"/>
                <a:gd name="connsiteX46" fmla="*/ 586261 w 1920955"/>
                <a:gd name="connsiteY46" fmla="*/ 1255501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11977 w 1920955"/>
                <a:gd name="connsiteY34" fmla="*/ 678550 h 1660322"/>
                <a:gd name="connsiteX35" fmla="*/ 112334 w 1920955"/>
                <a:gd name="connsiteY35" fmla="*/ 748809 h 1660322"/>
                <a:gd name="connsiteX36" fmla="*/ 167161 w 1920955"/>
                <a:gd name="connsiteY36" fmla="*/ 779251 h 1660322"/>
                <a:gd name="connsiteX37" fmla="*/ 236159 w 1920955"/>
                <a:gd name="connsiteY37" fmla="*/ 789463 h 1660322"/>
                <a:gd name="connsiteX38" fmla="*/ 271462 w 1920955"/>
                <a:gd name="connsiteY38" fmla="*/ 845434 h 1660322"/>
                <a:gd name="connsiteX39" fmla="*/ 270869 w 1920955"/>
                <a:gd name="connsiteY39" fmla="*/ 890506 h 1660322"/>
                <a:gd name="connsiteX40" fmla="*/ 295393 w 1920955"/>
                <a:gd name="connsiteY40" fmla="*/ 919768 h 1660322"/>
                <a:gd name="connsiteX41" fmla="*/ 341051 w 1920955"/>
                <a:gd name="connsiteY41" fmla="*/ 968573 h 1660322"/>
                <a:gd name="connsiteX42" fmla="*/ 448149 w 1920955"/>
                <a:gd name="connsiteY42" fmla="*/ 1012613 h 1660322"/>
                <a:gd name="connsiteX43" fmla="*/ 481486 w 1920955"/>
                <a:gd name="connsiteY43" fmla="*/ 1088813 h 1660322"/>
                <a:gd name="connsiteX44" fmla="*/ 438624 w 1920955"/>
                <a:gd name="connsiteY44" fmla="*/ 1150726 h 1660322"/>
                <a:gd name="connsiteX45" fmla="*/ 538636 w 1920955"/>
                <a:gd name="connsiteY45" fmla="*/ 1217401 h 1660322"/>
                <a:gd name="connsiteX46" fmla="*/ 586261 w 1920955"/>
                <a:gd name="connsiteY46" fmla="*/ 1255501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11977 w 1920955"/>
                <a:gd name="connsiteY34" fmla="*/ 678550 h 1660322"/>
                <a:gd name="connsiteX35" fmla="*/ 112334 w 1920955"/>
                <a:gd name="connsiteY35" fmla="*/ 748809 h 1660322"/>
                <a:gd name="connsiteX36" fmla="*/ 167161 w 1920955"/>
                <a:gd name="connsiteY36" fmla="*/ 779251 h 1660322"/>
                <a:gd name="connsiteX37" fmla="*/ 236159 w 1920955"/>
                <a:gd name="connsiteY37" fmla="*/ 789463 h 1660322"/>
                <a:gd name="connsiteX38" fmla="*/ 271462 w 1920955"/>
                <a:gd name="connsiteY38" fmla="*/ 845434 h 1660322"/>
                <a:gd name="connsiteX39" fmla="*/ 270869 w 1920955"/>
                <a:gd name="connsiteY39" fmla="*/ 890506 h 1660322"/>
                <a:gd name="connsiteX40" fmla="*/ 295393 w 1920955"/>
                <a:gd name="connsiteY40" fmla="*/ 919768 h 1660322"/>
                <a:gd name="connsiteX41" fmla="*/ 341051 w 1920955"/>
                <a:gd name="connsiteY41" fmla="*/ 968573 h 1660322"/>
                <a:gd name="connsiteX42" fmla="*/ 426184 w 1920955"/>
                <a:gd name="connsiteY42" fmla="*/ 1022825 h 1660322"/>
                <a:gd name="connsiteX43" fmla="*/ 481486 w 1920955"/>
                <a:gd name="connsiteY43" fmla="*/ 1088813 h 1660322"/>
                <a:gd name="connsiteX44" fmla="*/ 438624 w 1920955"/>
                <a:gd name="connsiteY44" fmla="*/ 1150726 h 1660322"/>
                <a:gd name="connsiteX45" fmla="*/ 538636 w 1920955"/>
                <a:gd name="connsiteY45" fmla="*/ 1217401 h 1660322"/>
                <a:gd name="connsiteX46" fmla="*/ 586261 w 1920955"/>
                <a:gd name="connsiteY46" fmla="*/ 1255501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11977 w 1920955"/>
                <a:gd name="connsiteY34" fmla="*/ 678550 h 1660322"/>
                <a:gd name="connsiteX35" fmla="*/ 112334 w 1920955"/>
                <a:gd name="connsiteY35" fmla="*/ 748809 h 1660322"/>
                <a:gd name="connsiteX36" fmla="*/ 167161 w 1920955"/>
                <a:gd name="connsiteY36" fmla="*/ 779251 h 1660322"/>
                <a:gd name="connsiteX37" fmla="*/ 236159 w 1920955"/>
                <a:gd name="connsiteY37" fmla="*/ 789463 h 1660322"/>
                <a:gd name="connsiteX38" fmla="*/ 271462 w 1920955"/>
                <a:gd name="connsiteY38" fmla="*/ 845434 h 1660322"/>
                <a:gd name="connsiteX39" fmla="*/ 270869 w 1920955"/>
                <a:gd name="connsiteY39" fmla="*/ 890506 h 1660322"/>
                <a:gd name="connsiteX40" fmla="*/ 295393 w 1920955"/>
                <a:gd name="connsiteY40" fmla="*/ 919768 h 1660322"/>
                <a:gd name="connsiteX41" fmla="*/ 341051 w 1920955"/>
                <a:gd name="connsiteY41" fmla="*/ 968573 h 1660322"/>
                <a:gd name="connsiteX42" fmla="*/ 426184 w 1920955"/>
                <a:gd name="connsiteY42" fmla="*/ 1022825 h 1660322"/>
                <a:gd name="connsiteX43" fmla="*/ 461961 w 1920955"/>
                <a:gd name="connsiteY43" fmla="*/ 1093918 h 1660322"/>
                <a:gd name="connsiteX44" fmla="*/ 438624 w 1920955"/>
                <a:gd name="connsiteY44" fmla="*/ 1150726 h 1660322"/>
                <a:gd name="connsiteX45" fmla="*/ 538636 w 1920955"/>
                <a:gd name="connsiteY45" fmla="*/ 1217401 h 1660322"/>
                <a:gd name="connsiteX46" fmla="*/ 586261 w 1920955"/>
                <a:gd name="connsiteY46" fmla="*/ 1255501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11977 w 1920955"/>
                <a:gd name="connsiteY34" fmla="*/ 678550 h 1660322"/>
                <a:gd name="connsiteX35" fmla="*/ 112334 w 1920955"/>
                <a:gd name="connsiteY35" fmla="*/ 748809 h 1660322"/>
                <a:gd name="connsiteX36" fmla="*/ 167161 w 1920955"/>
                <a:gd name="connsiteY36" fmla="*/ 779251 h 1660322"/>
                <a:gd name="connsiteX37" fmla="*/ 236159 w 1920955"/>
                <a:gd name="connsiteY37" fmla="*/ 789463 h 1660322"/>
                <a:gd name="connsiteX38" fmla="*/ 271462 w 1920955"/>
                <a:gd name="connsiteY38" fmla="*/ 845434 h 1660322"/>
                <a:gd name="connsiteX39" fmla="*/ 270869 w 1920955"/>
                <a:gd name="connsiteY39" fmla="*/ 890506 h 1660322"/>
                <a:gd name="connsiteX40" fmla="*/ 295393 w 1920955"/>
                <a:gd name="connsiteY40" fmla="*/ 929981 h 1660322"/>
                <a:gd name="connsiteX41" fmla="*/ 341051 w 1920955"/>
                <a:gd name="connsiteY41" fmla="*/ 968573 h 1660322"/>
                <a:gd name="connsiteX42" fmla="*/ 426184 w 1920955"/>
                <a:gd name="connsiteY42" fmla="*/ 1022825 h 1660322"/>
                <a:gd name="connsiteX43" fmla="*/ 461961 w 1920955"/>
                <a:gd name="connsiteY43" fmla="*/ 1093918 h 1660322"/>
                <a:gd name="connsiteX44" fmla="*/ 438624 w 1920955"/>
                <a:gd name="connsiteY44" fmla="*/ 1150726 h 1660322"/>
                <a:gd name="connsiteX45" fmla="*/ 538636 w 1920955"/>
                <a:gd name="connsiteY45" fmla="*/ 1217401 h 1660322"/>
                <a:gd name="connsiteX46" fmla="*/ 586261 w 1920955"/>
                <a:gd name="connsiteY46" fmla="*/ 1255501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11977 w 1920955"/>
                <a:gd name="connsiteY34" fmla="*/ 678550 h 1660322"/>
                <a:gd name="connsiteX35" fmla="*/ 112334 w 1920955"/>
                <a:gd name="connsiteY35" fmla="*/ 748809 h 1660322"/>
                <a:gd name="connsiteX36" fmla="*/ 167161 w 1920955"/>
                <a:gd name="connsiteY36" fmla="*/ 779251 h 1660322"/>
                <a:gd name="connsiteX37" fmla="*/ 236159 w 1920955"/>
                <a:gd name="connsiteY37" fmla="*/ 789463 h 1660322"/>
                <a:gd name="connsiteX38" fmla="*/ 271462 w 1920955"/>
                <a:gd name="connsiteY38" fmla="*/ 845434 h 1660322"/>
                <a:gd name="connsiteX39" fmla="*/ 270869 w 1920955"/>
                <a:gd name="connsiteY39" fmla="*/ 890506 h 1660322"/>
                <a:gd name="connsiteX40" fmla="*/ 295393 w 1920955"/>
                <a:gd name="connsiteY40" fmla="*/ 929981 h 1660322"/>
                <a:gd name="connsiteX41" fmla="*/ 341051 w 1920955"/>
                <a:gd name="connsiteY41" fmla="*/ 968573 h 1660322"/>
                <a:gd name="connsiteX42" fmla="*/ 426184 w 1920955"/>
                <a:gd name="connsiteY42" fmla="*/ 1022825 h 1660322"/>
                <a:gd name="connsiteX43" fmla="*/ 461961 w 1920955"/>
                <a:gd name="connsiteY43" fmla="*/ 1093918 h 1660322"/>
                <a:gd name="connsiteX44" fmla="*/ 438624 w 1920955"/>
                <a:gd name="connsiteY44" fmla="*/ 1150726 h 1660322"/>
                <a:gd name="connsiteX45" fmla="*/ 519111 w 1920955"/>
                <a:gd name="connsiteY45" fmla="*/ 1219954 h 1660322"/>
                <a:gd name="connsiteX46" fmla="*/ 586261 w 1920955"/>
                <a:gd name="connsiteY46" fmla="*/ 1255501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11977 w 1920955"/>
                <a:gd name="connsiteY34" fmla="*/ 678550 h 1660322"/>
                <a:gd name="connsiteX35" fmla="*/ 112334 w 1920955"/>
                <a:gd name="connsiteY35" fmla="*/ 748809 h 1660322"/>
                <a:gd name="connsiteX36" fmla="*/ 167161 w 1920955"/>
                <a:gd name="connsiteY36" fmla="*/ 779251 h 1660322"/>
                <a:gd name="connsiteX37" fmla="*/ 236159 w 1920955"/>
                <a:gd name="connsiteY37" fmla="*/ 789463 h 1660322"/>
                <a:gd name="connsiteX38" fmla="*/ 271462 w 1920955"/>
                <a:gd name="connsiteY38" fmla="*/ 845434 h 1660322"/>
                <a:gd name="connsiteX39" fmla="*/ 270869 w 1920955"/>
                <a:gd name="connsiteY39" fmla="*/ 890506 h 1660322"/>
                <a:gd name="connsiteX40" fmla="*/ 295393 w 1920955"/>
                <a:gd name="connsiteY40" fmla="*/ 929981 h 1660322"/>
                <a:gd name="connsiteX41" fmla="*/ 341051 w 1920955"/>
                <a:gd name="connsiteY41" fmla="*/ 968573 h 1660322"/>
                <a:gd name="connsiteX42" fmla="*/ 426184 w 1920955"/>
                <a:gd name="connsiteY42" fmla="*/ 1022825 h 1660322"/>
                <a:gd name="connsiteX43" fmla="*/ 461961 w 1920955"/>
                <a:gd name="connsiteY43" fmla="*/ 1093918 h 1660322"/>
                <a:gd name="connsiteX44" fmla="*/ 441064 w 1920955"/>
                <a:gd name="connsiteY44" fmla="*/ 1163491 h 1660322"/>
                <a:gd name="connsiteX45" fmla="*/ 519111 w 1920955"/>
                <a:gd name="connsiteY45" fmla="*/ 1219954 h 1660322"/>
                <a:gd name="connsiteX46" fmla="*/ 586261 w 1920955"/>
                <a:gd name="connsiteY46" fmla="*/ 1255501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11977 w 1920955"/>
                <a:gd name="connsiteY34" fmla="*/ 678550 h 1660322"/>
                <a:gd name="connsiteX35" fmla="*/ 112334 w 1920955"/>
                <a:gd name="connsiteY35" fmla="*/ 748809 h 1660322"/>
                <a:gd name="connsiteX36" fmla="*/ 167161 w 1920955"/>
                <a:gd name="connsiteY36" fmla="*/ 779251 h 1660322"/>
                <a:gd name="connsiteX37" fmla="*/ 236159 w 1920955"/>
                <a:gd name="connsiteY37" fmla="*/ 789463 h 1660322"/>
                <a:gd name="connsiteX38" fmla="*/ 271462 w 1920955"/>
                <a:gd name="connsiteY38" fmla="*/ 845434 h 1660322"/>
                <a:gd name="connsiteX39" fmla="*/ 270869 w 1920955"/>
                <a:gd name="connsiteY39" fmla="*/ 890506 h 1660322"/>
                <a:gd name="connsiteX40" fmla="*/ 295393 w 1920955"/>
                <a:gd name="connsiteY40" fmla="*/ 929981 h 1660322"/>
                <a:gd name="connsiteX41" fmla="*/ 341051 w 1920955"/>
                <a:gd name="connsiteY41" fmla="*/ 968573 h 1660322"/>
                <a:gd name="connsiteX42" fmla="*/ 426184 w 1920955"/>
                <a:gd name="connsiteY42" fmla="*/ 1022825 h 1660322"/>
                <a:gd name="connsiteX43" fmla="*/ 461961 w 1920955"/>
                <a:gd name="connsiteY43" fmla="*/ 1093918 h 1660322"/>
                <a:gd name="connsiteX44" fmla="*/ 441064 w 1920955"/>
                <a:gd name="connsiteY44" fmla="*/ 1163491 h 1660322"/>
                <a:gd name="connsiteX45" fmla="*/ 519111 w 1920955"/>
                <a:gd name="connsiteY45" fmla="*/ 1219954 h 1660322"/>
                <a:gd name="connsiteX46" fmla="*/ 591143 w 1920955"/>
                <a:gd name="connsiteY46" fmla="*/ 1224864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11977 w 1920955"/>
                <a:gd name="connsiteY34" fmla="*/ 678550 h 1660322"/>
                <a:gd name="connsiteX35" fmla="*/ 112334 w 1920955"/>
                <a:gd name="connsiteY35" fmla="*/ 748809 h 1660322"/>
                <a:gd name="connsiteX36" fmla="*/ 167161 w 1920955"/>
                <a:gd name="connsiteY36" fmla="*/ 779251 h 1660322"/>
                <a:gd name="connsiteX37" fmla="*/ 236159 w 1920955"/>
                <a:gd name="connsiteY37" fmla="*/ 789463 h 1660322"/>
                <a:gd name="connsiteX38" fmla="*/ 271462 w 1920955"/>
                <a:gd name="connsiteY38" fmla="*/ 845434 h 1660322"/>
                <a:gd name="connsiteX39" fmla="*/ 270869 w 1920955"/>
                <a:gd name="connsiteY39" fmla="*/ 890506 h 1660322"/>
                <a:gd name="connsiteX40" fmla="*/ 295393 w 1920955"/>
                <a:gd name="connsiteY40" fmla="*/ 929981 h 1660322"/>
                <a:gd name="connsiteX41" fmla="*/ 341051 w 1920955"/>
                <a:gd name="connsiteY41" fmla="*/ 968573 h 1660322"/>
                <a:gd name="connsiteX42" fmla="*/ 426184 w 1920955"/>
                <a:gd name="connsiteY42" fmla="*/ 1022825 h 1660322"/>
                <a:gd name="connsiteX43" fmla="*/ 461961 w 1920955"/>
                <a:gd name="connsiteY43" fmla="*/ 1093918 h 1660322"/>
                <a:gd name="connsiteX44" fmla="*/ 441064 w 1920955"/>
                <a:gd name="connsiteY44" fmla="*/ 1163491 h 1660322"/>
                <a:gd name="connsiteX45" fmla="*/ 519111 w 1920955"/>
                <a:gd name="connsiteY45" fmla="*/ 1219954 h 1660322"/>
                <a:gd name="connsiteX46" fmla="*/ 591143 w 1920955"/>
                <a:gd name="connsiteY46" fmla="*/ 1252948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11977 w 1920955"/>
                <a:gd name="connsiteY34" fmla="*/ 678550 h 1660322"/>
                <a:gd name="connsiteX35" fmla="*/ 112334 w 1920955"/>
                <a:gd name="connsiteY35" fmla="*/ 748809 h 1660322"/>
                <a:gd name="connsiteX36" fmla="*/ 167161 w 1920955"/>
                <a:gd name="connsiteY36" fmla="*/ 779251 h 1660322"/>
                <a:gd name="connsiteX37" fmla="*/ 236159 w 1920955"/>
                <a:gd name="connsiteY37" fmla="*/ 789463 h 1660322"/>
                <a:gd name="connsiteX38" fmla="*/ 271462 w 1920955"/>
                <a:gd name="connsiteY38" fmla="*/ 845434 h 1660322"/>
                <a:gd name="connsiteX39" fmla="*/ 270869 w 1920955"/>
                <a:gd name="connsiteY39" fmla="*/ 890506 h 1660322"/>
                <a:gd name="connsiteX40" fmla="*/ 295393 w 1920955"/>
                <a:gd name="connsiteY40" fmla="*/ 929981 h 1660322"/>
                <a:gd name="connsiteX41" fmla="*/ 341051 w 1920955"/>
                <a:gd name="connsiteY41" fmla="*/ 968573 h 1660322"/>
                <a:gd name="connsiteX42" fmla="*/ 426184 w 1920955"/>
                <a:gd name="connsiteY42" fmla="*/ 1022825 h 1660322"/>
                <a:gd name="connsiteX43" fmla="*/ 461961 w 1920955"/>
                <a:gd name="connsiteY43" fmla="*/ 1093918 h 1660322"/>
                <a:gd name="connsiteX44" fmla="*/ 441064 w 1920955"/>
                <a:gd name="connsiteY44" fmla="*/ 1163491 h 1660322"/>
                <a:gd name="connsiteX45" fmla="*/ 519111 w 1920955"/>
                <a:gd name="connsiteY45" fmla="*/ 1219954 h 1660322"/>
                <a:gd name="connsiteX46" fmla="*/ 591143 w 1920955"/>
                <a:gd name="connsiteY46" fmla="*/ 1252948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5271 w 1920955"/>
                <a:gd name="connsiteY49" fmla="*/ 1538205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11977 w 1920955"/>
                <a:gd name="connsiteY34" fmla="*/ 678550 h 1660322"/>
                <a:gd name="connsiteX35" fmla="*/ 112334 w 1920955"/>
                <a:gd name="connsiteY35" fmla="*/ 748809 h 1660322"/>
                <a:gd name="connsiteX36" fmla="*/ 167161 w 1920955"/>
                <a:gd name="connsiteY36" fmla="*/ 779251 h 1660322"/>
                <a:gd name="connsiteX37" fmla="*/ 236159 w 1920955"/>
                <a:gd name="connsiteY37" fmla="*/ 789463 h 1660322"/>
                <a:gd name="connsiteX38" fmla="*/ 271462 w 1920955"/>
                <a:gd name="connsiteY38" fmla="*/ 845434 h 1660322"/>
                <a:gd name="connsiteX39" fmla="*/ 270869 w 1920955"/>
                <a:gd name="connsiteY39" fmla="*/ 890506 h 1660322"/>
                <a:gd name="connsiteX40" fmla="*/ 295393 w 1920955"/>
                <a:gd name="connsiteY40" fmla="*/ 929981 h 1660322"/>
                <a:gd name="connsiteX41" fmla="*/ 341051 w 1920955"/>
                <a:gd name="connsiteY41" fmla="*/ 968573 h 1660322"/>
                <a:gd name="connsiteX42" fmla="*/ 426184 w 1920955"/>
                <a:gd name="connsiteY42" fmla="*/ 1022825 h 1660322"/>
                <a:gd name="connsiteX43" fmla="*/ 461961 w 1920955"/>
                <a:gd name="connsiteY43" fmla="*/ 1093918 h 1660322"/>
                <a:gd name="connsiteX44" fmla="*/ 441064 w 1920955"/>
                <a:gd name="connsiteY44" fmla="*/ 1163491 h 1660322"/>
                <a:gd name="connsiteX45" fmla="*/ 519111 w 1920955"/>
                <a:gd name="connsiteY45" fmla="*/ 1219954 h 1660322"/>
                <a:gd name="connsiteX46" fmla="*/ 591143 w 1920955"/>
                <a:gd name="connsiteY46" fmla="*/ 1252948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5271 w 1920955"/>
                <a:gd name="connsiteY49" fmla="*/ 1538205 h 1660322"/>
                <a:gd name="connsiteX50" fmla="*/ 805336 w 1920955"/>
                <a:gd name="connsiteY50" fmla="*/ 1488863 h 1660322"/>
                <a:gd name="connsiteX51" fmla="*/ 869926 w 1920955"/>
                <a:gd name="connsiteY51" fmla="*/ 1516260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1"/>
                <a:gd name="connsiteX1" fmla="*/ 1567336 w 1920955"/>
                <a:gd name="connsiteY1" fmla="*/ 369676 h 1660321"/>
                <a:gd name="connsiteX2" fmla="*/ 1467324 w 1920955"/>
                <a:gd name="connsiteY2" fmla="*/ 345863 h 1660321"/>
                <a:gd name="connsiteX3" fmla="*/ 1419699 w 1920955"/>
                <a:gd name="connsiteY3" fmla="*/ 317288 h 1660321"/>
                <a:gd name="connsiteX4" fmla="*/ 1367311 w 1920955"/>
                <a:gd name="connsiteY4" fmla="*/ 160126 h 1660321"/>
                <a:gd name="connsiteX5" fmla="*/ 1338736 w 1920955"/>
                <a:gd name="connsiteY5" fmla="*/ 12488 h 1660321"/>
                <a:gd name="connsiteX6" fmla="*/ 1267299 w 1920955"/>
                <a:gd name="connsiteY6" fmla="*/ 12488 h 1660321"/>
                <a:gd name="connsiteX7" fmla="*/ 1214911 w 1920955"/>
                <a:gd name="connsiteY7" fmla="*/ 50588 h 1660321"/>
                <a:gd name="connsiteX8" fmla="*/ 1214911 w 1920955"/>
                <a:gd name="connsiteY8" fmla="*/ 155363 h 1660321"/>
                <a:gd name="connsiteX9" fmla="*/ 1186336 w 1920955"/>
                <a:gd name="connsiteY9" fmla="*/ 183938 h 1660321"/>
                <a:gd name="connsiteX10" fmla="*/ 1176811 w 1920955"/>
                <a:gd name="connsiteY10" fmla="*/ 255376 h 1660321"/>
                <a:gd name="connsiteX11" fmla="*/ 1114899 w 1920955"/>
                <a:gd name="connsiteY11" fmla="*/ 298238 h 1660321"/>
                <a:gd name="connsiteX12" fmla="*/ 1005361 w 1920955"/>
                <a:gd name="connsiteY12" fmla="*/ 312526 h 1660321"/>
                <a:gd name="connsiteX13" fmla="*/ 962499 w 1920955"/>
                <a:gd name="connsiteY13" fmla="*/ 355388 h 1660321"/>
                <a:gd name="connsiteX14" fmla="*/ 838674 w 1920955"/>
                <a:gd name="connsiteY14" fmla="*/ 355388 h 1660321"/>
                <a:gd name="connsiteX15" fmla="*/ 781524 w 1920955"/>
                <a:gd name="connsiteY15" fmla="*/ 426826 h 1660321"/>
                <a:gd name="connsiteX16" fmla="*/ 781524 w 1920955"/>
                <a:gd name="connsiteY16" fmla="*/ 460163 h 1660321"/>
                <a:gd name="connsiteX17" fmla="*/ 743424 w 1920955"/>
                <a:gd name="connsiteY17" fmla="*/ 483976 h 1660321"/>
                <a:gd name="connsiteX18" fmla="*/ 671986 w 1920955"/>
                <a:gd name="connsiteY18" fmla="*/ 417301 h 1660321"/>
                <a:gd name="connsiteX19" fmla="*/ 519586 w 1920955"/>
                <a:gd name="connsiteY19" fmla="*/ 412538 h 1660321"/>
                <a:gd name="connsiteX20" fmla="*/ 457674 w 1920955"/>
                <a:gd name="connsiteY20" fmla="*/ 431588 h 1660321"/>
                <a:gd name="connsiteX21" fmla="*/ 419574 w 1920955"/>
                <a:gd name="connsiteY21" fmla="*/ 417301 h 1660321"/>
                <a:gd name="connsiteX22" fmla="*/ 400524 w 1920955"/>
                <a:gd name="connsiteY22" fmla="*/ 355388 h 1660321"/>
                <a:gd name="connsiteX23" fmla="*/ 333849 w 1920955"/>
                <a:gd name="connsiteY23" fmla="*/ 303001 h 1660321"/>
                <a:gd name="connsiteX24" fmla="*/ 286224 w 1920955"/>
                <a:gd name="connsiteY24" fmla="*/ 236326 h 1660321"/>
                <a:gd name="connsiteX25" fmla="*/ 143349 w 1920955"/>
                <a:gd name="connsiteY25" fmla="*/ 255376 h 1660321"/>
                <a:gd name="connsiteX26" fmla="*/ 124299 w 1920955"/>
                <a:gd name="connsiteY26" fmla="*/ 331576 h 1660321"/>
                <a:gd name="connsiteX27" fmla="*/ 110011 w 1920955"/>
                <a:gd name="connsiteY27" fmla="*/ 364913 h 1660321"/>
                <a:gd name="connsiteX28" fmla="*/ 133824 w 1920955"/>
                <a:gd name="connsiteY28" fmla="*/ 412538 h 1660321"/>
                <a:gd name="connsiteX29" fmla="*/ 81436 w 1920955"/>
                <a:gd name="connsiteY29" fmla="*/ 450638 h 1660321"/>
                <a:gd name="connsiteX30" fmla="*/ 33811 w 1920955"/>
                <a:gd name="connsiteY30" fmla="*/ 445876 h 1660321"/>
                <a:gd name="connsiteX31" fmla="*/ 33811 w 1920955"/>
                <a:gd name="connsiteY31" fmla="*/ 517313 h 1660321"/>
                <a:gd name="connsiteX32" fmla="*/ 474 w 1920955"/>
                <a:gd name="connsiteY32" fmla="*/ 622088 h 1660321"/>
                <a:gd name="connsiteX33" fmla="*/ 62386 w 1920955"/>
                <a:gd name="connsiteY33" fmla="*/ 698288 h 1660321"/>
                <a:gd name="connsiteX34" fmla="*/ 111977 w 1920955"/>
                <a:gd name="connsiteY34" fmla="*/ 678550 h 1660321"/>
                <a:gd name="connsiteX35" fmla="*/ 112334 w 1920955"/>
                <a:gd name="connsiteY35" fmla="*/ 748809 h 1660321"/>
                <a:gd name="connsiteX36" fmla="*/ 167161 w 1920955"/>
                <a:gd name="connsiteY36" fmla="*/ 779251 h 1660321"/>
                <a:gd name="connsiteX37" fmla="*/ 236159 w 1920955"/>
                <a:gd name="connsiteY37" fmla="*/ 789463 h 1660321"/>
                <a:gd name="connsiteX38" fmla="*/ 271462 w 1920955"/>
                <a:gd name="connsiteY38" fmla="*/ 845434 h 1660321"/>
                <a:gd name="connsiteX39" fmla="*/ 270869 w 1920955"/>
                <a:gd name="connsiteY39" fmla="*/ 890506 h 1660321"/>
                <a:gd name="connsiteX40" fmla="*/ 295393 w 1920955"/>
                <a:gd name="connsiteY40" fmla="*/ 929981 h 1660321"/>
                <a:gd name="connsiteX41" fmla="*/ 341051 w 1920955"/>
                <a:gd name="connsiteY41" fmla="*/ 968573 h 1660321"/>
                <a:gd name="connsiteX42" fmla="*/ 426184 w 1920955"/>
                <a:gd name="connsiteY42" fmla="*/ 1022825 h 1660321"/>
                <a:gd name="connsiteX43" fmla="*/ 461961 w 1920955"/>
                <a:gd name="connsiteY43" fmla="*/ 1093918 h 1660321"/>
                <a:gd name="connsiteX44" fmla="*/ 441064 w 1920955"/>
                <a:gd name="connsiteY44" fmla="*/ 1163491 h 1660321"/>
                <a:gd name="connsiteX45" fmla="*/ 519111 w 1920955"/>
                <a:gd name="connsiteY45" fmla="*/ 1219954 h 1660321"/>
                <a:gd name="connsiteX46" fmla="*/ 591143 w 1920955"/>
                <a:gd name="connsiteY46" fmla="*/ 1252948 h 1660321"/>
                <a:gd name="connsiteX47" fmla="*/ 571974 w 1920955"/>
                <a:gd name="connsiteY47" fmla="*/ 1312651 h 1660321"/>
                <a:gd name="connsiteX48" fmla="*/ 662461 w 1920955"/>
                <a:gd name="connsiteY48" fmla="*/ 1465051 h 1660321"/>
                <a:gd name="connsiteX49" fmla="*/ 755271 w 1920955"/>
                <a:gd name="connsiteY49" fmla="*/ 1538205 h 1660321"/>
                <a:gd name="connsiteX50" fmla="*/ 805336 w 1920955"/>
                <a:gd name="connsiteY50" fmla="*/ 1488863 h 1660321"/>
                <a:gd name="connsiteX51" fmla="*/ 869926 w 1920955"/>
                <a:gd name="connsiteY51" fmla="*/ 1516260 h 1660321"/>
                <a:gd name="connsiteX52" fmla="*/ 924399 w 1920955"/>
                <a:gd name="connsiteY52" fmla="*/ 1484101 h 1660321"/>
                <a:gd name="connsiteX53" fmla="*/ 933924 w 1920955"/>
                <a:gd name="connsiteY53" fmla="*/ 1431713 h 1660321"/>
                <a:gd name="connsiteX54" fmla="*/ 1005123 w 1920955"/>
                <a:gd name="connsiteY54" fmla="*/ 1528337 h 1660321"/>
                <a:gd name="connsiteX55" fmla="*/ 1067274 w 1920955"/>
                <a:gd name="connsiteY55" fmla="*/ 1584113 h 1660321"/>
                <a:gd name="connsiteX56" fmla="*/ 1100611 w 1920955"/>
                <a:gd name="connsiteY56" fmla="*/ 1660313 h 1660321"/>
                <a:gd name="connsiteX57" fmla="*/ 1133949 w 1920955"/>
                <a:gd name="connsiteY57" fmla="*/ 1579351 h 1660321"/>
                <a:gd name="connsiteX58" fmla="*/ 1176811 w 1920955"/>
                <a:gd name="connsiteY58" fmla="*/ 1598401 h 1660321"/>
                <a:gd name="connsiteX59" fmla="*/ 1210149 w 1920955"/>
                <a:gd name="connsiteY59" fmla="*/ 1617451 h 1660321"/>
                <a:gd name="connsiteX60" fmla="*/ 1233961 w 1920955"/>
                <a:gd name="connsiteY60" fmla="*/ 1579351 h 1660321"/>
                <a:gd name="connsiteX61" fmla="*/ 1267299 w 1920955"/>
                <a:gd name="connsiteY61" fmla="*/ 1655551 h 1660321"/>
                <a:gd name="connsiteX62" fmla="*/ 1348261 w 1920955"/>
                <a:gd name="connsiteY62" fmla="*/ 1626976 h 1660321"/>
                <a:gd name="connsiteX63" fmla="*/ 1414936 w 1920955"/>
                <a:gd name="connsiteY63" fmla="*/ 1555538 h 1660321"/>
                <a:gd name="connsiteX64" fmla="*/ 1433986 w 1920955"/>
                <a:gd name="connsiteY64" fmla="*/ 1607926 h 1660321"/>
                <a:gd name="connsiteX65" fmla="*/ 1410174 w 1920955"/>
                <a:gd name="connsiteY65" fmla="*/ 1612688 h 1660321"/>
                <a:gd name="connsiteX66" fmla="*/ 1543524 w 1920955"/>
                <a:gd name="connsiteY66" fmla="*/ 1579351 h 1660321"/>
                <a:gd name="connsiteX67" fmla="*/ 1581624 w 1920955"/>
                <a:gd name="connsiteY67" fmla="*/ 1507913 h 1660321"/>
                <a:gd name="connsiteX68" fmla="*/ 1643536 w 1920955"/>
                <a:gd name="connsiteY68" fmla="*/ 1412663 h 1660321"/>
                <a:gd name="connsiteX69" fmla="*/ 1714974 w 1920955"/>
                <a:gd name="connsiteY69" fmla="*/ 1384088 h 1660321"/>
                <a:gd name="connsiteX70" fmla="*/ 1772124 w 1920955"/>
                <a:gd name="connsiteY70" fmla="*/ 1379326 h 1660321"/>
                <a:gd name="connsiteX71" fmla="*/ 1772124 w 1920955"/>
                <a:gd name="connsiteY71" fmla="*/ 1450763 h 1660321"/>
                <a:gd name="connsiteX72" fmla="*/ 1886424 w 1920955"/>
                <a:gd name="connsiteY72" fmla="*/ 1446001 h 1660321"/>
                <a:gd name="connsiteX73" fmla="*/ 1919761 w 1920955"/>
                <a:gd name="connsiteY73" fmla="*/ 1441238 h 1660321"/>
                <a:gd name="connsiteX74" fmla="*/ 1853086 w 1920955"/>
                <a:gd name="connsiteY74" fmla="*/ 1398376 h 1660321"/>
                <a:gd name="connsiteX75" fmla="*/ 1853086 w 1920955"/>
                <a:gd name="connsiteY75" fmla="*/ 1303126 h 1660321"/>
                <a:gd name="connsiteX76" fmla="*/ 1853086 w 1920955"/>
                <a:gd name="connsiteY76" fmla="*/ 1245976 h 1660321"/>
                <a:gd name="connsiteX77" fmla="*/ 1810224 w 1920955"/>
                <a:gd name="connsiteY77" fmla="*/ 1236451 h 1660321"/>
                <a:gd name="connsiteX78" fmla="*/ 1734024 w 1920955"/>
                <a:gd name="connsiteY78" fmla="*/ 1155488 h 1660321"/>
                <a:gd name="connsiteX79" fmla="*/ 1695924 w 1920955"/>
                <a:gd name="connsiteY79" fmla="*/ 974513 h 1660321"/>
                <a:gd name="connsiteX80" fmla="*/ 1643536 w 1920955"/>
                <a:gd name="connsiteY80" fmla="*/ 941176 h 1660321"/>
                <a:gd name="connsiteX81" fmla="*/ 1605436 w 1920955"/>
                <a:gd name="connsiteY81" fmla="*/ 884026 h 1660321"/>
                <a:gd name="connsiteX82" fmla="*/ 1557811 w 1920955"/>
                <a:gd name="connsiteY82" fmla="*/ 836401 h 1660321"/>
                <a:gd name="connsiteX83" fmla="*/ 1505424 w 1920955"/>
                <a:gd name="connsiteY83" fmla="*/ 817351 h 1660321"/>
                <a:gd name="connsiteX84" fmla="*/ 1453036 w 1920955"/>
                <a:gd name="connsiteY84" fmla="*/ 812588 h 1660321"/>
                <a:gd name="connsiteX85" fmla="*/ 1510186 w 1920955"/>
                <a:gd name="connsiteY85" fmla="*/ 779251 h 1660321"/>
                <a:gd name="connsiteX86" fmla="*/ 1476849 w 1920955"/>
                <a:gd name="connsiteY86" fmla="*/ 745913 h 1660321"/>
                <a:gd name="connsiteX87" fmla="*/ 1481611 w 1920955"/>
                <a:gd name="connsiteY87" fmla="*/ 722101 h 1660321"/>
                <a:gd name="connsiteX88" fmla="*/ 1572099 w 1920955"/>
                <a:gd name="connsiteY88" fmla="*/ 760201 h 1660321"/>
                <a:gd name="connsiteX89" fmla="*/ 1624486 w 1920955"/>
                <a:gd name="connsiteY89" fmla="*/ 693526 h 1660321"/>
                <a:gd name="connsiteX90" fmla="*/ 1614961 w 1920955"/>
                <a:gd name="connsiteY90" fmla="*/ 550651 h 1660321"/>
                <a:gd name="connsiteX91" fmla="*/ 1610199 w 1920955"/>
                <a:gd name="connsiteY91" fmla="*/ 412538 h 1660321"/>
                <a:gd name="connsiteX0" fmla="*/ 1610199 w 1920955"/>
                <a:gd name="connsiteY0" fmla="*/ 412538 h 1660321"/>
                <a:gd name="connsiteX1" fmla="*/ 1567336 w 1920955"/>
                <a:gd name="connsiteY1" fmla="*/ 369676 h 1660321"/>
                <a:gd name="connsiteX2" fmla="*/ 1467324 w 1920955"/>
                <a:gd name="connsiteY2" fmla="*/ 345863 h 1660321"/>
                <a:gd name="connsiteX3" fmla="*/ 1419699 w 1920955"/>
                <a:gd name="connsiteY3" fmla="*/ 317288 h 1660321"/>
                <a:gd name="connsiteX4" fmla="*/ 1367311 w 1920955"/>
                <a:gd name="connsiteY4" fmla="*/ 160126 h 1660321"/>
                <a:gd name="connsiteX5" fmla="*/ 1338736 w 1920955"/>
                <a:gd name="connsiteY5" fmla="*/ 12488 h 1660321"/>
                <a:gd name="connsiteX6" fmla="*/ 1267299 w 1920955"/>
                <a:gd name="connsiteY6" fmla="*/ 12488 h 1660321"/>
                <a:gd name="connsiteX7" fmla="*/ 1214911 w 1920955"/>
                <a:gd name="connsiteY7" fmla="*/ 50588 h 1660321"/>
                <a:gd name="connsiteX8" fmla="*/ 1214911 w 1920955"/>
                <a:gd name="connsiteY8" fmla="*/ 155363 h 1660321"/>
                <a:gd name="connsiteX9" fmla="*/ 1186336 w 1920955"/>
                <a:gd name="connsiteY9" fmla="*/ 183938 h 1660321"/>
                <a:gd name="connsiteX10" fmla="*/ 1176811 w 1920955"/>
                <a:gd name="connsiteY10" fmla="*/ 255376 h 1660321"/>
                <a:gd name="connsiteX11" fmla="*/ 1114899 w 1920955"/>
                <a:gd name="connsiteY11" fmla="*/ 298238 h 1660321"/>
                <a:gd name="connsiteX12" fmla="*/ 1005361 w 1920955"/>
                <a:gd name="connsiteY12" fmla="*/ 312526 h 1660321"/>
                <a:gd name="connsiteX13" fmla="*/ 962499 w 1920955"/>
                <a:gd name="connsiteY13" fmla="*/ 355388 h 1660321"/>
                <a:gd name="connsiteX14" fmla="*/ 838674 w 1920955"/>
                <a:gd name="connsiteY14" fmla="*/ 355388 h 1660321"/>
                <a:gd name="connsiteX15" fmla="*/ 781524 w 1920955"/>
                <a:gd name="connsiteY15" fmla="*/ 426826 h 1660321"/>
                <a:gd name="connsiteX16" fmla="*/ 781524 w 1920955"/>
                <a:gd name="connsiteY16" fmla="*/ 460163 h 1660321"/>
                <a:gd name="connsiteX17" fmla="*/ 743424 w 1920955"/>
                <a:gd name="connsiteY17" fmla="*/ 483976 h 1660321"/>
                <a:gd name="connsiteX18" fmla="*/ 671986 w 1920955"/>
                <a:gd name="connsiteY18" fmla="*/ 417301 h 1660321"/>
                <a:gd name="connsiteX19" fmla="*/ 519586 w 1920955"/>
                <a:gd name="connsiteY19" fmla="*/ 412538 h 1660321"/>
                <a:gd name="connsiteX20" fmla="*/ 457674 w 1920955"/>
                <a:gd name="connsiteY20" fmla="*/ 431588 h 1660321"/>
                <a:gd name="connsiteX21" fmla="*/ 419574 w 1920955"/>
                <a:gd name="connsiteY21" fmla="*/ 417301 h 1660321"/>
                <a:gd name="connsiteX22" fmla="*/ 400524 w 1920955"/>
                <a:gd name="connsiteY22" fmla="*/ 355388 h 1660321"/>
                <a:gd name="connsiteX23" fmla="*/ 333849 w 1920955"/>
                <a:gd name="connsiteY23" fmla="*/ 303001 h 1660321"/>
                <a:gd name="connsiteX24" fmla="*/ 286224 w 1920955"/>
                <a:gd name="connsiteY24" fmla="*/ 236326 h 1660321"/>
                <a:gd name="connsiteX25" fmla="*/ 143349 w 1920955"/>
                <a:gd name="connsiteY25" fmla="*/ 255376 h 1660321"/>
                <a:gd name="connsiteX26" fmla="*/ 124299 w 1920955"/>
                <a:gd name="connsiteY26" fmla="*/ 331576 h 1660321"/>
                <a:gd name="connsiteX27" fmla="*/ 110011 w 1920955"/>
                <a:gd name="connsiteY27" fmla="*/ 364913 h 1660321"/>
                <a:gd name="connsiteX28" fmla="*/ 133824 w 1920955"/>
                <a:gd name="connsiteY28" fmla="*/ 412538 h 1660321"/>
                <a:gd name="connsiteX29" fmla="*/ 81436 w 1920955"/>
                <a:gd name="connsiteY29" fmla="*/ 450638 h 1660321"/>
                <a:gd name="connsiteX30" fmla="*/ 33811 w 1920955"/>
                <a:gd name="connsiteY30" fmla="*/ 445876 h 1660321"/>
                <a:gd name="connsiteX31" fmla="*/ 33811 w 1920955"/>
                <a:gd name="connsiteY31" fmla="*/ 517313 h 1660321"/>
                <a:gd name="connsiteX32" fmla="*/ 474 w 1920955"/>
                <a:gd name="connsiteY32" fmla="*/ 622088 h 1660321"/>
                <a:gd name="connsiteX33" fmla="*/ 62386 w 1920955"/>
                <a:gd name="connsiteY33" fmla="*/ 698288 h 1660321"/>
                <a:gd name="connsiteX34" fmla="*/ 111977 w 1920955"/>
                <a:gd name="connsiteY34" fmla="*/ 678550 h 1660321"/>
                <a:gd name="connsiteX35" fmla="*/ 112334 w 1920955"/>
                <a:gd name="connsiteY35" fmla="*/ 748809 h 1660321"/>
                <a:gd name="connsiteX36" fmla="*/ 167161 w 1920955"/>
                <a:gd name="connsiteY36" fmla="*/ 779251 h 1660321"/>
                <a:gd name="connsiteX37" fmla="*/ 236159 w 1920955"/>
                <a:gd name="connsiteY37" fmla="*/ 789463 h 1660321"/>
                <a:gd name="connsiteX38" fmla="*/ 271462 w 1920955"/>
                <a:gd name="connsiteY38" fmla="*/ 845434 h 1660321"/>
                <a:gd name="connsiteX39" fmla="*/ 270869 w 1920955"/>
                <a:gd name="connsiteY39" fmla="*/ 890506 h 1660321"/>
                <a:gd name="connsiteX40" fmla="*/ 295393 w 1920955"/>
                <a:gd name="connsiteY40" fmla="*/ 929981 h 1660321"/>
                <a:gd name="connsiteX41" fmla="*/ 341051 w 1920955"/>
                <a:gd name="connsiteY41" fmla="*/ 968573 h 1660321"/>
                <a:gd name="connsiteX42" fmla="*/ 426184 w 1920955"/>
                <a:gd name="connsiteY42" fmla="*/ 1022825 h 1660321"/>
                <a:gd name="connsiteX43" fmla="*/ 461961 w 1920955"/>
                <a:gd name="connsiteY43" fmla="*/ 1093918 h 1660321"/>
                <a:gd name="connsiteX44" fmla="*/ 441064 w 1920955"/>
                <a:gd name="connsiteY44" fmla="*/ 1163491 h 1660321"/>
                <a:gd name="connsiteX45" fmla="*/ 519111 w 1920955"/>
                <a:gd name="connsiteY45" fmla="*/ 1219954 h 1660321"/>
                <a:gd name="connsiteX46" fmla="*/ 591143 w 1920955"/>
                <a:gd name="connsiteY46" fmla="*/ 1252948 h 1660321"/>
                <a:gd name="connsiteX47" fmla="*/ 571974 w 1920955"/>
                <a:gd name="connsiteY47" fmla="*/ 1312651 h 1660321"/>
                <a:gd name="connsiteX48" fmla="*/ 662461 w 1920955"/>
                <a:gd name="connsiteY48" fmla="*/ 1465051 h 1660321"/>
                <a:gd name="connsiteX49" fmla="*/ 755271 w 1920955"/>
                <a:gd name="connsiteY49" fmla="*/ 1538205 h 1660321"/>
                <a:gd name="connsiteX50" fmla="*/ 805336 w 1920955"/>
                <a:gd name="connsiteY50" fmla="*/ 1488863 h 1660321"/>
                <a:gd name="connsiteX51" fmla="*/ 869926 w 1920955"/>
                <a:gd name="connsiteY51" fmla="*/ 1516260 h 1660321"/>
                <a:gd name="connsiteX52" fmla="*/ 924399 w 1920955"/>
                <a:gd name="connsiteY52" fmla="*/ 1484101 h 1660321"/>
                <a:gd name="connsiteX53" fmla="*/ 929042 w 1920955"/>
                <a:gd name="connsiteY53" fmla="*/ 1367886 h 1660321"/>
                <a:gd name="connsiteX54" fmla="*/ 1005123 w 1920955"/>
                <a:gd name="connsiteY54" fmla="*/ 1528337 h 1660321"/>
                <a:gd name="connsiteX55" fmla="*/ 1067274 w 1920955"/>
                <a:gd name="connsiteY55" fmla="*/ 1584113 h 1660321"/>
                <a:gd name="connsiteX56" fmla="*/ 1100611 w 1920955"/>
                <a:gd name="connsiteY56" fmla="*/ 1660313 h 1660321"/>
                <a:gd name="connsiteX57" fmla="*/ 1133949 w 1920955"/>
                <a:gd name="connsiteY57" fmla="*/ 1579351 h 1660321"/>
                <a:gd name="connsiteX58" fmla="*/ 1176811 w 1920955"/>
                <a:gd name="connsiteY58" fmla="*/ 1598401 h 1660321"/>
                <a:gd name="connsiteX59" fmla="*/ 1210149 w 1920955"/>
                <a:gd name="connsiteY59" fmla="*/ 1617451 h 1660321"/>
                <a:gd name="connsiteX60" fmla="*/ 1233961 w 1920955"/>
                <a:gd name="connsiteY60" fmla="*/ 1579351 h 1660321"/>
                <a:gd name="connsiteX61" fmla="*/ 1267299 w 1920955"/>
                <a:gd name="connsiteY61" fmla="*/ 1655551 h 1660321"/>
                <a:gd name="connsiteX62" fmla="*/ 1348261 w 1920955"/>
                <a:gd name="connsiteY62" fmla="*/ 1626976 h 1660321"/>
                <a:gd name="connsiteX63" fmla="*/ 1414936 w 1920955"/>
                <a:gd name="connsiteY63" fmla="*/ 1555538 h 1660321"/>
                <a:gd name="connsiteX64" fmla="*/ 1433986 w 1920955"/>
                <a:gd name="connsiteY64" fmla="*/ 1607926 h 1660321"/>
                <a:gd name="connsiteX65" fmla="*/ 1410174 w 1920955"/>
                <a:gd name="connsiteY65" fmla="*/ 1612688 h 1660321"/>
                <a:gd name="connsiteX66" fmla="*/ 1543524 w 1920955"/>
                <a:gd name="connsiteY66" fmla="*/ 1579351 h 1660321"/>
                <a:gd name="connsiteX67" fmla="*/ 1581624 w 1920955"/>
                <a:gd name="connsiteY67" fmla="*/ 1507913 h 1660321"/>
                <a:gd name="connsiteX68" fmla="*/ 1643536 w 1920955"/>
                <a:gd name="connsiteY68" fmla="*/ 1412663 h 1660321"/>
                <a:gd name="connsiteX69" fmla="*/ 1714974 w 1920955"/>
                <a:gd name="connsiteY69" fmla="*/ 1384088 h 1660321"/>
                <a:gd name="connsiteX70" fmla="*/ 1772124 w 1920955"/>
                <a:gd name="connsiteY70" fmla="*/ 1379326 h 1660321"/>
                <a:gd name="connsiteX71" fmla="*/ 1772124 w 1920955"/>
                <a:gd name="connsiteY71" fmla="*/ 1450763 h 1660321"/>
                <a:gd name="connsiteX72" fmla="*/ 1886424 w 1920955"/>
                <a:gd name="connsiteY72" fmla="*/ 1446001 h 1660321"/>
                <a:gd name="connsiteX73" fmla="*/ 1919761 w 1920955"/>
                <a:gd name="connsiteY73" fmla="*/ 1441238 h 1660321"/>
                <a:gd name="connsiteX74" fmla="*/ 1853086 w 1920955"/>
                <a:gd name="connsiteY74" fmla="*/ 1398376 h 1660321"/>
                <a:gd name="connsiteX75" fmla="*/ 1853086 w 1920955"/>
                <a:gd name="connsiteY75" fmla="*/ 1303126 h 1660321"/>
                <a:gd name="connsiteX76" fmla="*/ 1853086 w 1920955"/>
                <a:gd name="connsiteY76" fmla="*/ 1245976 h 1660321"/>
                <a:gd name="connsiteX77" fmla="*/ 1810224 w 1920955"/>
                <a:gd name="connsiteY77" fmla="*/ 1236451 h 1660321"/>
                <a:gd name="connsiteX78" fmla="*/ 1734024 w 1920955"/>
                <a:gd name="connsiteY78" fmla="*/ 1155488 h 1660321"/>
                <a:gd name="connsiteX79" fmla="*/ 1695924 w 1920955"/>
                <a:gd name="connsiteY79" fmla="*/ 974513 h 1660321"/>
                <a:gd name="connsiteX80" fmla="*/ 1643536 w 1920955"/>
                <a:gd name="connsiteY80" fmla="*/ 941176 h 1660321"/>
                <a:gd name="connsiteX81" fmla="*/ 1605436 w 1920955"/>
                <a:gd name="connsiteY81" fmla="*/ 884026 h 1660321"/>
                <a:gd name="connsiteX82" fmla="*/ 1557811 w 1920955"/>
                <a:gd name="connsiteY82" fmla="*/ 836401 h 1660321"/>
                <a:gd name="connsiteX83" fmla="*/ 1505424 w 1920955"/>
                <a:gd name="connsiteY83" fmla="*/ 817351 h 1660321"/>
                <a:gd name="connsiteX84" fmla="*/ 1453036 w 1920955"/>
                <a:gd name="connsiteY84" fmla="*/ 812588 h 1660321"/>
                <a:gd name="connsiteX85" fmla="*/ 1510186 w 1920955"/>
                <a:gd name="connsiteY85" fmla="*/ 779251 h 1660321"/>
                <a:gd name="connsiteX86" fmla="*/ 1476849 w 1920955"/>
                <a:gd name="connsiteY86" fmla="*/ 745913 h 1660321"/>
                <a:gd name="connsiteX87" fmla="*/ 1481611 w 1920955"/>
                <a:gd name="connsiteY87" fmla="*/ 722101 h 1660321"/>
                <a:gd name="connsiteX88" fmla="*/ 1572099 w 1920955"/>
                <a:gd name="connsiteY88" fmla="*/ 760201 h 1660321"/>
                <a:gd name="connsiteX89" fmla="*/ 1624486 w 1920955"/>
                <a:gd name="connsiteY89" fmla="*/ 693526 h 1660321"/>
                <a:gd name="connsiteX90" fmla="*/ 1614961 w 1920955"/>
                <a:gd name="connsiteY90" fmla="*/ 550651 h 1660321"/>
                <a:gd name="connsiteX91" fmla="*/ 1610199 w 1920955"/>
                <a:gd name="connsiteY91" fmla="*/ 412538 h 1660321"/>
                <a:gd name="connsiteX0" fmla="*/ 1610199 w 1920955"/>
                <a:gd name="connsiteY0" fmla="*/ 412538 h 1660321"/>
                <a:gd name="connsiteX1" fmla="*/ 1567336 w 1920955"/>
                <a:gd name="connsiteY1" fmla="*/ 369676 h 1660321"/>
                <a:gd name="connsiteX2" fmla="*/ 1467324 w 1920955"/>
                <a:gd name="connsiteY2" fmla="*/ 345863 h 1660321"/>
                <a:gd name="connsiteX3" fmla="*/ 1419699 w 1920955"/>
                <a:gd name="connsiteY3" fmla="*/ 317288 h 1660321"/>
                <a:gd name="connsiteX4" fmla="*/ 1367311 w 1920955"/>
                <a:gd name="connsiteY4" fmla="*/ 160126 h 1660321"/>
                <a:gd name="connsiteX5" fmla="*/ 1338736 w 1920955"/>
                <a:gd name="connsiteY5" fmla="*/ 12488 h 1660321"/>
                <a:gd name="connsiteX6" fmla="*/ 1267299 w 1920955"/>
                <a:gd name="connsiteY6" fmla="*/ 12488 h 1660321"/>
                <a:gd name="connsiteX7" fmla="*/ 1214911 w 1920955"/>
                <a:gd name="connsiteY7" fmla="*/ 50588 h 1660321"/>
                <a:gd name="connsiteX8" fmla="*/ 1214911 w 1920955"/>
                <a:gd name="connsiteY8" fmla="*/ 155363 h 1660321"/>
                <a:gd name="connsiteX9" fmla="*/ 1186336 w 1920955"/>
                <a:gd name="connsiteY9" fmla="*/ 183938 h 1660321"/>
                <a:gd name="connsiteX10" fmla="*/ 1176811 w 1920955"/>
                <a:gd name="connsiteY10" fmla="*/ 255376 h 1660321"/>
                <a:gd name="connsiteX11" fmla="*/ 1114899 w 1920955"/>
                <a:gd name="connsiteY11" fmla="*/ 298238 h 1660321"/>
                <a:gd name="connsiteX12" fmla="*/ 1005361 w 1920955"/>
                <a:gd name="connsiteY12" fmla="*/ 312526 h 1660321"/>
                <a:gd name="connsiteX13" fmla="*/ 962499 w 1920955"/>
                <a:gd name="connsiteY13" fmla="*/ 355388 h 1660321"/>
                <a:gd name="connsiteX14" fmla="*/ 838674 w 1920955"/>
                <a:gd name="connsiteY14" fmla="*/ 355388 h 1660321"/>
                <a:gd name="connsiteX15" fmla="*/ 781524 w 1920955"/>
                <a:gd name="connsiteY15" fmla="*/ 426826 h 1660321"/>
                <a:gd name="connsiteX16" fmla="*/ 781524 w 1920955"/>
                <a:gd name="connsiteY16" fmla="*/ 460163 h 1660321"/>
                <a:gd name="connsiteX17" fmla="*/ 743424 w 1920955"/>
                <a:gd name="connsiteY17" fmla="*/ 483976 h 1660321"/>
                <a:gd name="connsiteX18" fmla="*/ 671986 w 1920955"/>
                <a:gd name="connsiteY18" fmla="*/ 417301 h 1660321"/>
                <a:gd name="connsiteX19" fmla="*/ 519586 w 1920955"/>
                <a:gd name="connsiteY19" fmla="*/ 412538 h 1660321"/>
                <a:gd name="connsiteX20" fmla="*/ 457674 w 1920955"/>
                <a:gd name="connsiteY20" fmla="*/ 431588 h 1660321"/>
                <a:gd name="connsiteX21" fmla="*/ 419574 w 1920955"/>
                <a:gd name="connsiteY21" fmla="*/ 417301 h 1660321"/>
                <a:gd name="connsiteX22" fmla="*/ 400524 w 1920955"/>
                <a:gd name="connsiteY22" fmla="*/ 355388 h 1660321"/>
                <a:gd name="connsiteX23" fmla="*/ 333849 w 1920955"/>
                <a:gd name="connsiteY23" fmla="*/ 303001 h 1660321"/>
                <a:gd name="connsiteX24" fmla="*/ 286224 w 1920955"/>
                <a:gd name="connsiteY24" fmla="*/ 236326 h 1660321"/>
                <a:gd name="connsiteX25" fmla="*/ 143349 w 1920955"/>
                <a:gd name="connsiteY25" fmla="*/ 255376 h 1660321"/>
                <a:gd name="connsiteX26" fmla="*/ 124299 w 1920955"/>
                <a:gd name="connsiteY26" fmla="*/ 331576 h 1660321"/>
                <a:gd name="connsiteX27" fmla="*/ 110011 w 1920955"/>
                <a:gd name="connsiteY27" fmla="*/ 364913 h 1660321"/>
                <a:gd name="connsiteX28" fmla="*/ 133824 w 1920955"/>
                <a:gd name="connsiteY28" fmla="*/ 412538 h 1660321"/>
                <a:gd name="connsiteX29" fmla="*/ 81436 w 1920955"/>
                <a:gd name="connsiteY29" fmla="*/ 450638 h 1660321"/>
                <a:gd name="connsiteX30" fmla="*/ 33811 w 1920955"/>
                <a:gd name="connsiteY30" fmla="*/ 445876 h 1660321"/>
                <a:gd name="connsiteX31" fmla="*/ 33811 w 1920955"/>
                <a:gd name="connsiteY31" fmla="*/ 517313 h 1660321"/>
                <a:gd name="connsiteX32" fmla="*/ 474 w 1920955"/>
                <a:gd name="connsiteY32" fmla="*/ 622088 h 1660321"/>
                <a:gd name="connsiteX33" fmla="*/ 62386 w 1920955"/>
                <a:gd name="connsiteY33" fmla="*/ 698288 h 1660321"/>
                <a:gd name="connsiteX34" fmla="*/ 111977 w 1920955"/>
                <a:gd name="connsiteY34" fmla="*/ 678550 h 1660321"/>
                <a:gd name="connsiteX35" fmla="*/ 112334 w 1920955"/>
                <a:gd name="connsiteY35" fmla="*/ 748809 h 1660321"/>
                <a:gd name="connsiteX36" fmla="*/ 167161 w 1920955"/>
                <a:gd name="connsiteY36" fmla="*/ 779251 h 1660321"/>
                <a:gd name="connsiteX37" fmla="*/ 236159 w 1920955"/>
                <a:gd name="connsiteY37" fmla="*/ 789463 h 1660321"/>
                <a:gd name="connsiteX38" fmla="*/ 271462 w 1920955"/>
                <a:gd name="connsiteY38" fmla="*/ 845434 h 1660321"/>
                <a:gd name="connsiteX39" fmla="*/ 270869 w 1920955"/>
                <a:gd name="connsiteY39" fmla="*/ 890506 h 1660321"/>
                <a:gd name="connsiteX40" fmla="*/ 295393 w 1920955"/>
                <a:gd name="connsiteY40" fmla="*/ 929981 h 1660321"/>
                <a:gd name="connsiteX41" fmla="*/ 341051 w 1920955"/>
                <a:gd name="connsiteY41" fmla="*/ 968573 h 1660321"/>
                <a:gd name="connsiteX42" fmla="*/ 426184 w 1920955"/>
                <a:gd name="connsiteY42" fmla="*/ 1022825 h 1660321"/>
                <a:gd name="connsiteX43" fmla="*/ 461961 w 1920955"/>
                <a:gd name="connsiteY43" fmla="*/ 1093918 h 1660321"/>
                <a:gd name="connsiteX44" fmla="*/ 441064 w 1920955"/>
                <a:gd name="connsiteY44" fmla="*/ 1163491 h 1660321"/>
                <a:gd name="connsiteX45" fmla="*/ 519111 w 1920955"/>
                <a:gd name="connsiteY45" fmla="*/ 1219954 h 1660321"/>
                <a:gd name="connsiteX46" fmla="*/ 591143 w 1920955"/>
                <a:gd name="connsiteY46" fmla="*/ 1252948 h 1660321"/>
                <a:gd name="connsiteX47" fmla="*/ 571974 w 1920955"/>
                <a:gd name="connsiteY47" fmla="*/ 1312651 h 1660321"/>
                <a:gd name="connsiteX48" fmla="*/ 662461 w 1920955"/>
                <a:gd name="connsiteY48" fmla="*/ 1465051 h 1660321"/>
                <a:gd name="connsiteX49" fmla="*/ 755271 w 1920955"/>
                <a:gd name="connsiteY49" fmla="*/ 1538205 h 1660321"/>
                <a:gd name="connsiteX50" fmla="*/ 805336 w 1920955"/>
                <a:gd name="connsiteY50" fmla="*/ 1488863 h 1660321"/>
                <a:gd name="connsiteX51" fmla="*/ 869926 w 1920955"/>
                <a:gd name="connsiteY51" fmla="*/ 1516260 h 1660321"/>
                <a:gd name="connsiteX52" fmla="*/ 924399 w 1920955"/>
                <a:gd name="connsiteY52" fmla="*/ 1484101 h 1660321"/>
                <a:gd name="connsiteX53" fmla="*/ 941246 w 1920955"/>
                <a:gd name="connsiteY53" fmla="*/ 1441925 h 1660321"/>
                <a:gd name="connsiteX54" fmla="*/ 1005123 w 1920955"/>
                <a:gd name="connsiteY54" fmla="*/ 1528337 h 1660321"/>
                <a:gd name="connsiteX55" fmla="*/ 1067274 w 1920955"/>
                <a:gd name="connsiteY55" fmla="*/ 1584113 h 1660321"/>
                <a:gd name="connsiteX56" fmla="*/ 1100611 w 1920955"/>
                <a:gd name="connsiteY56" fmla="*/ 1660313 h 1660321"/>
                <a:gd name="connsiteX57" fmla="*/ 1133949 w 1920955"/>
                <a:gd name="connsiteY57" fmla="*/ 1579351 h 1660321"/>
                <a:gd name="connsiteX58" fmla="*/ 1176811 w 1920955"/>
                <a:gd name="connsiteY58" fmla="*/ 1598401 h 1660321"/>
                <a:gd name="connsiteX59" fmla="*/ 1210149 w 1920955"/>
                <a:gd name="connsiteY59" fmla="*/ 1617451 h 1660321"/>
                <a:gd name="connsiteX60" fmla="*/ 1233961 w 1920955"/>
                <a:gd name="connsiteY60" fmla="*/ 1579351 h 1660321"/>
                <a:gd name="connsiteX61" fmla="*/ 1267299 w 1920955"/>
                <a:gd name="connsiteY61" fmla="*/ 1655551 h 1660321"/>
                <a:gd name="connsiteX62" fmla="*/ 1348261 w 1920955"/>
                <a:gd name="connsiteY62" fmla="*/ 1626976 h 1660321"/>
                <a:gd name="connsiteX63" fmla="*/ 1414936 w 1920955"/>
                <a:gd name="connsiteY63" fmla="*/ 1555538 h 1660321"/>
                <a:gd name="connsiteX64" fmla="*/ 1433986 w 1920955"/>
                <a:gd name="connsiteY64" fmla="*/ 1607926 h 1660321"/>
                <a:gd name="connsiteX65" fmla="*/ 1410174 w 1920955"/>
                <a:gd name="connsiteY65" fmla="*/ 1612688 h 1660321"/>
                <a:gd name="connsiteX66" fmla="*/ 1543524 w 1920955"/>
                <a:gd name="connsiteY66" fmla="*/ 1579351 h 1660321"/>
                <a:gd name="connsiteX67" fmla="*/ 1581624 w 1920955"/>
                <a:gd name="connsiteY67" fmla="*/ 1507913 h 1660321"/>
                <a:gd name="connsiteX68" fmla="*/ 1643536 w 1920955"/>
                <a:gd name="connsiteY68" fmla="*/ 1412663 h 1660321"/>
                <a:gd name="connsiteX69" fmla="*/ 1714974 w 1920955"/>
                <a:gd name="connsiteY69" fmla="*/ 1384088 h 1660321"/>
                <a:gd name="connsiteX70" fmla="*/ 1772124 w 1920955"/>
                <a:gd name="connsiteY70" fmla="*/ 1379326 h 1660321"/>
                <a:gd name="connsiteX71" fmla="*/ 1772124 w 1920955"/>
                <a:gd name="connsiteY71" fmla="*/ 1450763 h 1660321"/>
                <a:gd name="connsiteX72" fmla="*/ 1886424 w 1920955"/>
                <a:gd name="connsiteY72" fmla="*/ 1446001 h 1660321"/>
                <a:gd name="connsiteX73" fmla="*/ 1919761 w 1920955"/>
                <a:gd name="connsiteY73" fmla="*/ 1441238 h 1660321"/>
                <a:gd name="connsiteX74" fmla="*/ 1853086 w 1920955"/>
                <a:gd name="connsiteY74" fmla="*/ 1398376 h 1660321"/>
                <a:gd name="connsiteX75" fmla="*/ 1853086 w 1920955"/>
                <a:gd name="connsiteY75" fmla="*/ 1303126 h 1660321"/>
                <a:gd name="connsiteX76" fmla="*/ 1853086 w 1920955"/>
                <a:gd name="connsiteY76" fmla="*/ 1245976 h 1660321"/>
                <a:gd name="connsiteX77" fmla="*/ 1810224 w 1920955"/>
                <a:gd name="connsiteY77" fmla="*/ 1236451 h 1660321"/>
                <a:gd name="connsiteX78" fmla="*/ 1734024 w 1920955"/>
                <a:gd name="connsiteY78" fmla="*/ 1155488 h 1660321"/>
                <a:gd name="connsiteX79" fmla="*/ 1695924 w 1920955"/>
                <a:gd name="connsiteY79" fmla="*/ 974513 h 1660321"/>
                <a:gd name="connsiteX80" fmla="*/ 1643536 w 1920955"/>
                <a:gd name="connsiteY80" fmla="*/ 941176 h 1660321"/>
                <a:gd name="connsiteX81" fmla="*/ 1605436 w 1920955"/>
                <a:gd name="connsiteY81" fmla="*/ 884026 h 1660321"/>
                <a:gd name="connsiteX82" fmla="*/ 1557811 w 1920955"/>
                <a:gd name="connsiteY82" fmla="*/ 836401 h 1660321"/>
                <a:gd name="connsiteX83" fmla="*/ 1505424 w 1920955"/>
                <a:gd name="connsiteY83" fmla="*/ 817351 h 1660321"/>
                <a:gd name="connsiteX84" fmla="*/ 1453036 w 1920955"/>
                <a:gd name="connsiteY84" fmla="*/ 812588 h 1660321"/>
                <a:gd name="connsiteX85" fmla="*/ 1510186 w 1920955"/>
                <a:gd name="connsiteY85" fmla="*/ 779251 h 1660321"/>
                <a:gd name="connsiteX86" fmla="*/ 1476849 w 1920955"/>
                <a:gd name="connsiteY86" fmla="*/ 745913 h 1660321"/>
                <a:gd name="connsiteX87" fmla="*/ 1481611 w 1920955"/>
                <a:gd name="connsiteY87" fmla="*/ 722101 h 1660321"/>
                <a:gd name="connsiteX88" fmla="*/ 1572099 w 1920955"/>
                <a:gd name="connsiteY88" fmla="*/ 760201 h 1660321"/>
                <a:gd name="connsiteX89" fmla="*/ 1624486 w 1920955"/>
                <a:gd name="connsiteY89" fmla="*/ 693526 h 1660321"/>
                <a:gd name="connsiteX90" fmla="*/ 1614961 w 1920955"/>
                <a:gd name="connsiteY90" fmla="*/ 550651 h 1660321"/>
                <a:gd name="connsiteX91" fmla="*/ 1610199 w 1920955"/>
                <a:gd name="connsiteY91" fmla="*/ 412538 h 1660321"/>
                <a:gd name="connsiteX0" fmla="*/ 1610199 w 1920955"/>
                <a:gd name="connsiteY0" fmla="*/ 412538 h 1660321"/>
                <a:gd name="connsiteX1" fmla="*/ 1567336 w 1920955"/>
                <a:gd name="connsiteY1" fmla="*/ 369676 h 1660321"/>
                <a:gd name="connsiteX2" fmla="*/ 1467324 w 1920955"/>
                <a:gd name="connsiteY2" fmla="*/ 345863 h 1660321"/>
                <a:gd name="connsiteX3" fmla="*/ 1419699 w 1920955"/>
                <a:gd name="connsiteY3" fmla="*/ 317288 h 1660321"/>
                <a:gd name="connsiteX4" fmla="*/ 1367311 w 1920955"/>
                <a:gd name="connsiteY4" fmla="*/ 160126 h 1660321"/>
                <a:gd name="connsiteX5" fmla="*/ 1338736 w 1920955"/>
                <a:gd name="connsiteY5" fmla="*/ 12488 h 1660321"/>
                <a:gd name="connsiteX6" fmla="*/ 1267299 w 1920955"/>
                <a:gd name="connsiteY6" fmla="*/ 12488 h 1660321"/>
                <a:gd name="connsiteX7" fmla="*/ 1214911 w 1920955"/>
                <a:gd name="connsiteY7" fmla="*/ 50588 h 1660321"/>
                <a:gd name="connsiteX8" fmla="*/ 1214911 w 1920955"/>
                <a:gd name="connsiteY8" fmla="*/ 155363 h 1660321"/>
                <a:gd name="connsiteX9" fmla="*/ 1186336 w 1920955"/>
                <a:gd name="connsiteY9" fmla="*/ 183938 h 1660321"/>
                <a:gd name="connsiteX10" fmla="*/ 1176811 w 1920955"/>
                <a:gd name="connsiteY10" fmla="*/ 255376 h 1660321"/>
                <a:gd name="connsiteX11" fmla="*/ 1114899 w 1920955"/>
                <a:gd name="connsiteY11" fmla="*/ 298238 h 1660321"/>
                <a:gd name="connsiteX12" fmla="*/ 1005361 w 1920955"/>
                <a:gd name="connsiteY12" fmla="*/ 312526 h 1660321"/>
                <a:gd name="connsiteX13" fmla="*/ 962499 w 1920955"/>
                <a:gd name="connsiteY13" fmla="*/ 355388 h 1660321"/>
                <a:gd name="connsiteX14" fmla="*/ 838674 w 1920955"/>
                <a:gd name="connsiteY14" fmla="*/ 355388 h 1660321"/>
                <a:gd name="connsiteX15" fmla="*/ 781524 w 1920955"/>
                <a:gd name="connsiteY15" fmla="*/ 426826 h 1660321"/>
                <a:gd name="connsiteX16" fmla="*/ 781524 w 1920955"/>
                <a:gd name="connsiteY16" fmla="*/ 460163 h 1660321"/>
                <a:gd name="connsiteX17" fmla="*/ 743424 w 1920955"/>
                <a:gd name="connsiteY17" fmla="*/ 483976 h 1660321"/>
                <a:gd name="connsiteX18" fmla="*/ 671986 w 1920955"/>
                <a:gd name="connsiteY18" fmla="*/ 417301 h 1660321"/>
                <a:gd name="connsiteX19" fmla="*/ 519586 w 1920955"/>
                <a:gd name="connsiteY19" fmla="*/ 412538 h 1660321"/>
                <a:gd name="connsiteX20" fmla="*/ 457674 w 1920955"/>
                <a:gd name="connsiteY20" fmla="*/ 431588 h 1660321"/>
                <a:gd name="connsiteX21" fmla="*/ 419574 w 1920955"/>
                <a:gd name="connsiteY21" fmla="*/ 417301 h 1660321"/>
                <a:gd name="connsiteX22" fmla="*/ 400524 w 1920955"/>
                <a:gd name="connsiteY22" fmla="*/ 355388 h 1660321"/>
                <a:gd name="connsiteX23" fmla="*/ 333849 w 1920955"/>
                <a:gd name="connsiteY23" fmla="*/ 303001 h 1660321"/>
                <a:gd name="connsiteX24" fmla="*/ 286224 w 1920955"/>
                <a:gd name="connsiteY24" fmla="*/ 236326 h 1660321"/>
                <a:gd name="connsiteX25" fmla="*/ 143349 w 1920955"/>
                <a:gd name="connsiteY25" fmla="*/ 255376 h 1660321"/>
                <a:gd name="connsiteX26" fmla="*/ 124299 w 1920955"/>
                <a:gd name="connsiteY26" fmla="*/ 331576 h 1660321"/>
                <a:gd name="connsiteX27" fmla="*/ 110011 w 1920955"/>
                <a:gd name="connsiteY27" fmla="*/ 364913 h 1660321"/>
                <a:gd name="connsiteX28" fmla="*/ 133824 w 1920955"/>
                <a:gd name="connsiteY28" fmla="*/ 412538 h 1660321"/>
                <a:gd name="connsiteX29" fmla="*/ 81436 w 1920955"/>
                <a:gd name="connsiteY29" fmla="*/ 450638 h 1660321"/>
                <a:gd name="connsiteX30" fmla="*/ 33811 w 1920955"/>
                <a:gd name="connsiteY30" fmla="*/ 445876 h 1660321"/>
                <a:gd name="connsiteX31" fmla="*/ 33811 w 1920955"/>
                <a:gd name="connsiteY31" fmla="*/ 517313 h 1660321"/>
                <a:gd name="connsiteX32" fmla="*/ 474 w 1920955"/>
                <a:gd name="connsiteY32" fmla="*/ 622088 h 1660321"/>
                <a:gd name="connsiteX33" fmla="*/ 62386 w 1920955"/>
                <a:gd name="connsiteY33" fmla="*/ 698288 h 1660321"/>
                <a:gd name="connsiteX34" fmla="*/ 111977 w 1920955"/>
                <a:gd name="connsiteY34" fmla="*/ 678550 h 1660321"/>
                <a:gd name="connsiteX35" fmla="*/ 112334 w 1920955"/>
                <a:gd name="connsiteY35" fmla="*/ 748809 h 1660321"/>
                <a:gd name="connsiteX36" fmla="*/ 167161 w 1920955"/>
                <a:gd name="connsiteY36" fmla="*/ 779251 h 1660321"/>
                <a:gd name="connsiteX37" fmla="*/ 236159 w 1920955"/>
                <a:gd name="connsiteY37" fmla="*/ 789463 h 1660321"/>
                <a:gd name="connsiteX38" fmla="*/ 271462 w 1920955"/>
                <a:gd name="connsiteY38" fmla="*/ 845434 h 1660321"/>
                <a:gd name="connsiteX39" fmla="*/ 270869 w 1920955"/>
                <a:gd name="connsiteY39" fmla="*/ 890506 h 1660321"/>
                <a:gd name="connsiteX40" fmla="*/ 295393 w 1920955"/>
                <a:gd name="connsiteY40" fmla="*/ 929981 h 1660321"/>
                <a:gd name="connsiteX41" fmla="*/ 341051 w 1920955"/>
                <a:gd name="connsiteY41" fmla="*/ 968573 h 1660321"/>
                <a:gd name="connsiteX42" fmla="*/ 426184 w 1920955"/>
                <a:gd name="connsiteY42" fmla="*/ 1022825 h 1660321"/>
                <a:gd name="connsiteX43" fmla="*/ 461961 w 1920955"/>
                <a:gd name="connsiteY43" fmla="*/ 1093918 h 1660321"/>
                <a:gd name="connsiteX44" fmla="*/ 441064 w 1920955"/>
                <a:gd name="connsiteY44" fmla="*/ 1163491 h 1660321"/>
                <a:gd name="connsiteX45" fmla="*/ 519111 w 1920955"/>
                <a:gd name="connsiteY45" fmla="*/ 1219954 h 1660321"/>
                <a:gd name="connsiteX46" fmla="*/ 591143 w 1920955"/>
                <a:gd name="connsiteY46" fmla="*/ 1252948 h 1660321"/>
                <a:gd name="connsiteX47" fmla="*/ 571974 w 1920955"/>
                <a:gd name="connsiteY47" fmla="*/ 1312651 h 1660321"/>
                <a:gd name="connsiteX48" fmla="*/ 662461 w 1920955"/>
                <a:gd name="connsiteY48" fmla="*/ 1465051 h 1660321"/>
                <a:gd name="connsiteX49" fmla="*/ 755271 w 1920955"/>
                <a:gd name="connsiteY49" fmla="*/ 1538205 h 1660321"/>
                <a:gd name="connsiteX50" fmla="*/ 805336 w 1920955"/>
                <a:gd name="connsiteY50" fmla="*/ 1488863 h 1660321"/>
                <a:gd name="connsiteX51" fmla="*/ 869926 w 1920955"/>
                <a:gd name="connsiteY51" fmla="*/ 1516260 h 1660321"/>
                <a:gd name="connsiteX52" fmla="*/ 924399 w 1920955"/>
                <a:gd name="connsiteY52" fmla="*/ 1484101 h 1660321"/>
                <a:gd name="connsiteX53" fmla="*/ 941246 w 1920955"/>
                <a:gd name="connsiteY53" fmla="*/ 1441925 h 1660321"/>
                <a:gd name="connsiteX54" fmla="*/ 1005123 w 1920955"/>
                <a:gd name="connsiteY54" fmla="*/ 1528337 h 1660321"/>
                <a:gd name="connsiteX55" fmla="*/ 1067274 w 1920955"/>
                <a:gd name="connsiteY55" fmla="*/ 1584113 h 1660321"/>
                <a:gd name="connsiteX56" fmla="*/ 1100611 w 1920955"/>
                <a:gd name="connsiteY56" fmla="*/ 1660313 h 1660321"/>
                <a:gd name="connsiteX57" fmla="*/ 1133949 w 1920955"/>
                <a:gd name="connsiteY57" fmla="*/ 1579351 h 1660321"/>
                <a:gd name="connsiteX58" fmla="*/ 1176811 w 1920955"/>
                <a:gd name="connsiteY58" fmla="*/ 1598401 h 1660321"/>
                <a:gd name="connsiteX59" fmla="*/ 1210149 w 1920955"/>
                <a:gd name="connsiteY59" fmla="*/ 1617451 h 1660321"/>
                <a:gd name="connsiteX60" fmla="*/ 1233961 w 1920955"/>
                <a:gd name="connsiteY60" fmla="*/ 1579351 h 1660321"/>
                <a:gd name="connsiteX61" fmla="*/ 1267299 w 1920955"/>
                <a:gd name="connsiteY61" fmla="*/ 1655551 h 1660321"/>
                <a:gd name="connsiteX62" fmla="*/ 1348261 w 1920955"/>
                <a:gd name="connsiteY62" fmla="*/ 1626976 h 1660321"/>
                <a:gd name="connsiteX63" fmla="*/ 1414936 w 1920955"/>
                <a:gd name="connsiteY63" fmla="*/ 1555538 h 1660321"/>
                <a:gd name="connsiteX64" fmla="*/ 1433986 w 1920955"/>
                <a:gd name="connsiteY64" fmla="*/ 1607926 h 1660321"/>
                <a:gd name="connsiteX65" fmla="*/ 1410174 w 1920955"/>
                <a:gd name="connsiteY65" fmla="*/ 1612688 h 1660321"/>
                <a:gd name="connsiteX66" fmla="*/ 1543524 w 1920955"/>
                <a:gd name="connsiteY66" fmla="*/ 1579351 h 1660321"/>
                <a:gd name="connsiteX67" fmla="*/ 1581624 w 1920955"/>
                <a:gd name="connsiteY67" fmla="*/ 1507913 h 1660321"/>
                <a:gd name="connsiteX68" fmla="*/ 1643536 w 1920955"/>
                <a:gd name="connsiteY68" fmla="*/ 1412663 h 1660321"/>
                <a:gd name="connsiteX69" fmla="*/ 1714974 w 1920955"/>
                <a:gd name="connsiteY69" fmla="*/ 1384088 h 1660321"/>
                <a:gd name="connsiteX70" fmla="*/ 1772124 w 1920955"/>
                <a:gd name="connsiteY70" fmla="*/ 1379326 h 1660321"/>
                <a:gd name="connsiteX71" fmla="*/ 1772124 w 1920955"/>
                <a:gd name="connsiteY71" fmla="*/ 1450763 h 1660321"/>
                <a:gd name="connsiteX72" fmla="*/ 1886424 w 1920955"/>
                <a:gd name="connsiteY72" fmla="*/ 1446001 h 1660321"/>
                <a:gd name="connsiteX73" fmla="*/ 1919761 w 1920955"/>
                <a:gd name="connsiteY73" fmla="*/ 1441238 h 1660321"/>
                <a:gd name="connsiteX74" fmla="*/ 1853086 w 1920955"/>
                <a:gd name="connsiteY74" fmla="*/ 1398376 h 1660321"/>
                <a:gd name="connsiteX75" fmla="*/ 1853086 w 1920955"/>
                <a:gd name="connsiteY75" fmla="*/ 1303126 h 1660321"/>
                <a:gd name="connsiteX76" fmla="*/ 1853086 w 1920955"/>
                <a:gd name="connsiteY76" fmla="*/ 1245976 h 1660321"/>
                <a:gd name="connsiteX77" fmla="*/ 1810224 w 1920955"/>
                <a:gd name="connsiteY77" fmla="*/ 1236451 h 1660321"/>
                <a:gd name="connsiteX78" fmla="*/ 1734024 w 1920955"/>
                <a:gd name="connsiteY78" fmla="*/ 1155488 h 1660321"/>
                <a:gd name="connsiteX79" fmla="*/ 1695924 w 1920955"/>
                <a:gd name="connsiteY79" fmla="*/ 974513 h 1660321"/>
                <a:gd name="connsiteX80" fmla="*/ 1643536 w 1920955"/>
                <a:gd name="connsiteY80" fmla="*/ 941176 h 1660321"/>
                <a:gd name="connsiteX81" fmla="*/ 1605436 w 1920955"/>
                <a:gd name="connsiteY81" fmla="*/ 884026 h 1660321"/>
                <a:gd name="connsiteX82" fmla="*/ 1557811 w 1920955"/>
                <a:gd name="connsiteY82" fmla="*/ 836401 h 1660321"/>
                <a:gd name="connsiteX83" fmla="*/ 1505424 w 1920955"/>
                <a:gd name="connsiteY83" fmla="*/ 817351 h 1660321"/>
                <a:gd name="connsiteX84" fmla="*/ 1453036 w 1920955"/>
                <a:gd name="connsiteY84" fmla="*/ 812588 h 1660321"/>
                <a:gd name="connsiteX85" fmla="*/ 1510186 w 1920955"/>
                <a:gd name="connsiteY85" fmla="*/ 779251 h 1660321"/>
                <a:gd name="connsiteX86" fmla="*/ 1476849 w 1920955"/>
                <a:gd name="connsiteY86" fmla="*/ 745913 h 1660321"/>
                <a:gd name="connsiteX87" fmla="*/ 1481611 w 1920955"/>
                <a:gd name="connsiteY87" fmla="*/ 722101 h 1660321"/>
                <a:gd name="connsiteX88" fmla="*/ 1572099 w 1920955"/>
                <a:gd name="connsiteY88" fmla="*/ 760201 h 1660321"/>
                <a:gd name="connsiteX89" fmla="*/ 1624486 w 1920955"/>
                <a:gd name="connsiteY89" fmla="*/ 693526 h 1660321"/>
                <a:gd name="connsiteX90" fmla="*/ 1614961 w 1920955"/>
                <a:gd name="connsiteY90" fmla="*/ 550651 h 1660321"/>
                <a:gd name="connsiteX91" fmla="*/ 1610199 w 1920955"/>
                <a:gd name="connsiteY91" fmla="*/ 412538 h 1660321"/>
                <a:gd name="connsiteX0" fmla="*/ 1610199 w 1920955"/>
                <a:gd name="connsiteY0" fmla="*/ 412538 h 1660500"/>
                <a:gd name="connsiteX1" fmla="*/ 1567336 w 1920955"/>
                <a:gd name="connsiteY1" fmla="*/ 369676 h 1660500"/>
                <a:gd name="connsiteX2" fmla="*/ 1467324 w 1920955"/>
                <a:gd name="connsiteY2" fmla="*/ 345863 h 1660500"/>
                <a:gd name="connsiteX3" fmla="*/ 1419699 w 1920955"/>
                <a:gd name="connsiteY3" fmla="*/ 317288 h 1660500"/>
                <a:gd name="connsiteX4" fmla="*/ 1367311 w 1920955"/>
                <a:gd name="connsiteY4" fmla="*/ 160126 h 1660500"/>
                <a:gd name="connsiteX5" fmla="*/ 1338736 w 1920955"/>
                <a:gd name="connsiteY5" fmla="*/ 12488 h 1660500"/>
                <a:gd name="connsiteX6" fmla="*/ 1267299 w 1920955"/>
                <a:gd name="connsiteY6" fmla="*/ 12488 h 1660500"/>
                <a:gd name="connsiteX7" fmla="*/ 1214911 w 1920955"/>
                <a:gd name="connsiteY7" fmla="*/ 50588 h 1660500"/>
                <a:gd name="connsiteX8" fmla="*/ 1214911 w 1920955"/>
                <a:gd name="connsiteY8" fmla="*/ 155363 h 1660500"/>
                <a:gd name="connsiteX9" fmla="*/ 1186336 w 1920955"/>
                <a:gd name="connsiteY9" fmla="*/ 183938 h 1660500"/>
                <a:gd name="connsiteX10" fmla="*/ 1176811 w 1920955"/>
                <a:gd name="connsiteY10" fmla="*/ 255376 h 1660500"/>
                <a:gd name="connsiteX11" fmla="*/ 1114899 w 1920955"/>
                <a:gd name="connsiteY11" fmla="*/ 298238 h 1660500"/>
                <a:gd name="connsiteX12" fmla="*/ 1005361 w 1920955"/>
                <a:gd name="connsiteY12" fmla="*/ 312526 h 1660500"/>
                <a:gd name="connsiteX13" fmla="*/ 962499 w 1920955"/>
                <a:gd name="connsiteY13" fmla="*/ 355388 h 1660500"/>
                <a:gd name="connsiteX14" fmla="*/ 838674 w 1920955"/>
                <a:gd name="connsiteY14" fmla="*/ 355388 h 1660500"/>
                <a:gd name="connsiteX15" fmla="*/ 781524 w 1920955"/>
                <a:gd name="connsiteY15" fmla="*/ 426826 h 1660500"/>
                <a:gd name="connsiteX16" fmla="*/ 781524 w 1920955"/>
                <a:gd name="connsiteY16" fmla="*/ 460163 h 1660500"/>
                <a:gd name="connsiteX17" fmla="*/ 743424 w 1920955"/>
                <a:gd name="connsiteY17" fmla="*/ 483976 h 1660500"/>
                <a:gd name="connsiteX18" fmla="*/ 671986 w 1920955"/>
                <a:gd name="connsiteY18" fmla="*/ 417301 h 1660500"/>
                <a:gd name="connsiteX19" fmla="*/ 519586 w 1920955"/>
                <a:gd name="connsiteY19" fmla="*/ 412538 h 1660500"/>
                <a:gd name="connsiteX20" fmla="*/ 457674 w 1920955"/>
                <a:gd name="connsiteY20" fmla="*/ 431588 h 1660500"/>
                <a:gd name="connsiteX21" fmla="*/ 419574 w 1920955"/>
                <a:gd name="connsiteY21" fmla="*/ 417301 h 1660500"/>
                <a:gd name="connsiteX22" fmla="*/ 400524 w 1920955"/>
                <a:gd name="connsiteY22" fmla="*/ 355388 h 1660500"/>
                <a:gd name="connsiteX23" fmla="*/ 333849 w 1920955"/>
                <a:gd name="connsiteY23" fmla="*/ 303001 h 1660500"/>
                <a:gd name="connsiteX24" fmla="*/ 286224 w 1920955"/>
                <a:gd name="connsiteY24" fmla="*/ 236326 h 1660500"/>
                <a:gd name="connsiteX25" fmla="*/ 143349 w 1920955"/>
                <a:gd name="connsiteY25" fmla="*/ 255376 h 1660500"/>
                <a:gd name="connsiteX26" fmla="*/ 124299 w 1920955"/>
                <a:gd name="connsiteY26" fmla="*/ 331576 h 1660500"/>
                <a:gd name="connsiteX27" fmla="*/ 110011 w 1920955"/>
                <a:gd name="connsiteY27" fmla="*/ 364913 h 1660500"/>
                <a:gd name="connsiteX28" fmla="*/ 133824 w 1920955"/>
                <a:gd name="connsiteY28" fmla="*/ 412538 h 1660500"/>
                <a:gd name="connsiteX29" fmla="*/ 81436 w 1920955"/>
                <a:gd name="connsiteY29" fmla="*/ 450638 h 1660500"/>
                <a:gd name="connsiteX30" fmla="*/ 33811 w 1920955"/>
                <a:gd name="connsiteY30" fmla="*/ 445876 h 1660500"/>
                <a:gd name="connsiteX31" fmla="*/ 33811 w 1920955"/>
                <a:gd name="connsiteY31" fmla="*/ 517313 h 1660500"/>
                <a:gd name="connsiteX32" fmla="*/ 474 w 1920955"/>
                <a:gd name="connsiteY32" fmla="*/ 622088 h 1660500"/>
                <a:gd name="connsiteX33" fmla="*/ 62386 w 1920955"/>
                <a:gd name="connsiteY33" fmla="*/ 698288 h 1660500"/>
                <a:gd name="connsiteX34" fmla="*/ 111977 w 1920955"/>
                <a:gd name="connsiteY34" fmla="*/ 678550 h 1660500"/>
                <a:gd name="connsiteX35" fmla="*/ 112334 w 1920955"/>
                <a:gd name="connsiteY35" fmla="*/ 748809 h 1660500"/>
                <a:gd name="connsiteX36" fmla="*/ 167161 w 1920955"/>
                <a:gd name="connsiteY36" fmla="*/ 779251 h 1660500"/>
                <a:gd name="connsiteX37" fmla="*/ 236159 w 1920955"/>
                <a:gd name="connsiteY37" fmla="*/ 789463 h 1660500"/>
                <a:gd name="connsiteX38" fmla="*/ 271462 w 1920955"/>
                <a:gd name="connsiteY38" fmla="*/ 845434 h 1660500"/>
                <a:gd name="connsiteX39" fmla="*/ 270869 w 1920955"/>
                <a:gd name="connsiteY39" fmla="*/ 890506 h 1660500"/>
                <a:gd name="connsiteX40" fmla="*/ 295393 w 1920955"/>
                <a:gd name="connsiteY40" fmla="*/ 929981 h 1660500"/>
                <a:gd name="connsiteX41" fmla="*/ 341051 w 1920955"/>
                <a:gd name="connsiteY41" fmla="*/ 968573 h 1660500"/>
                <a:gd name="connsiteX42" fmla="*/ 426184 w 1920955"/>
                <a:gd name="connsiteY42" fmla="*/ 1022825 h 1660500"/>
                <a:gd name="connsiteX43" fmla="*/ 461961 w 1920955"/>
                <a:gd name="connsiteY43" fmla="*/ 1093918 h 1660500"/>
                <a:gd name="connsiteX44" fmla="*/ 441064 w 1920955"/>
                <a:gd name="connsiteY44" fmla="*/ 1163491 h 1660500"/>
                <a:gd name="connsiteX45" fmla="*/ 519111 w 1920955"/>
                <a:gd name="connsiteY45" fmla="*/ 1219954 h 1660500"/>
                <a:gd name="connsiteX46" fmla="*/ 591143 w 1920955"/>
                <a:gd name="connsiteY46" fmla="*/ 1252948 h 1660500"/>
                <a:gd name="connsiteX47" fmla="*/ 571974 w 1920955"/>
                <a:gd name="connsiteY47" fmla="*/ 1312651 h 1660500"/>
                <a:gd name="connsiteX48" fmla="*/ 662461 w 1920955"/>
                <a:gd name="connsiteY48" fmla="*/ 1465051 h 1660500"/>
                <a:gd name="connsiteX49" fmla="*/ 755271 w 1920955"/>
                <a:gd name="connsiteY49" fmla="*/ 1538205 h 1660500"/>
                <a:gd name="connsiteX50" fmla="*/ 805336 w 1920955"/>
                <a:gd name="connsiteY50" fmla="*/ 1488863 h 1660500"/>
                <a:gd name="connsiteX51" fmla="*/ 869926 w 1920955"/>
                <a:gd name="connsiteY51" fmla="*/ 1516260 h 1660500"/>
                <a:gd name="connsiteX52" fmla="*/ 924399 w 1920955"/>
                <a:gd name="connsiteY52" fmla="*/ 1484101 h 1660500"/>
                <a:gd name="connsiteX53" fmla="*/ 941246 w 1920955"/>
                <a:gd name="connsiteY53" fmla="*/ 1441925 h 1660500"/>
                <a:gd name="connsiteX54" fmla="*/ 1005123 w 1920955"/>
                <a:gd name="connsiteY54" fmla="*/ 1528337 h 1660500"/>
                <a:gd name="connsiteX55" fmla="*/ 1050190 w 1920955"/>
                <a:gd name="connsiteY55" fmla="*/ 1599431 h 1660500"/>
                <a:gd name="connsiteX56" fmla="*/ 1100611 w 1920955"/>
                <a:gd name="connsiteY56" fmla="*/ 1660313 h 1660500"/>
                <a:gd name="connsiteX57" fmla="*/ 1133949 w 1920955"/>
                <a:gd name="connsiteY57" fmla="*/ 1579351 h 1660500"/>
                <a:gd name="connsiteX58" fmla="*/ 1176811 w 1920955"/>
                <a:gd name="connsiteY58" fmla="*/ 1598401 h 1660500"/>
                <a:gd name="connsiteX59" fmla="*/ 1210149 w 1920955"/>
                <a:gd name="connsiteY59" fmla="*/ 1617451 h 1660500"/>
                <a:gd name="connsiteX60" fmla="*/ 1233961 w 1920955"/>
                <a:gd name="connsiteY60" fmla="*/ 1579351 h 1660500"/>
                <a:gd name="connsiteX61" fmla="*/ 1267299 w 1920955"/>
                <a:gd name="connsiteY61" fmla="*/ 1655551 h 1660500"/>
                <a:gd name="connsiteX62" fmla="*/ 1348261 w 1920955"/>
                <a:gd name="connsiteY62" fmla="*/ 1626976 h 1660500"/>
                <a:gd name="connsiteX63" fmla="*/ 1414936 w 1920955"/>
                <a:gd name="connsiteY63" fmla="*/ 1555538 h 1660500"/>
                <a:gd name="connsiteX64" fmla="*/ 1433986 w 1920955"/>
                <a:gd name="connsiteY64" fmla="*/ 1607926 h 1660500"/>
                <a:gd name="connsiteX65" fmla="*/ 1410174 w 1920955"/>
                <a:gd name="connsiteY65" fmla="*/ 1612688 h 1660500"/>
                <a:gd name="connsiteX66" fmla="*/ 1543524 w 1920955"/>
                <a:gd name="connsiteY66" fmla="*/ 1579351 h 1660500"/>
                <a:gd name="connsiteX67" fmla="*/ 1581624 w 1920955"/>
                <a:gd name="connsiteY67" fmla="*/ 1507913 h 1660500"/>
                <a:gd name="connsiteX68" fmla="*/ 1643536 w 1920955"/>
                <a:gd name="connsiteY68" fmla="*/ 1412663 h 1660500"/>
                <a:gd name="connsiteX69" fmla="*/ 1714974 w 1920955"/>
                <a:gd name="connsiteY69" fmla="*/ 1384088 h 1660500"/>
                <a:gd name="connsiteX70" fmla="*/ 1772124 w 1920955"/>
                <a:gd name="connsiteY70" fmla="*/ 1379326 h 1660500"/>
                <a:gd name="connsiteX71" fmla="*/ 1772124 w 1920955"/>
                <a:gd name="connsiteY71" fmla="*/ 1450763 h 1660500"/>
                <a:gd name="connsiteX72" fmla="*/ 1886424 w 1920955"/>
                <a:gd name="connsiteY72" fmla="*/ 1446001 h 1660500"/>
                <a:gd name="connsiteX73" fmla="*/ 1919761 w 1920955"/>
                <a:gd name="connsiteY73" fmla="*/ 1441238 h 1660500"/>
                <a:gd name="connsiteX74" fmla="*/ 1853086 w 1920955"/>
                <a:gd name="connsiteY74" fmla="*/ 1398376 h 1660500"/>
                <a:gd name="connsiteX75" fmla="*/ 1853086 w 1920955"/>
                <a:gd name="connsiteY75" fmla="*/ 1303126 h 1660500"/>
                <a:gd name="connsiteX76" fmla="*/ 1853086 w 1920955"/>
                <a:gd name="connsiteY76" fmla="*/ 1245976 h 1660500"/>
                <a:gd name="connsiteX77" fmla="*/ 1810224 w 1920955"/>
                <a:gd name="connsiteY77" fmla="*/ 1236451 h 1660500"/>
                <a:gd name="connsiteX78" fmla="*/ 1734024 w 1920955"/>
                <a:gd name="connsiteY78" fmla="*/ 1155488 h 1660500"/>
                <a:gd name="connsiteX79" fmla="*/ 1695924 w 1920955"/>
                <a:gd name="connsiteY79" fmla="*/ 974513 h 1660500"/>
                <a:gd name="connsiteX80" fmla="*/ 1643536 w 1920955"/>
                <a:gd name="connsiteY80" fmla="*/ 941176 h 1660500"/>
                <a:gd name="connsiteX81" fmla="*/ 1605436 w 1920955"/>
                <a:gd name="connsiteY81" fmla="*/ 884026 h 1660500"/>
                <a:gd name="connsiteX82" fmla="*/ 1557811 w 1920955"/>
                <a:gd name="connsiteY82" fmla="*/ 836401 h 1660500"/>
                <a:gd name="connsiteX83" fmla="*/ 1505424 w 1920955"/>
                <a:gd name="connsiteY83" fmla="*/ 817351 h 1660500"/>
                <a:gd name="connsiteX84" fmla="*/ 1453036 w 1920955"/>
                <a:gd name="connsiteY84" fmla="*/ 812588 h 1660500"/>
                <a:gd name="connsiteX85" fmla="*/ 1510186 w 1920955"/>
                <a:gd name="connsiteY85" fmla="*/ 779251 h 1660500"/>
                <a:gd name="connsiteX86" fmla="*/ 1476849 w 1920955"/>
                <a:gd name="connsiteY86" fmla="*/ 745913 h 1660500"/>
                <a:gd name="connsiteX87" fmla="*/ 1481611 w 1920955"/>
                <a:gd name="connsiteY87" fmla="*/ 722101 h 1660500"/>
                <a:gd name="connsiteX88" fmla="*/ 1572099 w 1920955"/>
                <a:gd name="connsiteY88" fmla="*/ 760201 h 1660500"/>
                <a:gd name="connsiteX89" fmla="*/ 1624486 w 1920955"/>
                <a:gd name="connsiteY89" fmla="*/ 693526 h 1660500"/>
                <a:gd name="connsiteX90" fmla="*/ 1614961 w 1920955"/>
                <a:gd name="connsiteY90" fmla="*/ 550651 h 1660500"/>
                <a:gd name="connsiteX91" fmla="*/ 1610199 w 1920955"/>
                <a:gd name="connsiteY91" fmla="*/ 412538 h 1660500"/>
                <a:gd name="connsiteX0" fmla="*/ 1610199 w 1920955"/>
                <a:gd name="connsiteY0" fmla="*/ 412538 h 1660500"/>
                <a:gd name="connsiteX1" fmla="*/ 1567336 w 1920955"/>
                <a:gd name="connsiteY1" fmla="*/ 369676 h 1660500"/>
                <a:gd name="connsiteX2" fmla="*/ 1467324 w 1920955"/>
                <a:gd name="connsiteY2" fmla="*/ 345863 h 1660500"/>
                <a:gd name="connsiteX3" fmla="*/ 1419699 w 1920955"/>
                <a:gd name="connsiteY3" fmla="*/ 317288 h 1660500"/>
                <a:gd name="connsiteX4" fmla="*/ 1367311 w 1920955"/>
                <a:gd name="connsiteY4" fmla="*/ 160126 h 1660500"/>
                <a:gd name="connsiteX5" fmla="*/ 1338736 w 1920955"/>
                <a:gd name="connsiteY5" fmla="*/ 12488 h 1660500"/>
                <a:gd name="connsiteX6" fmla="*/ 1267299 w 1920955"/>
                <a:gd name="connsiteY6" fmla="*/ 12488 h 1660500"/>
                <a:gd name="connsiteX7" fmla="*/ 1214911 w 1920955"/>
                <a:gd name="connsiteY7" fmla="*/ 50588 h 1660500"/>
                <a:gd name="connsiteX8" fmla="*/ 1214911 w 1920955"/>
                <a:gd name="connsiteY8" fmla="*/ 155363 h 1660500"/>
                <a:gd name="connsiteX9" fmla="*/ 1186336 w 1920955"/>
                <a:gd name="connsiteY9" fmla="*/ 183938 h 1660500"/>
                <a:gd name="connsiteX10" fmla="*/ 1176811 w 1920955"/>
                <a:gd name="connsiteY10" fmla="*/ 255376 h 1660500"/>
                <a:gd name="connsiteX11" fmla="*/ 1114899 w 1920955"/>
                <a:gd name="connsiteY11" fmla="*/ 298238 h 1660500"/>
                <a:gd name="connsiteX12" fmla="*/ 1005361 w 1920955"/>
                <a:gd name="connsiteY12" fmla="*/ 312526 h 1660500"/>
                <a:gd name="connsiteX13" fmla="*/ 962499 w 1920955"/>
                <a:gd name="connsiteY13" fmla="*/ 355388 h 1660500"/>
                <a:gd name="connsiteX14" fmla="*/ 838674 w 1920955"/>
                <a:gd name="connsiteY14" fmla="*/ 355388 h 1660500"/>
                <a:gd name="connsiteX15" fmla="*/ 781524 w 1920955"/>
                <a:gd name="connsiteY15" fmla="*/ 426826 h 1660500"/>
                <a:gd name="connsiteX16" fmla="*/ 781524 w 1920955"/>
                <a:gd name="connsiteY16" fmla="*/ 460163 h 1660500"/>
                <a:gd name="connsiteX17" fmla="*/ 743424 w 1920955"/>
                <a:gd name="connsiteY17" fmla="*/ 483976 h 1660500"/>
                <a:gd name="connsiteX18" fmla="*/ 671986 w 1920955"/>
                <a:gd name="connsiteY18" fmla="*/ 417301 h 1660500"/>
                <a:gd name="connsiteX19" fmla="*/ 519586 w 1920955"/>
                <a:gd name="connsiteY19" fmla="*/ 412538 h 1660500"/>
                <a:gd name="connsiteX20" fmla="*/ 457674 w 1920955"/>
                <a:gd name="connsiteY20" fmla="*/ 431588 h 1660500"/>
                <a:gd name="connsiteX21" fmla="*/ 419574 w 1920955"/>
                <a:gd name="connsiteY21" fmla="*/ 417301 h 1660500"/>
                <a:gd name="connsiteX22" fmla="*/ 400524 w 1920955"/>
                <a:gd name="connsiteY22" fmla="*/ 355388 h 1660500"/>
                <a:gd name="connsiteX23" fmla="*/ 333849 w 1920955"/>
                <a:gd name="connsiteY23" fmla="*/ 303001 h 1660500"/>
                <a:gd name="connsiteX24" fmla="*/ 286224 w 1920955"/>
                <a:gd name="connsiteY24" fmla="*/ 236326 h 1660500"/>
                <a:gd name="connsiteX25" fmla="*/ 143349 w 1920955"/>
                <a:gd name="connsiteY25" fmla="*/ 255376 h 1660500"/>
                <a:gd name="connsiteX26" fmla="*/ 124299 w 1920955"/>
                <a:gd name="connsiteY26" fmla="*/ 331576 h 1660500"/>
                <a:gd name="connsiteX27" fmla="*/ 110011 w 1920955"/>
                <a:gd name="connsiteY27" fmla="*/ 364913 h 1660500"/>
                <a:gd name="connsiteX28" fmla="*/ 133824 w 1920955"/>
                <a:gd name="connsiteY28" fmla="*/ 412538 h 1660500"/>
                <a:gd name="connsiteX29" fmla="*/ 81436 w 1920955"/>
                <a:gd name="connsiteY29" fmla="*/ 450638 h 1660500"/>
                <a:gd name="connsiteX30" fmla="*/ 33811 w 1920955"/>
                <a:gd name="connsiteY30" fmla="*/ 445876 h 1660500"/>
                <a:gd name="connsiteX31" fmla="*/ 33811 w 1920955"/>
                <a:gd name="connsiteY31" fmla="*/ 517313 h 1660500"/>
                <a:gd name="connsiteX32" fmla="*/ 474 w 1920955"/>
                <a:gd name="connsiteY32" fmla="*/ 622088 h 1660500"/>
                <a:gd name="connsiteX33" fmla="*/ 62386 w 1920955"/>
                <a:gd name="connsiteY33" fmla="*/ 698288 h 1660500"/>
                <a:gd name="connsiteX34" fmla="*/ 111977 w 1920955"/>
                <a:gd name="connsiteY34" fmla="*/ 678550 h 1660500"/>
                <a:gd name="connsiteX35" fmla="*/ 112334 w 1920955"/>
                <a:gd name="connsiteY35" fmla="*/ 748809 h 1660500"/>
                <a:gd name="connsiteX36" fmla="*/ 167161 w 1920955"/>
                <a:gd name="connsiteY36" fmla="*/ 779251 h 1660500"/>
                <a:gd name="connsiteX37" fmla="*/ 236159 w 1920955"/>
                <a:gd name="connsiteY37" fmla="*/ 789463 h 1660500"/>
                <a:gd name="connsiteX38" fmla="*/ 271462 w 1920955"/>
                <a:gd name="connsiteY38" fmla="*/ 845434 h 1660500"/>
                <a:gd name="connsiteX39" fmla="*/ 270869 w 1920955"/>
                <a:gd name="connsiteY39" fmla="*/ 890506 h 1660500"/>
                <a:gd name="connsiteX40" fmla="*/ 295393 w 1920955"/>
                <a:gd name="connsiteY40" fmla="*/ 929981 h 1660500"/>
                <a:gd name="connsiteX41" fmla="*/ 341051 w 1920955"/>
                <a:gd name="connsiteY41" fmla="*/ 968573 h 1660500"/>
                <a:gd name="connsiteX42" fmla="*/ 426184 w 1920955"/>
                <a:gd name="connsiteY42" fmla="*/ 1022825 h 1660500"/>
                <a:gd name="connsiteX43" fmla="*/ 461961 w 1920955"/>
                <a:gd name="connsiteY43" fmla="*/ 1093918 h 1660500"/>
                <a:gd name="connsiteX44" fmla="*/ 441064 w 1920955"/>
                <a:gd name="connsiteY44" fmla="*/ 1163491 h 1660500"/>
                <a:gd name="connsiteX45" fmla="*/ 519111 w 1920955"/>
                <a:gd name="connsiteY45" fmla="*/ 1219954 h 1660500"/>
                <a:gd name="connsiteX46" fmla="*/ 591143 w 1920955"/>
                <a:gd name="connsiteY46" fmla="*/ 1252948 h 1660500"/>
                <a:gd name="connsiteX47" fmla="*/ 571974 w 1920955"/>
                <a:gd name="connsiteY47" fmla="*/ 1312651 h 1660500"/>
                <a:gd name="connsiteX48" fmla="*/ 662461 w 1920955"/>
                <a:gd name="connsiteY48" fmla="*/ 1465051 h 1660500"/>
                <a:gd name="connsiteX49" fmla="*/ 755271 w 1920955"/>
                <a:gd name="connsiteY49" fmla="*/ 1538205 h 1660500"/>
                <a:gd name="connsiteX50" fmla="*/ 805336 w 1920955"/>
                <a:gd name="connsiteY50" fmla="*/ 1488863 h 1660500"/>
                <a:gd name="connsiteX51" fmla="*/ 869926 w 1920955"/>
                <a:gd name="connsiteY51" fmla="*/ 1516260 h 1660500"/>
                <a:gd name="connsiteX52" fmla="*/ 924399 w 1920955"/>
                <a:gd name="connsiteY52" fmla="*/ 1484101 h 1660500"/>
                <a:gd name="connsiteX53" fmla="*/ 941246 w 1920955"/>
                <a:gd name="connsiteY53" fmla="*/ 1441925 h 1660500"/>
                <a:gd name="connsiteX54" fmla="*/ 1005123 w 1920955"/>
                <a:gd name="connsiteY54" fmla="*/ 1528337 h 1660500"/>
                <a:gd name="connsiteX55" fmla="*/ 1050190 w 1920955"/>
                <a:gd name="connsiteY55" fmla="*/ 1599431 h 1660500"/>
                <a:gd name="connsiteX56" fmla="*/ 1100611 w 1920955"/>
                <a:gd name="connsiteY56" fmla="*/ 1660313 h 1660500"/>
                <a:gd name="connsiteX57" fmla="*/ 1133949 w 1920955"/>
                <a:gd name="connsiteY57" fmla="*/ 1579351 h 1660500"/>
                <a:gd name="connsiteX58" fmla="*/ 1176811 w 1920955"/>
                <a:gd name="connsiteY58" fmla="*/ 1598401 h 1660500"/>
                <a:gd name="connsiteX59" fmla="*/ 1210149 w 1920955"/>
                <a:gd name="connsiteY59" fmla="*/ 1617451 h 1660500"/>
                <a:gd name="connsiteX60" fmla="*/ 1233961 w 1920955"/>
                <a:gd name="connsiteY60" fmla="*/ 1579351 h 1660500"/>
                <a:gd name="connsiteX61" fmla="*/ 1267299 w 1920955"/>
                <a:gd name="connsiteY61" fmla="*/ 1655551 h 1660500"/>
                <a:gd name="connsiteX62" fmla="*/ 1348261 w 1920955"/>
                <a:gd name="connsiteY62" fmla="*/ 1626976 h 1660500"/>
                <a:gd name="connsiteX63" fmla="*/ 1414936 w 1920955"/>
                <a:gd name="connsiteY63" fmla="*/ 1555538 h 1660500"/>
                <a:gd name="connsiteX64" fmla="*/ 1433986 w 1920955"/>
                <a:gd name="connsiteY64" fmla="*/ 1607926 h 1660500"/>
                <a:gd name="connsiteX65" fmla="*/ 1410174 w 1920955"/>
                <a:gd name="connsiteY65" fmla="*/ 1612688 h 1660500"/>
                <a:gd name="connsiteX66" fmla="*/ 1543524 w 1920955"/>
                <a:gd name="connsiteY66" fmla="*/ 1579351 h 1660500"/>
                <a:gd name="connsiteX67" fmla="*/ 1581624 w 1920955"/>
                <a:gd name="connsiteY67" fmla="*/ 1507913 h 1660500"/>
                <a:gd name="connsiteX68" fmla="*/ 1643536 w 1920955"/>
                <a:gd name="connsiteY68" fmla="*/ 1412663 h 1660500"/>
                <a:gd name="connsiteX69" fmla="*/ 1714974 w 1920955"/>
                <a:gd name="connsiteY69" fmla="*/ 1384088 h 1660500"/>
                <a:gd name="connsiteX70" fmla="*/ 1772124 w 1920955"/>
                <a:gd name="connsiteY70" fmla="*/ 1379326 h 1660500"/>
                <a:gd name="connsiteX71" fmla="*/ 1772124 w 1920955"/>
                <a:gd name="connsiteY71" fmla="*/ 1450763 h 1660500"/>
                <a:gd name="connsiteX72" fmla="*/ 1886424 w 1920955"/>
                <a:gd name="connsiteY72" fmla="*/ 1446001 h 1660500"/>
                <a:gd name="connsiteX73" fmla="*/ 1919761 w 1920955"/>
                <a:gd name="connsiteY73" fmla="*/ 1441238 h 1660500"/>
                <a:gd name="connsiteX74" fmla="*/ 1853086 w 1920955"/>
                <a:gd name="connsiteY74" fmla="*/ 1398376 h 1660500"/>
                <a:gd name="connsiteX75" fmla="*/ 1853086 w 1920955"/>
                <a:gd name="connsiteY75" fmla="*/ 1303126 h 1660500"/>
                <a:gd name="connsiteX76" fmla="*/ 1853086 w 1920955"/>
                <a:gd name="connsiteY76" fmla="*/ 1245976 h 1660500"/>
                <a:gd name="connsiteX77" fmla="*/ 1810224 w 1920955"/>
                <a:gd name="connsiteY77" fmla="*/ 1236451 h 1660500"/>
                <a:gd name="connsiteX78" fmla="*/ 1734024 w 1920955"/>
                <a:gd name="connsiteY78" fmla="*/ 1155488 h 1660500"/>
                <a:gd name="connsiteX79" fmla="*/ 1695924 w 1920955"/>
                <a:gd name="connsiteY79" fmla="*/ 974513 h 1660500"/>
                <a:gd name="connsiteX80" fmla="*/ 1643536 w 1920955"/>
                <a:gd name="connsiteY80" fmla="*/ 941176 h 1660500"/>
                <a:gd name="connsiteX81" fmla="*/ 1605436 w 1920955"/>
                <a:gd name="connsiteY81" fmla="*/ 884026 h 1660500"/>
                <a:gd name="connsiteX82" fmla="*/ 1557811 w 1920955"/>
                <a:gd name="connsiteY82" fmla="*/ 836401 h 1660500"/>
                <a:gd name="connsiteX83" fmla="*/ 1505424 w 1920955"/>
                <a:gd name="connsiteY83" fmla="*/ 817351 h 1660500"/>
                <a:gd name="connsiteX84" fmla="*/ 1453036 w 1920955"/>
                <a:gd name="connsiteY84" fmla="*/ 812588 h 1660500"/>
                <a:gd name="connsiteX85" fmla="*/ 1510186 w 1920955"/>
                <a:gd name="connsiteY85" fmla="*/ 779251 h 1660500"/>
                <a:gd name="connsiteX86" fmla="*/ 1476849 w 1920955"/>
                <a:gd name="connsiteY86" fmla="*/ 745913 h 1660500"/>
                <a:gd name="connsiteX87" fmla="*/ 1481611 w 1920955"/>
                <a:gd name="connsiteY87" fmla="*/ 722101 h 1660500"/>
                <a:gd name="connsiteX88" fmla="*/ 1572099 w 1920955"/>
                <a:gd name="connsiteY88" fmla="*/ 760201 h 1660500"/>
                <a:gd name="connsiteX89" fmla="*/ 1624486 w 1920955"/>
                <a:gd name="connsiteY89" fmla="*/ 693526 h 1660500"/>
                <a:gd name="connsiteX90" fmla="*/ 1614961 w 1920955"/>
                <a:gd name="connsiteY90" fmla="*/ 550651 h 1660500"/>
                <a:gd name="connsiteX91" fmla="*/ 1610199 w 1920955"/>
                <a:gd name="connsiteY91" fmla="*/ 412538 h 1660500"/>
                <a:gd name="connsiteX0" fmla="*/ 1610199 w 1920955"/>
                <a:gd name="connsiteY0" fmla="*/ 412538 h 1657354"/>
                <a:gd name="connsiteX1" fmla="*/ 1567336 w 1920955"/>
                <a:gd name="connsiteY1" fmla="*/ 369676 h 1657354"/>
                <a:gd name="connsiteX2" fmla="*/ 1467324 w 1920955"/>
                <a:gd name="connsiteY2" fmla="*/ 345863 h 1657354"/>
                <a:gd name="connsiteX3" fmla="*/ 1419699 w 1920955"/>
                <a:gd name="connsiteY3" fmla="*/ 317288 h 1657354"/>
                <a:gd name="connsiteX4" fmla="*/ 1367311 w 1920955"/>
                <a:gd name="connsiteY4" fmla="*/ 160126 h 1657354"/>
                <a:gd name="connsiteX5" fmla="*/ 1338736 w 1920955"/>
                <a:gd name="connsiteY5" fmla="*/ 12488 h 1657354"/>
                <a:gd name="connsiteX6" fmla="*/ 1267299 w 1920955"/>
                <a:gd name="connsiteY6" fmla="*/ 12488 h 1657354"/>
                <a:gd name="connsiteX7" fmla="*/ 1214911 w 1920955"/>
                <a:gd name="connsiteY7" fmla="*/ 50588 h 1657354"/>
                <a:gd name="connsiteX8" fmla="*/ 1214911 w 1920955"/>
                <a:gd name="connsiteY8" fmla="*/ 155363 h 1657354"/>
                <a:gd name="connsiteX9" fmla="*/ 1186336 w 1920955"/>
                <a:gd name="connsiteY9" fmla="*/ 183938 h 1657354"/>
                <a:gd name="connsiteX10" fmla="*/ 1176811 w 1920955"/>
                <a:gd name="connsiteY10" fmla="*/ 255376 h 1657354"/>
                <a:gd name="connsiteX11" fmla="*/ 1114899 w 1920955"/>
                <a:gd name="connsiteY11" fmla="*/ 298238 h 1657354"/>
                <a:gd name="connsiteX12" fmla="*/ 1005361 w 1920955"/>
                <a:gd name="connsiteY12" fmla="*/ 312526 h 1657354"/>
                <a:gd name="connsiteX13" fmla="*/ 962499 w 1920955"/>
                <a:gd name="connsiteY13" fmla="*/ 355388 h 1657354"/>
                <a:gd name="connsiteX14" fmla="*/ 838674 w 1920955"/>
                <a:gd name="connsiteY14" fmla="*/ 355388 h 1657354"/>
                <a:gd name="connsiteX15" fmla="*/ 781524 w 1920955"/>
                <a:gd name="connsiteY15" fmla="*/ 426826 h 1657354"/>
                <a:gd name="connsiteX16" fmla="*/ 781524 w 1920955"/>
                <a:gd name="connsiteY16" fmla="*/ 460163 h 1657354"/>
                <a:gd name="connsiteX17" fmla="*/ 743424 w 1920955"/>
                <a:gd name="connsiteY17" fmla="*/ 483976 h 1657354"/>
                <a:gd name="connsiteX18" fmla="*/ 671986 w 1920955"/>
                <a:gd name="connsiteY18" fmla="*/ 417301 h 1657354"/>
                <a:gd name="connsiteX19" fmla="*/ 519586 w 1920955"/>
                <a:gd name="connsiteY19" fmla="*/ 412538 h 1657354"/>
                <a:gd name="connsiteX20" fmla="*/ 457674 w 1920955"/>
                <a:gd name="connsiteY20" fmla="*/ 431588 h 1657354"/>
                <a:gd name="connsiteX21" fmla="*/ 419574 w 1920955"/>
                <a:gd name="connsiteY21" fmla="*/ 417301 h 1657354"/>
                <a:gd name="connsiteX22" fmla="*/ 400524 w 1920955"/>
                <a:gd name="connsiteY22" fmla="*/ 355388 h 1657354"/>
                <a:gd name="connsiteX23" fmla="*/ 333849 w 1920955"/>
                <a:gd name="connsiteY23" fmla="*/ 303001 h 1657354"/>
                <a:gd name="connsiteX24" fmla="*/ 286224 w 1920955"/>
                <a:gd name="connsiteY24" fmla="*/ 236326 h 1657354"/>
                <a:gd name="connsiteX25" fmla="*/ 143349 w 1920955"/>
                <a:gd name="connsiteY25" fmla="*/ 255376 h 1657354"/>
                <a:gd name="connsiteX26" fmla="*/ 124299 w 1920955"/>
                <a:gd name="connsiteY26" fmla="*/ 331576 h 1657354"/>
                <a:gd name="connsiteX27" fmla="*/ 110011 w 1920955"/>
                <a:gd name="connsiteY27" fmla="*/ 364913 h 1657354"/>
                <a:gd name="connsiteX28" fmla="*/ 133824 w 1920955"/>
                <a:gd name="connsiteY28" fmla="*/ 412538 h 1657354"/>
                <a:gd name="connsiteX29" fmla="*/ 81436 w 1920955"/>
                <a:gd name="connsiteY29" fmla="*/ 450638 h 1657354"/>
                <a:gd name="connsiteX30" fmla="*/ 33811 w 1920955"/>
                <a:gd name="connsiteY30" fmla="*/ 445876 h 1657354"/>
                <a:gd name="connsiteX31" fmla="*/ 33811 w 1920955"/>
                <a:gd name="connsiteY31" fmla="*/ 517313 h 1657354"/>
                <a:gd name="connsiteX32" fmla="*/ 474 w 1920955"/>
                <a:gd name="connsiteY32" fmla="*/ 622088 h 1657354"/>
                <a:gd name="connsiteX33" fmla="*/ 62386 w 1920955"/>
                <a:gd name="connsiteY33" fmla="*/ 698288 h 1657354"/>
                <a:gd name="connsiteX34" fmla="*/ 111977 w 1920955"/>
                <a:gd name="connsiteY34" fmla="*/ 678550 h 1657354"/>
                <a:gd name="connsiteX35" fmla="*/ 112334 w 1920955"/>
                <a:gd name="connsiteY35" fmla="*/ 748809 h 1657354"/>
                <a:gd name="connsiteX36" fmla="*/ 167161 w 1920955"/>
                <a:gd name="connsiteY36" fmla="*/ 779251 h 1657354"/>
                <a:gd name="connsiteX37" fmla="*/ 236159 w 1920955"/>
                <a:gd name="connsiteY37" fmla="*/ 789463 h 1657354"/>
                <a:gd name="connsiteX38" fmla="*/ 271462 w 1920955"/>
                <a:gd name="connsiteY38" fmla="*/ 845434 h 1657354"/>
                <a:gd name="connsiteX39" fmla="*/ 270869 w 1920955"/>
                <a:gd name="connsiteY39" fmla="*/ 890506 h 1657354"/>
                <a:gd name="connsiteX40" fmla="*/ 295393 w 1920955"/>
                <a:gd name="connsiteY40" fmla="*/ 929981 h 1657354"/>
                <a:gd name="connsiteX41" fmla="*/ 341051 w 1920955"/>
                <a:gd name="connsiteY41" fmla="*/ 968573 h 1657354"/>
                <a:gd name="connsiteX42" fmla="*/ 426184 w 1920955"/>
                <a:gd name="connsiteY42" fmla="*/ 1022825 h 1657354"/>
                <a:gd name="connsiteX43" fmla="*/ 461961 w 1920955"/>
                <a:gd name="connsiteY43" fmla="*/ 1093918 h 1657354"/>
                <a:gd name="connsiteX44" fmla="*/ 441064 w 1920955"/>
                <a:gd name="connsiteY44" fmla="*/ 1163491 h 1657354"/>
                <a:gd name="connsiteX45" fmla="*/ 519111 w 1920955"/>
                <a:gd name="connsiteY45" fmla="*/ 1219954 h 1657354"/>
                <a:gd name="connsiteX46" fmla="*/ 591143 w 1920955"/>
                <a:gd name="connsiteY46" fmla="*/ 1252948 h 1657354"/>
                <a:gd name="connsiteX47" fmla="*/ 571974 w 1920955"/>
                <a:gd name="connsiteY47" fmla="*/ 1312651 h 1657354"/>
                <a:gd name="connsiteX48" fmla="*/ 662461 w 1920955"/>
                <a:gd name="connsiteY48" fmla="*/ 1465051 h 1657354"/>
                <a:gd name="connsiteX49" fmla="*/ 755271 w 1920955"/>
                <a:gd name="connsiteY49" fmla="*/ 1538205 h 1657354"/>
                <a:gd name="connsiteX50" fmla="*/ 805336 w 1920955"/>
                <a:gd name="connsiteY50" fmla="*/ 1488863 h 1657354"/>
                <a:gd name="connsiteX51" fmla="*/ 869926 w 1920955"/>
                <a:gd name="connsiteY51" fmla="*/ 1516260 h 1657354"/>
                <a:gd name="connsiteX52" fmla="*/ 924399 w 1920955"/>
                <a:gd name="connsiteY52" fmla="*/ 1484101 h 1657354"/>
                <a:gd name="connsiteX53" fmla="*/ 941246 w 1920955"/>
                <a:gd name="connsiteY53" fmla="*/ 1441925 h 1657354"/>
                <a:gd name="connsiteX54" fmla="*/ 1005123 w 1920955"/>
                <a:gd name="connsiteY54" fmla="*/ 1528337 h 1657354"/>
                <a:gd name="connsiteX55" fmla="*/ 1050190 w 1920955"/>
                <a:gd name="connsiteY55" fmla="*/ 1599431 h 1657354"/>
                <a:gd name="connsiteX56" fmla="*/ 1103052 w 1920955"/>
                <a:gd name="connsiteY56" fmla="*/ 1611805 h 1657354"/>
                <a:gd name="connsiteX57" fmla="*/ 1133949 w 1920955"/>
                <a:gd name="connsiteY57" fmla="*/ 1579351 h 1657354"/>
                <a:gd name="connsiteX58" fmla="*/ 1176811 w 1920955"/>
                <a:gd name="connsiteY58" fmla="*/ 1598401 h 1657354"/>
                <a:gd name="connsiteX59" fmla="*/ 1210149 w 1920955"/>
                <a:gd name="connsiteY59" fmla="*/ 1617451 h 1657354"/>
                <a:gd name="connsiteX60" fmla="*/ 1233961 w 1920955"/>
                <a:gd name="connsiteY60" fmla="*/ 1579351 h 1657354"/>
                <a:gd name="connsiteX61" fmla="*/ 1267299 w 1920955"/>
                <a:gd name="connsiteY61" fmla="*/ 1655551 h 1657354"/>
                <a:gd name="connsiteX62" fmla="*/ 1348261 w 1920955"/>
                <a:gd name="connsiteY62" fmla="*/ 1626976 h 1657354"/>
                <a:gd name="connsiteX63" fmla="*/ 1414936 w 1920955"/>
                <a:gd name="connsiteY63" fmla="*/ 1555538 h 1657354"/>
                <a:gd name="connsiteX64" fmla="*/ 1433986 w 1920955"/>
                <a:gd name="connsiteY64" fmla="*/ 1607926 h 1657354"/>
                <a:gd name="connsiteX65" fmla="*/ 1410174 w 1920955"/>
                <a:gd name="connsiteY65" fmla="*/ 1612688 h 1657354"/>
                <a:gd name="connsiteX66" fmla="*/ 1543524 w 1920955"/>
                <a:gd name="connsiteY66" fmla="*/ 1579351 h 1657354"/>
                <a:gd name="connsiteX67" fmla="*/ 1581624 w 1920955"/>
                <a:gd name="connsiteY67" fmla="*/ 1507913 h 1657354"/>
                <a:gd name="connsiteX68" fmla="*/ 1643536 w 1920955"/>
                <a:gd name="connsiteY68" fmla="*/ 1412663 h 1657354"/>
                <a:gd name="connsiteX69" fmla="*/ 1714974 w 1920955"/>
                <a:gd name="connsiteY69" fmla="*/ 1384088 h 1657354"/>
                <a:gd name="connsiteX70" fmla="*/ 1772124 w 1920955"/>
                <a:gd name="connsiteY70" fmla="*/ 1379326 h 1657354"/>
                <a:gd name="connsiteX71" fmla="*/ 1772124 w 1920955"/>
                <a:gd name="connsiteY71" fmla="*/ 1450763 h 1657354"/>
                <a:gd name="connsiteX72" fmla="*/ 1886424 w 1920955"/>
                <a:gd name="connsiteY72" fmla="*/ 1446001 h 1657354"/>
                <a:gd name="connsiteX73" fmla="*/ 1919761 w 1920955"/>
                <a:gd name="connsiteY73" fmla="*/ 1441238 h 1657354"/>
                <a:gd name="connsiteX74" fmla="*/ 1853086 w 1920955"/>
                <a:gd name="connsiteY74" fmla="*/ 1398376 h 1657354"/>
                <a:gd name="connsiteX75" fmla="*/ 1853086 w 1920955"/>
                <a:gd name="connsiteY75" fmla="*/ 1303126 h 1657354"/>
                <a:gd name="connsiteX76" fmla="*/ 1853086 w 1920955"/>
                <a:gd name="connsiteY76" fmla="*/ 1245976 h 1657354"/>
                <a:gd name="connsiteX77" fmla="*/ 1810224 w 1920955"/>
                <a:gd name="connsiteY77" fmla="*/ 1236451 h 1657354"/>
                <a:gd name="connsiteX78" fmla="*/ 1734024 w 1920955"/>
                <a:gd name="connsiteY78" fmla="*/ 1155488 h 1657354"/>
                <a:gd name="connsiteX79" fmla="*/ 1695924 w 1920955"/>
                <a:gd name="connsiteY79" fmla="*/ 974513 h 1657354"/>
                <a:gd name="connsiteX80" fmla="*/ 1643536 w 1920955"/>
                <a:gd name="connsiteY80" fmla="*/ 941176 h 1657354"/>
                <a:gd name="connsiteX81" fmla="*/ 1605436 w 1920955"/>
                <a:gd name="connsiteY81" fmla="*/ 884026 h 1657354"/>
                <a:gd name="connsiteX82" fmla="*/ 1557811 w 1920955"/>
                <a:gd name="connsiteY82" fmla="*/ 836401 h 1657354"/>
                <a:gd name="connsiteX83" fmla="*/ 1505424 w 1920955"/>
                <a:gd name="connsiteY83" fmla="*/ 817351 h 1657354"/>
                <a:gd name="connsiteX84" fmla="*/ 1453036 w 1920955"/>
                <a:gd name="connsiteY84" fmla="*/ 812588 h 1657354"/>
                <a:gd name="connsiteX85" fmla="*/ 1510186 w 1920955"/>
                <a:gd name="connsiteY85" fmla="*/ 779251 h 1657354"/>
                <a:gd name="connsiteX86" fmla="*/ 1476849 w 1920955"/>
                <a:gd name="connsiteY86" fmla="*/ 745913 h 1657354"/>
                <a:gd name="connsiteX87" fmla="*/ 1481611 w 1920955"/>
                <a:gd name="connsiteY87" fmla="*/ 722101 h 1657354"/>
                <a:gd name="connsiteX88" fmla="*/ 1572099 w 1920955"/>
                <a:gd name="connsiteY88" fmla="*/ 760201 h 1657354"/>
                <a:gd name="connsiteX89" fmla="*/ 1624486 w 1920955"/>
                <a:gd name="connsiteY89" fmla="*/ 693526 h 1657354"/>
                <a:gd name="connsiteX90" fmla="*/ 1614961 w 1920955"/>
                <a:gd name="connsiteY90" fmla="*/ 550651 h 1657354"/>
                <a:gd name="connsiteX91" fmla="*/ 1610199 w 1920955"/>
                <a:gd name="connsiteY91" fmla="*/ 412538 h 1657354"/>
                <a:gd name="connsiteX0" fmla="*/ 1610199 w 1920955"/>
                <a:gd name="connsiteY0" fmla="*/ 412538 h 1696167"/>
                <a:gd name="connsiteX1" fmla="*/ 1567336 w 1920955"/>
                <a:gd name="connsiteY1" fmla="*/ 369676 h 1696167"/>
                <a:gd name="connsiteX2" fmla="*/ 1467324 w 1920955"/>
                <a:gd name="connsiteY2" fmla="*/ 345863 h 1696167"/>
                <a:gd name="connsiteX3" fmla="*/ 1419699 w 1920955"/>
                <a:gd name="connsiteY3" fmla="*/ 317288 h 1696167"/>
                <a:gd name="connsiteX4" fmla="*/ 1367311 w 1920955"/>
                <a:gd name="connsiteY4" fmla="*/ 160126 h 1696167"/>
                <a:gd name="connsiteX5" fmla="*/ 1338736 w 1920955"/>
                <a:gd name="connsiteY5" fmla="*/ 12488 h 1696167"/>
                <a:gd name="connsiteX6" fmla="*/ 1267299 w 1920955"/>
                <a:gd name="connsiteY6" fmla="*/ 12488 h 1696167"/>
                <a:gd name="connsiteX7" fmla="*/ 1214911 w 1920955"/>
                <a:gd name="connsiteY7" fmla="*/ 50588 h 1696167"/>
                <a:gd name="connsiteX8" fmla="*/ 1214911 w 1920955"/>
                <a:gd name="connsiteY8" fmla="*/ 155363 h 1696167"/>
                <a:gd name="connsiteX9" fmla="*/ 1186336 w 1920955"/>
                <a:gd name="connsiteY9" fmla="*/ 183938 h 1696167"/>
                <a:gd name="connsiteX10" fmla="*/ 1176811 w 1920955"/>
                <a:gd name="connsiteY10" fmla="*/ 255376 h 1696167"/>
                <a:gd name="connsiteX11" fmla="*/ 1114899 w 1920955"/>
                <a:gd name="connsiteY11" fmla="*/ 298238 h 1696167"/>
                <a:gd name="connsiteX12" fmla="*/ 1005361 w 1920955"/>
                <a:gd name="connsiteY12" fmla="*/ 312526 h 1696167"/>
                <a:gd name="connsiteX13" fmla="*/ 962499 w 1920955"/>
                <a:gd name="connsiteY13" fmla="*/ 355388 h 1696167"/>
                <a:gd name="connsiteX14" fmla="*/ 838674 w 1920955"/>
                <a:gd name="connsiteY14" fmla="*/ 355388 h 1696167"/>
                <a:gd name="connsiteX15" fmla="*/ 781524 w 1920955"/>
                <a:gd name="connsiteY15" fmla="*/ 426826 h 1696167"/>
                <a:gd name="connsiteX16" fmla="*/ 781524 w 1920955"/>
                <a:gd name="connsiteY16" fmla="*/ 460163 h 1696167"/>
                <a:gd name="connsiteX17" fmla="*/ 743424 w 1920955"/>
                <a:gd name="connsiteY17" fmla="*/ 483976 h 1696167"/>
                <a:gd name="connsiteX18" fmla="*/ 671986 w 1920955"/>
                <a:gd name="connsiteY18" fmla="*/ 417301 h 1696167"/>
                <a:gd name="connsiteX19" fmla="*/ 519586 w 1920955"/>
                <a:gd name="connsiteY19" fmla="*/ 412538 h 1696167"/>
                <a:gd name="connsiteX20" fmla="*/ 457674 w 1920955"/>
                <a:gd name="connsiteY20" fmla="*/ 431588 h 1696167"/>
                <a:gd name="connsiteX21" fmla="*/ 419574 w 1920955"/>
                <a:gd name="connsiteY21" fmla="*/ 417301 h 1696167"/>
                <a:gd name="connsiteX22" fmla="*/ 400524 w 1920955"/>
                <a:gd name="connsiteY22" fmla="*/ 355388 h 1696167"/>
                <a:gd name="connsiteX23" fmla="*/ 333849 w 1920955"/>
                <a:gd name="connsiteY23" fmla="*/ 303001 h 1696167"/>
                <a:gd name="connsiteX24" fmla="*/ 286224 w 1920955"/>
                <a:gd name="connsiteY24" fmla="*/ 236326 h 1696167"/>
                <a:gd name="connsiteX25" fmla="*/ 143349 w 1920955"/>
                <a:gd name="connsiteY25" fmla="*/ 255376 h 1696167"/>
                <a:gd name="connsiteX26" fmla="*/ 124299 w 1920955"/>
                <a:gd name="connsiteY26" fmla="*/ 331576 h 1696167"/>
                <a:gd name="connsiteX27" fmla="*/ 110011 w 1920955"/>
                <a:gd name="connsiteY27" fmla="*/ 364913 h 1696167"/>
                <a:gd name="connsiteX28" fmla="*/ 133824 w 1920955"/>
                <a:gd name="connsiteY28" fmla="*/ 412538 h 1696167"/>
                <a:gd name="connsiteX29" fmla="*/ 81436 w 1920955"/>
                <a:gd name="connsiteY29" fmla="*/ 450638 h 1696167"/>
                <a:gd name="connsiteX30" fmla="*/ 33811 w 1920955"/>
                <a:gd name="connsiteY30" fmla="*/ 445876 h 1696167"/>
                <a:gd name="connsiteX31" fmla="*/ 33811 w 1920955"/>
                <a:gd name="connsiteY31" fmla="*/ 517313 h 1696167"/>
                <a:gd name="connsiteX32" fmla="*/ 474 w 1920955"/>
                <a:gd name="connsiteY32" fmla="*/ 622088 h 1696167"/>
                <a:gd name="connsiteX33" fmla="*/ 62386 w 1920955"/>
                <a:gd name="connsiteY33" fmla="*/ 698288 h 1696167"/>
                <a:gd name="connsiteX34" fmla="*/ 111977 w 1920955"/>
                <a:gd name="connsiteY34" fmla="*/ 678550 h 1696167"/>
                <a:gd name="connsiteX35" fmla="*/ 112334 w 1920955"/>
                <a:gd name="connsiteY35" fmla="*/ 748809 h 1696167"/>
                <a:gd name="connsiteX36" fmla="*/ 167161 w 1920955"/>
                <a:gd name="connsiteY36" fmla="*/ 779251 h 1696167"/>
                <a:gd name="connsiteX37" fmla="*/ 236159 w 1920955"/>
                <a:gd name="connsiteY37" fmla="*/ 789463 h 1696167"/>
                <a:gd name="connsiteX38" fmla="*/ 271462 w 1920955"/>
                <a:gd name="connsiteY38" fmla="*/ 845434 h 1696167"/>
                <a:gd name="connsiteX39" fmla="*/ 270869 w 1920955"/>
                <a:gd name="connsiteY39" fmla="*/ 890506 h 1696167"/>
                <a:gd name="connsiteX40" fmla="*/ 295393 w 1920955"/>
                <a:gd name="connsiteY40" fmla="*/ 929981 h 1696167"/>
                <a:gd name="connsiteX41" fmla="*/ 341051 w 1920955"/>
                <a:gd name="connsiteY41" fmla="*/ 968573 h 1696167"/>
                <a:gd name="connsiteX42" fmla="*/ 426184 w 1920955"/>
                <a:gd name="connsiteY42" fmla="*/ 1022825 h 1696167"/>
                <a:gd name="connsiteX43" fmla="*/ 461961 w 1920955"/>
                <a:gd name="connsiteY43" fmla="*/ 1093918 h 1696167"/>
                <a:gd name="connsiteX44" fmla="*/ 441064 w 1920955"/>
                <a:gd name="connsiteY44" fmla="*/ 1163491 h 1696167"/>
                <a:gd name="connsiteX45" fmla="*/ 519111 w 1920955"/>
                <a:gd name="connsiteY45" fmla="*/ 1219954 h 1696167"/>
                <a:gd name="connsiteX46" fmla="*/ 591143 w 1920955"/>
                <a:gd name="connsiteY46" fmla="*/ 1252948 h 1696167"/>
                <a:gd name="connsiteX47" fmla="*/ 571974 w 1920955"/>
                <a:gd name="connsiteY47" fmla="*/ 1312651 h 1696167"/>
                <a:gd name="connsiteX48" fmla="*/ 662461 w 1920955"/>
                <a:gd name="connsiteY48" fmla="*/ 1465051 h 1696167"/>
                <a:gd name="connsiteX49" fmla="*/ 755271 w 1920955"/>
                <a:gd name="connsiteY49" fmla="*/ 1538205 h 1696167"/>
                <a:gd name="connsiteX50" fmla="*/ 805336 w 1920955"/>
                <a:gd name="connsiteY50" fmla="*/ 1488863 h 1696167"/>
                <a:gd name="connsiteX51" fmla="*/ 869926 w 1920955"/>
                <a:gd name="connsiteY51" fmla="*/ 1516260 h 1696167"/>
                <a:gd name="connsiteX52" fmla="*/ 924399 w 1920955"/>
                <a:gd name="connsiteY52" fmla="*/ 1484101 h 1696167"/>
                <a:gd name="connsiteX53" fmla="*/ 941246 w 1920955"/>
                <a:gd name="connsiteY53" fmla="*/ 1441925 h 1696167"/>
                <a:gd name="connsiteX54" fmla="*/ 1005123 w 1920955"/>
                <a:gd name="connsiteY54" fmla="*/ 1528337 h 1696167"/>
                <a:gd name="connsiteX55" fmla="*/ 1050190 w 1920955"/>
                <a:gd name="connsiteY55" fmla="*/ 1599431 h 1696167"/>
                <a:gd name="connsiteX56" fmla="*/ 1132339 w 1920955"/>
                <a:gd name="connsiteY56" fmla="*/ 1696055 h 1696167"/>
                <a:gd name="connsiteX57" fmla="*/ 1133949 w 1920955"/>
                <a:gd name="connsiteY57" fmla="*/ 1579351 h 1696167"/>
                <a:gd name="connsiteX58" fmla="*/ 1176811 w 1920955"/>
                <a:gd name="connsiteY58" fmla="*/ 1598401 h 1696167"/>
                <a:gd name="connsiteX59" fmla="*/ 1210149 w 1920955"/>
                <a:gd name="connsiteY59" fmla="*/ 1617451 h 1696167"/>
                <a:gd name="connsiteX60" fmla="*/ 1233961 w 1920955"/>
                <a:gd name="connsiteY60" fmla="*/ 1579351 h 1696167"/>
                <a:gd name="connsiteX61" fmla="*/ 1267299 w 1920955"/>
                <a:gd name="connsiteY61" fmla="*/ 1655551 h 1696167"/>
                <a:gd name="connsiteX62" fmla="*/ 1348261 w 1920955"/>
                <a:gd name="connsiteY62" fmla="*/ 1626976 h 1696167"/>
                <a:gd name="connsiteX63" fmla="*/ 1414936 w 1920955"/>
                <a:gd name="connsiteY63" fmla="*/ 1555538 h 1696167"/>
                <a:gd name="connsiteX64" fmla="*/ 1433986 w 1920955"/>
                <a:gd name="connsiteY64" fmla="*/ 1607926 h 1696167"/>
                <a:gd name="connsiteX65" fmla="*/ 1410174 w 1920955"/>
                <a:gd name="connsiteY65" fmla="*/ 1612688 h 1696167"/>
                <a:gd name="connsiteX66" fmla="*/ 1543524 w 1920955"/>
                <a:gd name="connsiteY66" fmla="*/ 1579351 h 1696167"/>
                <a:gd name="connsiteX67" fmla="*/ 1581624 w 1920955"/>
                <a:gd name="connsiteY67" fmla="*/ 1507913 h 1696167"/>
                <a:gd name="connsiteX68" fmla="*/ 1643536 w 1920955"/>
                <a:gd name="connsiteY68" fmla="*/ 1412663 h 1696167"/>
                <a:gd name="connsiteX69" fmla="*/ 1714974 w 1920955"/>
                <a:gd name="connsiteY69" fmla="*/ 1384088 h 1696167"/>
                <a:gd name="connsiteX70" fmla="*/ 1772124 w 1920955"/>
                <a:gd name="connsiteY70" fmla="*/ 1379326 h 1696167"/>
                <a:gd name="connsiteX71" fmla="*/ 1772124 w 1920955"/>
                <a:gd name="connsiteY71" fmla="*/ 1450763 h 1696167"/>
                <a:gd name="connsiteX72" fmla="*/ 1886424 w 1920955"/>
                <a:gd name="connsiteY72" fmla="*/ 1446001 h 1696167"/>
                <a:gd name="connsiteX73" fmla="*/ 1919761 w 1920955"/>
                <a:gd name="connsiteY73" fmla="*/ 1441238 h 1696167"/>
                <a:gd name="connsiteX74" fmla="*/ 1853086 w 1920955"/>
                <a:gd name="connsiteY74" fmla="*/ 1398376 h 1696167"/>
                <a:gd name="connsiteX75" fmla="*/ 1853086 w 1920955"/>
                <a:gd name="connsiteY75" fmla="*/ 1303126 h 1696167"/>
                <a:gd name="connsiteX76" fmla="*/ 1853086 w 1920955"/>
                <a:gd name="connsiteY76" fmla="*/ 1245976 h 1696167"/>
                <a:gd name="connsiteX77" fmla="*/ 1810224 w 1920955"/>
                <a:gd name="connsiteY77" fmla="*/ 1236451 h 1696167"/>
                <a:gd name="connsiteX78" fmla="*/ 1734024 w 1920955"/>
                <a:gd name="connsiteY78" fmla="*/ 1155488 h 1696167"/>
                <a:gd name="connsiteX79" fmla="*/ 1695924 w 1920955"/>
                <a:gd name="connsiteY79" fmla="*/ 974513 h 1696167"/>
                <a:gd name="connsiteX80" fmla="*/ 1643536 w 1920955"/>
                <a:gd name="connsiteY80" fmla="*/ 941176 h 1696167"/>
                <a:gd name="connsiteX81" fmla="*/ 1605436 w 1920955"/>
                <a:gd name="connsiteY81" fmla="*/ 884026 h 1696167"/>
                <a:gd name="connsiteX82" fmla="*/ 1557811 w 1920955"/>
                <a:gd name="connsiteY82" fmla="*/ 836401 h 1696167"/>
                <a:gd name="connsiteX83" fmla="*/ 1505424 w 1920955"/>
                <a:gd name="connsiteY83" fmla="*/ 817351 h 1696167"/>
                <a:gd name="connsiteX84" fmla="*/ 1453036 w 1920955"/>
                <a:gd name="connsiteY84" fmla="*/ 812588 h 1696167"/>
                <a:gd name="connsiteX85" fmla="*/ 1510186 w 1920955"/>
                <a:gd name="connsiteY85" fmla="*/ 779251 h 1696167"/>
                <a:gd name="connsiteX86" fmla="*/ 1476849 w 1920955"/>
                <a:gd name="connsiteY86" fmla="*/ 745913 h 1696167"/>
                <a:gd name="connsiteX87" fmla="*/ 1481611 w 1920955"/>
                <a:gd name="connsiteY87" fmla="*/ 722101 h 1696167"/>
                <a:gd name="connsiteX88" fmla="*/ 1572099 w 1920955"/>
                <a:gd name="connsiteY88" fmla="*/ 760201 h 1696167"/>
                <a:gd name="connsiteX89" fmla="*/ 1624486 w 1920955"/>
                <a:gd name="connsiteY89" fmla="*/ 693526 h 1696167"/>
                <a:gd name="connsiteX90" fmla="*/ 1614961 w 1920955"/>
                <a:gd name="connsiteY90" fmla="*/ 550651 h 1696167"/>
                <a:gd name="connsiteX91" fmla="*/ 1610199 w 1920955"/>
                <a:gd name="connsiteY91" fmla="*/ 412538 h 1696167"/>
                <a:gd name="connsiteX0" fmla="*/ 1610199 w 1920955"/>
                <a:gd name="connsiteY0" fmla="*/ 412538 h 1696335"/>
                <a:gd name="connsiteX1" fmla="*/ 1567336 w 1920955"/>
                <a:gd name="connsiteY1" fmla="*/ 369676 h 1696335"/>
                <a:gd name="connsiteX2" fmla="*/ 1467324 w 1920955"/>
                <a:gd name="connsiteY2" fmla="*/ 345863 h 1696335"/>
                <a:gd name="connsiteX3" fmla="*/ 1419699 w 1920955"/>
                <a:gd name="connsiteY3" fmla="*/ 317288 h 1696335"/>
                <a:gd name="connsiteX4" fmla="*/ 1367311 w 1920955"/>
                <a:gd name="connsiteY4" fmla="*/ 160126 h 1696335"/>
                <a:gd name="connsiteX5" fmla="*/ 1338736 w 1920955"/>
                <a:gd name="connsiteY5" fmla="*/ 12488 h 1696335"/>
                <a:gd name="connsiteX6" fmla="*/ 1267299 w 1920955"/>
                <a:gd name="connsiteY6" fmla="*/ 12488 h 1696335"/>
                <a:gd name="connsiteX7" fmla="*/ 1214911 w 1920955"/>
                <a:gd name="connsiteY7" fmla="*/ 50588 h 1696335"/>
                <a:gd name="connsiteX8" fmla="*/ 1214911 w 1920955"/>
                <a:gd name="connsiteY8" fmla="*/ 155363 h 1696335"/>
                <a:gd name="connsiteX9" fmla="*/ 1186336 w 1920955"/>
                <a:gd name="connsiteY9" fmla="*/ 183938 h 1696335"/>
                <a:gd name="connsiteX10" fmla="*/ 1176811 w 1920955"/>
                <a:gd name="connsiteY10" fmla="*/ 255376 h 1696335"/>
                <a:gd name="connsiteX11" fmla="*/ 1114899 w 1920955"/>
                <a:gd name="connsiteY11" fmla="*/ 298238 h 1696335"/>
                <a:gd name="connsiteX12" fmla="*/ 1005361 w 1920955"/>
                <a:gd name="connsiteY12" fmla="*/ 312526 h 1696335"/>
                <a:gd name="connsiteX13" fmla="*/ 962499 w 1920955"/>
                <a:gd name="connsiteY13" fmla="*/ 355388 h 1696335"/>
                <a:gd name="connsiteX14" fmla="*/ 838674 w 1920955"/>
                <a:gd name="connsiteY14" fmla="*/ 355388 h 1696335"/>
                <a:gd name="connsiteX15" fmla="*/ 781524 w 1920955"/>
                <a:gd name="connsiteY15" fmla="*/ 426826 h 1696335"/>
                <a:gd name="connsiteX16" fmla="*/ 781524 w 1920955"/>
                <a:gd name="connsiteY16" fmla="*/ 460163 h 1696335"/>
                <a:gd name="connsiteX17" fmla="*/ 743424 w 1920955"/>
                <a:gd name="connsiteY17" fmla="*/ 483976 h 1696335"/>
                <a:gd name="connsiteX18" fmla="*/ 671986 w 1920955"/>
                <a:gd name="connsiteY18" fmla="*/ 417301 h 1696335"/>
                <a:gd name="connsiteX19" fmla="*/ 519586 w 1920955"/>
                <a:gd name="connsiteY19" fmla="*/ 412538 h 1696335"/>
                <a:gd name="connsiteX20" fmla="*/ 457674 w 1920955"/>
                <a:gd name="connsiteY20" fmla="*/ 431588 h 1696335"/>
                <a:gd name="connsiteX21" fmla="*/ 419574 w 1920955"/>
                <a:gd name="connsiteY21" fmla="*/ 417301 h 1696335"/>
                <a:gd name="connsiteX22" fmla="*/ 400524 w 1920955"/>
                <a:gd name="connsiteY22" fmla="*/ 355388 h 1696335"/>
                <a:gd name="connsiteX23" fmla="*/ 333849 w 1920955"/>
                <a:gd name="connsiteY23" fmla="*/ 303001 h 1696335"/>
                <a:gd name="connsiteX24" fmla="*/ 286224 w 1920955"/>
                <a:gd name="connsiteY24" fmla="*/ 236326 h 1696335"/>
                <a:gd name="connsiteX25" fmla="*/ 143349 w 1920955"/>
                <a:gd name="connsiteY25" fmla="*/ 255376 h 1696335"/>
                <a:gd name="connsiteX26" fmla="*/ 124299 w 1920955"/>
                <a:gd name="connsiteY26" fmla="*/ 331576 h 1696335"/>
                <a:gd name="connsiteX27" fmla="*/ 110011 w 1920955"/>
                <a:gd name="connsiteY27" fmla="*/ 364913 h 1696335"/>
                <a:gd name="connsiteX28" fmla="*/ 133824 w 1920955"/>
                <a:gd name="connsiteY28" fmla="*/ 412538 h 1696335"/>
                <a:gd name="connsiteX29" fmla="*/ 81436 w 1920955"/>
                <a:gd name="connsiteY29" fmla="*/ 450638 h 1696335"/>
                <a:gd name="connsiteX30" fmla="*/ 33811 w 1920955"/>
                <a:gd name="connsiteY30" fmla="*/ 445876 h 1696335"/>
                <a:gd name="connsiteX31" fmla="*/ 33811 w 1920955"/>
                <a:gd name="connsiteY31" fmla="*/ 517313 h 1696335"/>
                <a:gd name="connsiteX32" fmla="*/ 474 w 1920955"/>
                <a:gd name="connsiteY32" fmla="*/ 622088 h 1696335"/>
                <a:gd name="connsiteX33" fmla="*/ 62386 w 1920955"/>
                <a:gd name="connsiteY33" fmla="*/ 698288 h 1696335"/>
                <a:gd name="connsiteX34" fmla="*/ 111977 w 1920955"/>
                <a:gd name="connsiteY34" fmla="*/ 678550 h 1696335"/>
                <a:gd name="connsiteX35" fmla="*/ 112334 w 1920955"/>
                <a:gd name="connsiteY35" fmla="*/ 748809 h 1696335"/>
                <a:gd name="connsiteX36" fmla="*/ 167161 w 1920955"/>
                <a:gd name="connsiteY36" fmla="*/ 779251 h 1696335"/>
                <a:gd name="connsiteX37" fmla="*/ 236159 w 1920955"/>
                <a:gd name="connsiteY37" fmla="*/ 789463 h 1696335"/>
                <a:gd name="connsiteX38" fmla="*/ 271462 w 1920955"/>
                <a:gd name="connsiteY38" fmla="*/ 845434 h 1696335"/>
                <a:gd name="connsiteX39" fmla="*/ 270869 w 1920955"/>
                <a:gd name="connsiteY39" fmla="*/ 890506 h 1696335"/>
                <a:gd name="connsiteX40" fmla="*/ 295393 w 1920955"/>
                <a:gd name="connsiteY40" fmla="*/ 929981 h 1696335"/>
                <a:gd name="connsiteX41" fmla="*/ 341051 w 1920955"/>
                <a:gd name="connsiteY41" fmla="*/ 968573 h 1696335"/>
                <a:gd name="connsiteX42" fmla="*/ 426184 w 1920955"/>
                <a:gd name="connsiteY42" fmla="*/ 1022825 h 1696335"/>
                <a:gd name="connsiteX43" fmla="*/ 461961 w 1920955"/>
                <a:gd name="connsiteY43" fmla="*/ 1093918 h 1696335"/>
                <a:gd name="connsiteX44" fmla="*/ 441064 w 1920955"/>
                <a:gd name="connsiteY44" fmla="*/ 1163491 h 1696335"/>
                <a:gd name="connsiteX45" fmla="*/ 519111 w 1920955"/>
                <a:gd name="connsiteY45" fmla="*/ 1219954 h 1696335"/>
                <a:gd name="connsiteX46" fmla="*/ 591143 w 1920955"/>
                <a:gd name="connsiteY46" fmla="*/ 1252948 h 1696335"/>
                <a:gd name="connsiteX47" fmla="*/ 571974 w 1920955"/>
                <a:gd name="connsiteY47" fmla="*/ 1312651 h 1696335"/>
                <a:gd name="connsiteX48" fmla="*/ 662461 w 1920955"/>
                <a:gd name="connsiteY48" fmla="*/ 1465051 h 1696335"/>
                <a:gd name="connsiteX49" fmla="*/ 755271 w 1920955"/>
                <a:gd name="connsiteY49" fmla="*/ 1538205 h 1696335"/>
                <a:gd name="connsiteX50" fmla="*/ 805336 w 1920955"/>
                <a:gd name="connsiteY50" fmla="*/ 1488863 h 1696335"/>
                <a:gd name="connsiteX51" fmla="*/ 869926 w 1920955"/>
                <a:gd name="connsiteY51" fmla="*/ 1516260 h 1696335"/>
                <a:gd name="connsiteX52" fmla="*/ 924399 w 1920955"/>
                <a:gd name="connsiteY52" fmla="*/ 1484101 h 1696335"/>
                <a:gd name="connsiteX53" fmla="*/ 941246 w 1920955"/>
                <a:gd name="connsiteY53" fmla="*/ 1441925 h 1696335"/>
                <a:gd name="connsiteX54" fmla="*/ 1005123 w 1920955"/>
                <a:gd name="connsiteY54" fmla="*/ 1528337 h 1696335"/>
                <a:gd name="connsiteX55" fmla="*/ 1050190 w 1920955"/>
                <a:gd name="connsiteY55" fmla="*/ 1599431 h 1696335"/>
                <a:gd name="connsiteX56" fmla="*/ 1132339 w 1920955"/>
                <a:gd name="connsiteY56" fmla="*/ 1696055 h 1696335"/>
                <a:gd name="connsiteX57" fmla="*/ 1151034 w 1920955"/>
                <a:gd name="connsiteY57" fmla="*/ 1627859 h 1696335"/>
                <a:gd name="connsiteX58" fmla="*/ 1176811 w 1920955"/>
                <a:gd name="connsiteY58" fmla="*/ 1598401 h 1696335"/>
                <a:gd name="connsiteX59" fmla="*/ 1210149 w 1920955"/>
                <a:gd name="connsiteY59" fmla="*/ 1617451 h 1696335"/>
                <a:gd name="connsiteX60" fmla="*/ 1233961 w 1920955"/>
                <a:gd name="connsiteY60" fmla="*/ 1579351 h 1696335"/>
                <a:gd name="connsiteX61" fmla="*/ 1267299 w 1920955"/>
                <a:gd name="connsiteY61" fmla="*/ 1655551 h 1696335"/>
                <a:gd name="connsiteX62" fmla="*/ 1348261 w 1920955"/>
                <a:gd name="connsiteY62" fmla="*/ 1626976 h 1696335"/>
                <a:gd name="connsiteX63" fmla="*/ 1414936 w 1920955"/>
                <a:gd name="connsiteY63" fmla="*/ 1555538 h 1696335"/>
                <a:gd name="connsiteX64" fmla="*/ 1433986 w 1920955"/>
                <a:gd name="connsiteY64" fmla="*/ 1607926 h 1696335"/>
                <a:gd name="connsiteX65" fmla="*/ 1410174 w 1920955"/>
                <a:gd name="connsiteY65" fmla="*/ 1612688 h 1696335"/>
                <a:gd name="connsiteX66" fmla="*/ 1543524 w 1920955"/>
                <a:gd name="connsiteY66" fmla="*/ 1579351 h 1696335"/>
                <a:gd name="connsiteX67" fmla="*/ 1581624 w 1920955"/>
                <a:gd name="connsiteY67" fmla="*/ 1507913 h 1696335"/>
                <a:gd name="connsiteX68" fmla="*/ 1643536 w 1920955"/>
                <a:gd name="connsiteY68" fmla="*/ 1412663 h 1696335"/>
                <a:gd name="connsiteX69" fmla="*/ 1714974 w 1920955"/>
                <a:gd name="connsiteY69" fmla="*/ 1384088 h 1696335"/>
                <a:gd name="connsiteX70" fmla="*/ 1772124 w 1920955"/>
                <a:gd name="connsiteY70" fmla="*/ 1379326 h 1696335"/>
                <a:gd name="connsiteX71" fmla="*/ 1772124 w 1920955"/>
                <a:gd name="connsiteY71" fmla="*/ 1450763 h 1696335"/>
                <a:gd name="connsiteX72" fmla="*/ 1886424 w 1920955"/>
                <a:gd name="connsiteY72" fmla="*/ 1446001 h 1696335"/>
                <a:gd name="connsiteX73" fmla="*/ 1919761 w 1920955"/>
                <a:gd name="connsiteY73" fmla="*/ 1441238 h 1696335"/>
                <a:gd name="connsiteX74" fmla="*/ 1853086 w 1920955"/>
                <a:gd name="connsiteY74" fmla="*/ 1398376 h 1696335"/>
                <a:gd name="connsiteX75" fmla="*/ 1853086 w 1920955"/>
                <a:gd name="connsiteY75" fmla="*/ 1303126 h 1696335"/>
                <a:gd name="connsiteX76" fmla="*/ 1853086 w 1920955"/>
                <a:gd name="connsiteY76" fmla="*/ 1245976 h 1696335"/>
                <a:gd name="connsiteX77" fmla="*/ 1810224 w 1920955"/>
                <a:gd name="connsiteY77" fmla="*/ 1236451 h 1696335"/>
                <a:gd name="connsiteX78" fmla="*/ 1734024 w 1920955"/>
                <a:gd name="connsiteY78" fmla="*/ 1155488 h 1696335"/>
                <a:gd name="connsiteX79" fmla="*/ 1695924 w 1920955"/>
                <a:gd name="connsiteY79" fmla="*/ 974513 h 1696335"/>
                <a:gd name="connsiteX80" fmla="*/ 1643536 w 1920955"/>
                <a:gd name="connsiteY80" fmla="*/ 941176 h 1696335"/>
                <a:gd name="connsiteX81" fmla="*/ 1605436 w 1920955"/>
                <a:gd name="connsiteY81" fmla="*/ 884026 h 1696335"/>
                <a:gd name="connsiteX82" fmla="*/ 1557811 w 1920955"/>
                <a:gd name="connsiteY82" fmla="*/ 836401 h 1696335"/>
                <a:gd name="connsiteX83" fmla="*/ 1505424 w 1920955"/>
                <a:gd name="connsiteY83" fmla="*/ 817351 h 1696335"/>
                <a:gd name="connsiteX84" fmla="*/ 1453036 w 1920955"/>
                <a:gd name="connsiteY84" fmla="*/ 812588 h 1696335"/>
                <a:gd name="connsiteX85" fmla="*/ 1510186 w 1920955"/>
                <a:gd name="connsiteY85" fmla="*/ 779251 h 1696335"/>
                <a:gd name="connsiteX86" fmla="*/ 1476849 w 1920955"/>
                <a:gd name="connsiteY86" fmla="*/ 745913 h 1696335"/>
                <a:gd name="connsiteX87" fmla="*/ 1481611 w 1920955"/>
                <a:gd name="connsiteY87" fmla="*/ 722101 h 1696335"/>
                <a:gd name="connsiteX88" fmla="*/ 1572099 w 1920955"/>
                <a:gd name="connsiteY88" fmla="*/ 760201 h 1696335"/>
                <a:gd name="connsiteX89" fmla="*/ 1624486 w 1920955"/>
                <a:gd name="connsiteY89" fmla="*/ 693526 h 1696335"/>
                <a:gd name="connsiteX90" fmla="*/ 1614961 w 1920955"/>
                <a:gd name="connsiteY90" fmla="*/ 550651 h 1696335"/>
                <a:gd name="connsiteX91" fmla="*/ 1610199 w 1920955"/>
                <a:gd name="connsiteY91" fmla="*/ 412538 h 1696335"/>
                <a:gd name="connsiteX0" fmla="*/ 1610199 w 1920955"/>
                <a:gd name="connsiteY0" fmla="*/ 412538 h 1691251"/>
                <a:gd name="connsiteX1" fmla="*/ 1567336 w 1920955"/>
                <a:gd name="connsiteY1" fmla="*/ 369676 h 1691251"/>
                <a:gd name="connsiteX2" fmla="*/ 1467324 w 1920955"/>
                <a:gd name="connsiteY2" fmla="*/ 345863 h 1691251"/>
                <a:gd name="connsiteX3" fmla="*/ 1419699 w 1920955"/>
                <a:gd name="connsiteY3" fmla="*/ 317288 h 1691251"/>
                <a:gd name="connsiteX4" fmla="*/ 1367311 w 1920955"/>
                <a:gd name="connsiteY4" fmla="*/ 160126 h 1691251"/>
                <a:gd name="connsiteX5" fmla="*/ 1338736 w 1920955"/>
                <a:gd name="connsiteY5" fmla="*/ 12488 h 1691251"/>
                <a:gd name="connsiteX6" fmla="*/ 1267299 w 1920955"/>
                <a:gd name="connsiteY6" fmla="*/ 12488 h 1691251"/>
                <a:gd name="connsiteX7" fmla="*/ 1214911 w 1920955"/>
                <a:gd name="connsiteY7" fmla="*/ 50588 h 1691251"/>
                <a:gd name="connsiteX8" fmla="*/ 1214911 w 1920955"/>
                <a:gd name="connsiteY8" fmla="*/ 155363 h 1691251"/>
                <a:gd name="connsiteX9" fmla="*/ 1186336 w 1920955"/>
                <a:gd name="connsiteY9" fmla="*/ 183938 h 1691251"/>
                <a:gd name="connsiteX10" fmla="*/ 1176811 w 1920955"/>
                <a:gd name="connsiteY10" fmla="*/ 255376 h 1691251"/>
                <a:gd name="connsiteX11" fmla="*/ 1114899 w 1920955"/>
                <a:gd name="connsiteY11" fmla="*/ 298238 h 1691251"/>
                <a:gd name="connsiteX12" fmla="*/ 1005361 w 1920955"/>
                <a:gd name="connsiteY12" fmla="*/ 312526 h 1691251"/>
                <a:gd name="connsiteX13" fmla="*/ 962499 w 1920955"/>
                <a:gd name="connsiteY13" fmla="*/ 355388 h 1691251"/>
                <a:gd name="connsiteX14" fmla="*/ 838674 w 1920955"/>
                <a:gd name="connsiteY14" fmla="*/ 355388 h 1691251"/>
                <a:gd name="connsiteX15" fmla="*/ 781524 w 1920955"/>
                <a:gd name="connsiteY15" fmla="*/ 426826 h 1691251"/>
                <a:gd name="connsiteX16" fmla="*/ 781524 w 1920955"/>
                <a:gd name="connsiteY16" fmla="*/ 460163 h 1691251"/>
                <a:gd name="connsiteX17" fmla="*/ 743424 w 1920955"/>
                <a:gd name="connsiteY17" fmla="*/ 483976 h 1691251"/>
                <a:gd name="connsiteX18" fmla="*/ 671986 w 1920955"/>
                <a:gd name="connsiteY18" fmla="*/ 417301 h 1691251"/>
                <a:gd name="connsiteX19" fmla="*/ 519586 w 1920955"/>
                <a:gd name="connsiteY19" fmla="*/ 412538 h 1691251"/>
                <a:gd name="connsiteX20" fmla="*/ 457674 w 1920955"/>
                <a:gd name="connsiteY20" fmla="*/ 431588 h 1691251"/>
                <a:gd name="connsiteX21" fmla="*/ 419574 w 1920955"/>
                <a:gd name="connsiteY21" fmla="*/ 417301 h 1691251"/>
                <a:gd name="connsiteX22" fmla="*/ 400524 w 1920955"/>
                <a:gd name="connsiteY22" fmla="*/ 355388 h 1691251"/>
                <a:gd name="connsiteX23" fmla="*/ 333849 w 1920955"/>
                <a:gd name="connsiteY23" fmla="*/ 303001 h 1691251"/>
                <a:gd name="connsiteX24" fmla="*/ 286224 w 1920955"/>
                <a:gd name="connsiteY24" fmla="*/ 236326 h 1691251"/>
                <a:gd name="connsiteX25" fmla="*/ 143349 w 1920955"/>
                <a:gd name="connsiteY25" fmla="*/ 255376 h 1691251"/>
                <a:gd name="connsiteX26" fmla="*/ 124299 w 1920955"/>
                <a:gd name="connsiteY26" fmla="*/ 331576 h 1691251"/>
                <a:gd name="connsiteX27" fmla="*/ 110011 w 1920955"/>
                <a:gd name="connsiteY27" fmla="*/ 364913 h 1691251"/>
                <a:gd name="connsiteX28" fmla="*/ 133824 w 1920955"/>
                <a:gd name="connsiteY28" fmla="*/ 412538 h 1691251"/>
                <a:gd name="connsiteX29" fmla="*/ 81436 w 1920955"/>
                <a:gd name="connsiteY29" fmla="*/ 450638 h 1691251"/>
                <a:gd name="connsiteX30" fmla="*/ 33811 w 1920955"/>
                <a:gd name="connsiteY30" fmla="*/ 445876 h 1691251"/>
                <a:gd name="connsiteX31" fmla="*/ 33811 w 1920955"/>
                <a:gd name="connsiteY31" fmla="*/ 517313 h 1691251"/>
                <a:gd name="connsiteX32" fmla="*/ 474 w 1920955"/>
                <a:gd name="connsiteY32" fmla="*/ 622088 h 1691251"/>
                <a:gd name="connsiteX33" fmla="*/ 62386 w 1920955"/>
                <a:gd name="connsiteY33" fmla="*/ 698288 h 1691251"/>
                <a:gd name="connsiteX34" fmla="*/ 111977 w 1920955"/>
                <a:gd name="connsiteY34" fmla="*/ 678550 h 1691251"/>
                <a:gd name="connsiteX35" fmla="*/ 112334 w 1920955"/>
                <a:gd name="connsiteY35" fmla="*/ 748809 h 1691251"/>
                <a:gd name="connsiteX36" fmla="*/ 167161 w 1920955"/>
                <a:gd name="connsiteY36" fmla="*/ 779251 h 1691251"/>
                <a:gd name="connsiteX37" fmla="*/ 236159 w 1920955"/>
                <a:gd name="connsiteY37" fmla="*/ 789463 h 1691251"/>
                <a:gd name="connsiteX38" fmla="*/ 271462 w 1920955"/>
                <a:gd name="connsiteY38" fmla="*/ 845434 h 1691251"/>
                <a:gd name="connsiteX39" fmla="*/ 270869 w 1920955"/>
                <a:gd name="connsiteY39" fmla="*/ 890506 h 1691251"/>
                <a:gd name="connsiteX40" fmla="*/ 295393 w 1920955"/>
                <a:gd name="connsiteY40" fmla="*/ 929981 h 1691251"/>
                <a:gd name="connsiteX41" fmla="*/ 341051 w 1920955"/>
                <a:gd name="connsiteY41" fmla="*/ 968573 h 1691251"/>
                <a:gd name="connsiteX42" fmla="*/ 426184 w 1920955"/>
                <a:gd name="connsiteY42" fmla="*/ 1022825 h 1691251"/>
                <a:gd name="connsiteX43" fmla="*/ 461961 w 1920955"/>
                <a:gd name="connsiteY43" fmla="*/ 1093918 h 1691251"/>
                <a:gd name="connsiteX44" fmla="*/ 441064 w 1920955"/>
                <a:gd name="connsiteY44" fmla="*/ 1163491 h 1691251"/>
                <a:gd name="connsiteX45" fmla="*/ 519111 w 1920955"/>
                <a:gd name="connsiteY45" fmla="*/ 1219954 h 1691251"/>
                <a:gd name="connsiteX46" fmla="*/ 591143 w 1920955"/>
                <a:gd name="connsiteY46" fmla="*/ 1252948 h 1691251"/>
                <a:gd name="connsiteX47" fmla="*/ 571974 w 1920955"/>
                <a:gd name="connsiteY47" fmla="*/ 1312651 h 1691251"/>
                <a:gd name="connsiteX48" fmla="*/ 662461 w 1920955"/>
                <a:gd name="connsiteY48" fmla="*/ 1465051 h 1691251"/>
                <a:gd name="connsiteX49" fmla="*/ 755271 w 1920955"/>
                <a:gd name="connsiteY49" fmla="*/ 1538205 h 1691251"/>
                <a:gd name="connsiteX50" fmla="*/ 805336 w 1920955"/>
                <a:gd name="connsiteY50" fmla="*/ 1488863 h 1691251"/>
                <a:gd name="connsiteX51" fmla="*/ 869926 w 1920955"/>
                <a:gd name="connsiteY51" fmla="*/ 1516260 h 1691251"/>
                <a:gd name="connsiteX52" fmla="*/ 924399 w 1920955"/>
                <a:gd name="connsiteY52" fmla="*/ 1484101 h 1691251"/>
                <a:gd name="connsiteX53" fmla="*/ 941246 w 1920955"/>
                <a:gd name="connsiteY53" fmla="*/ 1441925 h 1691251"/>
                <a:gd name="connsiteX54" fmla="*/ 1005123 w 1920955"/>
                <a:gd name="connsiteY54" fmla="*/ 1528337 h 1691251"/>
                <a:gd name="connsiteX55" fmla="*/ 1050190 w 1920955"/>
                <a:gd name="connsiteY55" fmla="*/ 1599431 h 1691251"/>
                <a:gd name="connsiteX56" fmla="*/ 1120136 w 1920955"/>
                <a:gd name="connsiteY56" fmla="*/ 1690950 h 1691251"/>
                <a:gd name="connsiteX57" fmla="*/ 1151034 w 1920955"/>
                <a:gd name="connsiteY57" fmla="*/ 1627859 h 1691251"/>
                <a:gd name="connsiteX58" fmla="*/ 1176811 w 1920955"/>
                <a:gd name="connsiteY58" fmla="*/ 1598401 h 1691251"/>
                <a:gd name="connsiteX59" fmla="*/ 1210149 w 1920955"/>
                <a:gd name="connsiteY59" fmla="*/ 1617451 h 1691251"/>
                <a:gd name="connsiteX60" fmla="*/ 1233961 w 1920955"/>
                <a:gd name="connsiteY60" fmla="*/ 1579351 h 1691251"/>
                <a:gd name="connsiteX61" fmla="*/ 1267299 w 1920955"/>
                <a:gd name="connsiteY61" fmla="*/ 1655551 h 1691251"/>
                <a:gd name="connsiteX62" fmla="*/ 1348261 w 1920955"/>
                <a:gd name="connsiteY62" fmla="*/ 1626976 h 1691251"/>
                <a:gd name="connsiteX63" fmla="*/ 1414936 w 1920955"/>
                <a:gd name="connsiteY63" fmla="*/ 1555538 h 1691251"/>
                <a:gd name="connsiteX64" fmla="*/ 1433986 w 1920955"/>
                <a:gd name="connsiteY64" fmla="*/ 1607926 h 1691251"/>
                <a:gd name="connsiteX65" fmla="*/ 1410174 w 1920955"/>
                <a:gd name="connsiteY65" fmla="*/ 1612688 h 1691251"/>
                <a:gd name="connsiteX66" fmla="*/ 1543524 w 1920955"/>
                <a:gd name="connsiteY66" fmla="*/ 1579351 h 1691251"/>
                <a:gd name="connsiteX67" fmla="*/ 1581624 w 1920955"/>
                <a:gd name="connsiteY67" fmla="*/ 1507913 h 1691251"/>
                <a:gd name="connsiteX68" fmla="*/ 1643536 w 1920955"/>
                <a:gd name="connsiteY68" fmla="*/ 1412663 h 1691251"/>
                <a:gd name="connsiteX69" fmla="*/ 1714974 w 1920955"/>
                <a:gd name="connsiteY69" fmla="*/ 1384088 h 1691251"/>
                <a:gd name="connsiteX70" fmla="*/ 1772124 w 1920955"/>
                <a:gd name="connsiteY70" fmla="*/ 1379326 h 1691251"/>
                <a:gd name="connsiteX71" fmla="*/ 1772124 w 1920955"/>
                <a:gd name="connsiteY71" fmla="*/ 1450763 h 1691251"/>
                <a:gd name="connsiteX72" fmla="*/ 1886424 w 1920955"/>
                <a:gd name="connsiteY72" fmla="*/ 1446001 h 1691251"/>
                <a:gd name="connsiteX73" fmla="*/ 1919761 w 1920955"/>
                <a:gd name="connsiteY73" fmla="*/ 1441238 h 1691251"/>
                <a:gd name="connsiteX74" fmla="*/ 1853086 w 1920955"/>
                <a:gd name="connsiteY74" fmla="*/ 1398376 h 1691251"/>
                <a:gd name="connsiteX75" fmla="*/ 1853086 w 1920955"/>
                <a:gd name="connsiteY75" fmla="*/ 1303126 h 1691251"/>
                <a:gd name="connsiteX76" fmla="*/ 1853086 w 1920955"/>
                <a:gd name="connsiteY76" fmla="*/ 1245976 h 1691251"/>
                <a:gd name="connsiteX77" fmla="*/ 1810224 w 1920955"/>
                <a:gd name="connsiteY77" fmla="*/ 1236451 h 1691251"/>
                <a:gd name="connsiteX78" fmla="*/ 1734024 w 1920955"/>
                <a:gd name="connsiteY78" fmla="*/ 1155488 h 1691251"/>
                <a:gd name="connsiteX79" fmla="*/ 1695924 w 1920955"/>
                <a:gd name="connsiteY79" fmla="*/ 974513 h 1691251"/>
                <a:gd name="connsiteX80" fmla="*/ 1643536 w 1920955"/>
                <a:gd name="connsiteY80" fmla="*/ 941176 h 1691251"/>
                <a:gd name="connsiteX81" fmla="*/ 1605436 w 1920955"/>
                <a:gd name="connsiteY81" fmla="*/ 884026 h 1691251"/>
                <a:gd name="connsiteX82" fmla="*/ 1557811 w 1920955"/>
                <a:gd name="connsiteY82" fmla="*/ 836401 h 1691251"/>
                <a:gd name="connsiteX83" fmla="*/ 1505424 w 1920955"/>
                <a:gd name="connsiteY83" fmla="*/ 817351 h 1691251"/>
                <a:gd name="connsiteX84" fmla="*/ 1453036 w 1920955"/>
                <a:gd name="connsiteY84" fmla="*/ 812588 h 1691251"/>
                <a:gd name="connsiteX85" fmla="*/ 1510186 w 1920955"/>
                <a:gd name="connsiteY85" fmla="*/ 779251 h 1691251"/>
                <a:gd name="connsiteX86" fmla="*/ 1476849 w 1920955"/>
                <a:gd name="connsiteY86" fmla="*/ 745913 h 1691251"/>
                <a:gd name="connsiteX87" fmla="*/ 1481611 w 1920955"/>
                <a:gd name="connsiteY87" fmla="*/ 722101 h 1691251"/>
                <a:gd name="connsiteX88" fmla="*/ 1572099 w 1920955"/>
                <a:gd name="connsiteY88" fmla="*/ 760201 h 1691251"/>
                <a:gd name="connsiteX89" fmla="*/ 1624486 w 1920955"/>
                <a:gd name="connsiteY89" fmla="*/ 693526 h 1691251"/>
                <a:gd name="connsiteX90" fmla="*/ 1614961 w 1920955"/>
                <a:gd name="connsiteY90" fmla="*/ 550651 h 1691251"/>
                <a:gd name="connsiteX91" fmla="*/ 1610199 w 1920955"/>
                <a:gd name="connsiteY91" fmla="*/ 412538 h 1691251"/>
                <a:gd name="connsiteX0" fmla="*/ 1610199 w 1920955"/>
                <a:gd name="connsiteY0" fmla="*/ 412538 h 1691251"/>
                <a:gd name="connsiteX1" fmla="*/ 1567336 w 1920955"/>
                <a:gd name="connsiteY1" fmla="*/ 369676 h 1691251"/>
                <a:gd name="connsiteX2" fmla="*/ 1467324 w 1920955"/>
                <a:gd name="connsiteY2" fmla="*/ 345863 h 1691251"/>
                <a:gd name="connsiteX3" fmla="*/ 1419699 w 1920955"/>
                <a:gd name="connsiteY3" fmla="*/ 317288 h 1691251"/>
                <a:gd name="connsiteX4" fmla="*/ 1367311 w 1920955"/>
                <a:gd name="connsiteY4" fmla="*/ 160126 h 1691251"/>
                <a:gd name="connsiteX5" fmla="*/ 1338736 w 1920955"/>
                <a:gd name="connsiteY5" fmla="*/ 12488 h 1691251"/>
                <a:gd name="connsiteX6" fmla="*/ 1267299 w 1920955"/>
                <a:gd name="connsiteY6" fmla="*/ 12488 h 1691251"/>
                <a:gd name="connsiteX7" fmla="*/ 1214911 w 1920955"/>
                <a:gd name="connsiteY7" fmla="*/ 50588 h 1691251"/>
                <a:gd name="connsiteX8" fmla="*/ 1214911 w 1920955"/>
                <a:gd name="connsiteY8" fmla="*/ 155363 h 1691251"/>
                <a:gd name="connsiteX9" fmla="*/ 1186336 w 1920955"/>
                <a:gd name="connsiteY9" fmla="*/ 183938 h 1691251"/>
                <a:gd name="connsiteX10" fmla="*/ 1176811 w 1920955"/>
                <a:gd name="connsiteY10" fmla="*/ 255376 h 1691251"/>
                <a:gd name="connsiteX11" fmla="*/ 1114899 w 1920955"/>
                <a:gd name="connsiteY11" fmla="*/ 298238 h 1691251"/>
                <a:gd name="connsiteX12" fmla="*/ 1005361 w 1920955"/>
                <a:gd name="connsiteY12" fmla="*/ 312526 h 1691251"/>
                <a:gd name="connsiteX13" fmla="*/ 962499 w 1920955"/>
                <a:gd name="connsiteY13" fmla="*/ 355388 h 1691251"/>
                <a:gd name="connsiteX14" fmla="*/ 838674 w 1920955"/>
                <a:gd name="connsiteY14" fmla="*/ 355388 h 1691251"/>
                <a:gd name="connsiteX15" fmla="*/ 781524 w 1920955"/>
                <a:gd name="connsiteY15" fmla="*/ 426826 h 1691251"/>
                <a:gd name="connsiteX16" fmla="*/ 781524 w 1920955"/>
                <a:gd name="connsiteY16" fmla="*/ 460163 h 1691251"/>
                <a:gd name="connsiteX17" fmla="*/ 743424 w 1920955"/>
                <a:gd name="connsiteY17" fmla="*/ 483976 h 1691251"/>
                <a:gd name="connsiteX18" fmla="*/ 671986 w 1920955"/>
                <a:gd name="connsiteY18" fmla="*/ 417301 h 1691251"/>
                <a:gd name="connsiteX19" fmla="*/ 519586 w 1920955"/>
                <a:gd name="connsiteY19" fmla="*/ 412538 h 1691251"/>
                <a:gd name="connsiteX20" fmla="*/ 457674 w 1920955"/>
                <a:gd name="connsiteY20" fmla="*/ 431588 h 1691251"/>
                <a:gd name="connsiteX21" fmla="*/ 419574 w 1920955"/>
                <a:gd name="connsiteY21" fmla="*/ 417301 h 1691251"/>
                <a:gd name="connsiteX22" fmla="*/ 400524 w 1920955"/>
                <a:gd name="connsiteY22" fmla="*/ 355388 h 1691251"/>
                <a:gd name="connsiteX23" fmla="*/ 333849 w 1920955"/>
                <a:gd name="connsiteY23" fmla="*/ 303001 h 1691251"/>
                <a:gd name="connsiteX24" fmla="*/ 286224 w 1920955"/>
                <a:gd name="connsiteY24" fmla="*/ 236326 h 1691251"/>
                <a:gd name="connsiteX25" fmla="*/ 143349 w 1920955"/>
                <a:gd name="connsiteY25" fmla="*/ 255376 h 1691251"/>
                <a:gd name="connsiteX26" fmla="*/ 124299 w 1920955"/>
                <a:gd name="connsiteY26" fmla="*/ 331576 h 1691251"/>
                <a:gd name="connsiteX27" fmla="*/ 110011 w 1920955"/>
                <a:gd name="connsiteY27" fmla="*/ 364913 h 1691251"/>
                <a:gd name="connsiteX28" fmla="*/ 133824 w 1920955"/>
                <a:gd name="connsiteY28" fmla="*/ 412538 h 1691251"/>
                <a:gd name="connsiteX29" fmla="*/ 81436 w 1920955"/>
                <a:gd name="connsiteY29" fmla="*/ 450638 h 1691251"/>
                <a:gd name="connsiteX30" fmla="*/ 33811 w 1920955"/>
                <a:gd name="connsiteY30" fmla="*/ 445876 h 1691251"/>
                <a:gd name="connsiteX31" fmla="*/ 33811 w 1920955"/>
                <a:gd name="connsiteY31" fmla="*/ 517313 h 1691251"/>
                <a:gd name="connsiteX32" fmla="*/ 474 w 1920955"/>
                <a:gd name="connsiteY32" fmla="*/ 622088 h 1691251"/>
                <a:gd name="connsiteX33" fmla="*/ 62386 w 1920955"/>
                <a:gd name="connsiteY33" fmla="*/ 698288 h 1691251"/>
                <a:gd name="connsiteX34" fmla="*/ 111977 w 1920955"/>
                <a:gd name="connsiteY34" fmla="*/ 678550 h 1691251"/>
                <a:gd name="connsiteX35" fmla="*/ 112334 w 1920955"/>
                <a:gd name="connsiteY35" fmla="*/ 748809 h 1691251"/>
                <a:gd name="connsiteX36" fmla="*/ 167161 w 1920955"/>
                <a:gd name="connsiteY36" fmla="*/ 779251 h 1691251"/>
                <a:gd name="connsiteX37" fmla="*/ 236159 w 1920955"/>
                <a:gd name="connsiteY37" fmla="*/ 789463 h 1691251"/>
                <a:gd name="connsiteX38" fmla="*/ 271462 w 1920955"/>
                <a:gd name="connsiteY38" fmla="*/ 845434 h 1691251"/>
                <a:gd name="connsiteX39" fmla="*/ 270869 w 1920955"/>
                <a:gd name="connsiteY39" fmla="*/ 890506 h 1691251"/>
                <a:gd name="connsiteX40" fmla="*/ 295393 w 1920955"/>
                <a:gd name="connsiteY40" fmla="*/ 929981 h 1691251"/>
                <a:gd name="connsiteX41" fmla="*/ 341051 w 1920955"/>
                <a:gd name="connsiteY41" fmla="*/ 968573 h 1691251"/>
                <a:gd name="connsiteX42" fmla="*/ 426184 w 1920955"/>
                <a:gd name="connsiteY42" fmla="*/ 1022825 h 1691251"/>
                <a:gd name="connsiteX43" fmla="*/ 461961 w 1920955"/>
                <a:gd name="connsiteY43" fmla="*/ 1093918 h 1691251"/>
                <a:gd name="connsiteX44" fmla="*/ 441064 w 1920955"/>
                <a:gd name="connsiteY44" fmla="*/ 1163491 h 1691251"/>
                <a:gd name="connsiteX45" fmla="*/ 519111 w 1920955"/>
                <a:gd name="connsiteY45" fmla="*/ 1219954 h 1691251"/>
                <a:gd name="connsiteX46" fmla="*/ 591143 w 1920955"/>
                <a:gd name="connsiteY46" fmla="*/ 1252948 h 1691251"/>
                <a:gd name="connsiteX47" fmla="*/ 571974 w 1920955"/>
                <a:gd name="connsiteY47" fmla="*/ 1312651 h 1691251"/>
                <a:gd name="connsiteX48" fmla="*/ 662461 w 1920955"/>
                <a:gd name="connsiteY48" fmla="*/ 1465051 h 1691251"/>
                <a:gd name="connsiteX49" fmla="*/ 755271 w 1920955"/>
                <a:gd name="connsiteY49" fmla="*/ 1538205 h 1691251"/>
                <a:gd name="connsiteX50" fmla="*/ 805336 w 1920955"/>
                <a:gd name="connsiteY50" fmla="*/ 1488863 h 1691251"/>
                <a:gd name="connsiteX51" fmla="*/ 869926 w 1920955"/>
                <a:gd name="connsiteY51" fmla="*/ 1516260 h 1691251"/>
                <a:gd name="connsiteX52" fmla="*/ 924399 w 1920955"/>
                <a:gd name="connsiteY52" fmla="*/ 1484101 h 1691251"/>
                <a:gd name="connsiteX53" fmla="*/ 941246 w 1920955"/>
                <a:gd name="connsiteY53" fmla="*/ 1441925 h 1691251"/>
                <a:gd name="connsiteX54" fmla="*/ 1005123 w 1920955"/>
                <a:gd name="connsiteY54" fmla="*/ 1528337 h 1691251"/>
                <a:gd name="connsiteX55" fmla="*/ 1050190 w 1920955"/>
                <a:gd name="connsiteY55" fmla="*/ 1599431 h 1691251"/>
                <a:gd name="connsiteX56" fmla="*/ 1120136 w 1920955"/>
                <a:gd name="connsiteY56" fmla="*/ 1690950 h 1691251"/>
                <a:gd name="connsiteX57" fmla="*/ 1151034 w 1920955"/>
                <a:gd name="connsiteY57" fmla="*/ 1627859 h 1691251"/>
                <a:gd name="connsiteX58" fmla="*/ 1176811 w 1920955"/>
                <a:gd name="connsiteY58" fmla="*/ 1598401 h 1691251"/>
                <a:gd name="connsiteX59" fmla="*/ 1210149 w 1920955"/>
                <a:gd name="connsiteY59" fmla="*/ 1617451 h 1691251"/>
                <a:gd name="connsiteX60" fmla="*/ 1233961 w 1920955"/>
                <a:gd name="connsiteY60" fmla="*/ 1579351 h 1691251"/>
                <a:gd name="connsiteX61" fmla="*/ 1267299 w 1920955"/>
                <a:gd name="connsiteY61" fmla="*/ 1655551 h 1691251"/>
                <a:gd name="connsiteX62" fmla="*/ 1348261 w 1920955"/>
                <a:gd name="connsiteY62" fmla="*/ 1626976 h 1691251"/>
                <a:gd name="connsiteX63" fmla="*/ 1414936 w 1920955"/>
                <a:gd name="connsiteY63" fmla="*/ 1555538 h 1691251"/>
                <a:gd name="connsiteX64" fmla="*/ 1433986 w 1920955"/>
                <a:gd name="connsiteY64" fmla="*/ 1607926 h 1691251"/>
                <a:gd name="connsiteX65" fmla="*/ 1410174 w 1920955"/>
                <a:gd name="connsiteY65" fmla="*/ 1612688 h 1691251"/>
                <a:gd name="connsiteX66" fmla="*/ 1543524 w 1920955"/>
                <a:gd name="connsiteY66" fmla="*/ 1579351 h 1691251"/>
                <a:gd name="connsiteX67" fmla="*/ 1581624 w 1920955"/>
                <a:gd name="connsiteY67" fmla="*/ 1507913 h 1691251"/>
                <a:gd name="connsiteX68" fmla="*/ 1643536 w 1920955"/>
                <a:gd name="connsiteY68" fmla="*/ 1412663 h 1691251"/>
                <a:gd name="connsiteX69" fmla="*/ 1714974 w 1920955"/>
                <a:gd name="connsiteY69" fmla="*/ 1384088 h 1691251"/>
                <a:gd name="connsiteX70" fmla="*/ 1772124 w 1920955"/>
                <a:gd name="connsiteY70" fmla="*/ 1379326 h 1691251"/>
                <a:gd name="connsiteX71" fmla="*/ 1772124 w 1920955"/>
                <a:gd name="connsiteY71" fmla="*/ 1450763 h 1691251"/>
                <a:gd name="connsiteX72" fmla="*/ 1886424 w 1920955"/>
                <a:gd name="connsiteY72" fmla="*/ 1446001 h 1691251"/>
                <a:gd name="connsiteX73" fmla="*/ 1919761 w 1920955"/>
                <a:gd name="connsiteY73" fmla="*/ 1441238 h 1691251"/>
                <a:gd name="connsiteX74" fmla="*/ 1853086 w 1920955"/>
                <a:gd name="connsiteY74" fmla="*/ 1398376 h 1691251"/>
                <a:gd name="connsiteX75" fmla="*/ 1853086 w 1920955"/>
                <a:gd name="connsiteY75" fmla="*/ 1303126 h 1691251"/>
                <a:gd name="connsiteX76" fmla="*/ 1853086 w 1920955"/>
                <a:gd name="connsiteY76" fmla="*/ 1245976 h 1691251"/>
                <a:gd name="connsiteX77" fmla="*/ 1810224 w 1920955"/>
                <a:gd name="connsiteY77" fmla="*/ 1236451 h 1691251"/>
                <a:gd name="connsiteX78" fmla="*/ 1734024 w 1920955"/>
                <a:gd name="connsiteY78" fmla="*/ 1155488 h 1691251"/>
                <a:gd name="connsiteX79" fmla="*/ 1695924 w 1920955"/>
                <a:gd name="connsiteY79" fmla="*/ 974513 h 1691251"/>
                <a:gd name="connsiteX80" fmla="*/ 1643536 w 1920955"/>
                <a:gd name="connsiteY80" fmla="*/ 941176 h 1691251"/>
                <a:gd name="connsiteX81" fmla="*/ 1605436 w 1920955"/>
                <a:gd name="connsiteY81" fmla="*/ 884026 h 1691251"/>
                <a:gd name="connsiteX82" fmla="*/ 1557811 w 1920955"/>
                <a:gd name="connsiteY82" fmla="*/ 836401 h 1691251"/>
                <a:gd name="connsiteX83" fmla="*/ 1505424 w 1920955"/>
                <a:gd name="connsiteY83" fmla="*/ 817351 h 1691251"/>
                <a:gd name="connsiteX84" fmla="*/ 1453036 w 1920955"/>
                <a:gd name="connsiteY84" fmla="*/ 812588 h 1691251"/>
                <a:gd name="connsiteX85" fmla="*/ 1510186 w 1920955"/>
                <a:gd name="connsiteY85" fmla="*/ 779251 h 1691251"/>
                <a:gd name="connsiteX86" fmla="*/ 1476849 w 1920955"/>
                <a:gd name="connsiteY86" fmla="*/ 745913 h 1691251"/>
                <a:gd name="connsiteX87" fmla="*/ 1481611 w 1920955"/>
                <a:gd name="connsiteY87" fmla="*/ 722101 h 1691251"/>
                <a:gd name="connsiteX88" fmla="*/ 1572099 w 1920955"/>
                <a:gd name="connsiteY88" fmla="*/ 760201 h 1691251"/>
                <a:gd name="connsiteX89" fmla="*/ 1624486 w 1920955"/>
                <a:gd name="connsiteY89" fmla="*/ 693526 h 1691251"/>
                <a:gd name="connsiteX90" fmla="*/ 1614961 w 1920955"/>
                <a:gd name="connsiteY90" fmla="*/ 550651 h 1691251"/>
                <a:gd name="connsiteX91" fmla="*/ 1610199 w 1920955"/>
                <a:gd name="connsiteY91" fmla="*/ 412538 h 1691251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10149 w 1920955"/>
                <a:gd name="connsiteY59" fmla="*/ 1617451 h 1691232"/>
                <a:gd name="connsiteX60" fmla="*/ 1233961 w 1920955"/>
                <a:gd name="connsiteY60" fmla="*/ 1579351 h 1691232"/>
                <a:gd name="connsiteX61" fmla="*/ 1267299 w 1920955"/>
                <a:gd name="connsiteY61" fmla="*/ 1655551 h 1691232"/>
                <a:gd name="connsiteX62" fmla="*/ 1348261 w 1920955"/>
                <a:gd name="connsiteY62" fmla="*/ 1626976 h 1691232"/>
                <a:gd name="connsiteX63" fmla="*/ 1414936 w 1920955"/>
                <a:gd name="connsiteY63" fmla="*/ 1555538 h 1691232"/>
                <a:gd name="connsiteX64" fmla="*/ 1433986 w 1920955"/>
                <a:gd name="connsiteY64" fmla="*/ 1607926 h 1691232"/>
                <a:gd name="connsiteX65" fmla="*/ 1410174 w 1920955"/>
                <a:gd name="connsiteY65" fmla="*/ 1612688 h 1691232"/>
                <a:gd name="connsiteX66" fmla="*/ 1543524 w 1920955"/>
                <a:gd name="connsiteY66" fmla="*/ 1579351 h 1691232"/>
                <a:gd name="connsiteX67" fmla="*/ 1581624 w 1920955"/>
                <a:gd name="connsiteY67" fmla="*/ 1507913 h 1691232"/>
                <a:gd name="connsiteX68" fmla="*/ 1643536 w 1920955"/>
                <a:gd name="connsiteY68" fmla="*/ 1412663 h 1691232"/>
                <a:gd name="connsiteX69" fmla="*/ 1714974 w 1920955"/>
                <a:gd name="connsiteY69" fmla="*/ 1384088 h 1691232"/>
                <a:gd name="connsiteX70" fmla="*/ 1772124 w 1920955"/>
                <a:gd name="connsiteY70" fmla="*/ 1379326 h 1691232"/>
                <a:gd name="connsiteX71" fmla="*/ 1772124 w 1920955"/>
                <a:gd name="connsiteY71" fmla="*/ 1450763 h 1691232"/>
                <a:gd name="connsiteX72" fmla="*/ 1886424 w 1920955"/>
                <a:gd name="connsiteY72" fmla="*/ 1446001 h 1691232"/>
                <a:gd name="connsiteX73" fmla="*/ 1919761 w 1920955"/>
                <a:gd name="connsiteY73" fmla="*/ 1441238 h 1691232"/>
                <a:gd name="connsiteX74" fmla="*/ 1853086 w 1920955"/>
                <a:gd name="connsiteY74" fmla="*/ 1398376 h 1691232"/>
                <a:gd name="connsiteX75" fmla="*/ 1853086 w 1920955"/>
                <a:gd name="connsiteY75" fmla="*/ 1303126 h 1691232"/>
                <a:gd name="connsiteX76" fmla="*/ 1853086 w 1920955"/>
                <a:gd name="connsiteY76" fmla="*/ 1245976 h 1691232"/>
                <a:gd name="connsiteX77" fmla="*/ 1810224 w 1920955"/>
                <a:gd name="connsiteY77" fmla="*/ 1236451 h 1691232"/>
                <a:gd name="connsiteX78" fmla="*/ 1734024 w 1920955"/>
                <a:gd name="connsiteY78" fmla="*/ 1155488 h 1691232"/>
                <a:gd name="connsiteX79" fmla="*/ 1695924 w 1920955"/>
                <a:gd name="connsiteY79" fmla="*/ 974513 h 1691232"/>
                <a:gd name="connsiteX80" fmla="*/ 1643536 w 1920955"/>
                <a:gd name="connsiteY80" fmla="*/ 941176 h 1691232"/>
                <a:gd name="connsiteX81" fmla="*/ 1605436 w 1920955"/>
                <a:gd name="connsiteY81" fmla="*/ 884026 h 1691232"/>
                <a:gd name="connsiteX82" fmla="*/ 1557811 w 1920955"/>
                <a:gd name="connsiteY82" fmla="*/ 836401 h 1691232"/>
                <a:gd name="connsiteX83" fmla="*/ 1505424 w 1920955"/>
                <a:gd name="connsiteY83" fmla="*/ 817351 h 1691232"/>
                <a:gd name="connsiteX84" fmla="*/ 1453036 w 1920955"/>
                <a:gd name="connsiteY84" fmla="*/ 812588 h 1691232"/>
                <a:gd name="connsiteX85" fmla="*/ 1510186 w 1920955"/>
                <a:gd name="connsiteY85" fmla="*/ 779251 h 1691232"/>
                <a:gd name="connsiteX86" fmla="*/ 1476849 w 1920955"/>
                <a:gd name="connsiteY86" fmla="*/ 745913 h 1691232"/>
                <a:gd name="connsiteX87" fmla="*/ 1481611 w 1920955"/>
                <a:gd name="connsiteY87" fmla="*/ 722101 h 1691232"/>
                <a:gd name="connsiteX88" fmla="*/ 1572099 w 1920955"/>
                <a:gd name="connsiteY88" fmla="*/ 760201 h 1691232"/>
                <a:gd name="connsiteX89" fmla="*/ 1624486 w 1920955"/>
                <a:gd name="connsiteY89" fmla="*/ 693526 h 1691232"/>
                <a:gd name="connsiteX90" fmla="*/ 1614961 w 1920955"/>
                <a:gd name="connsiteY90" fmla="*/ 550651 h 1691232"/>
                <a:gd name="connsiteX91" fmla="*/ 1610199 w 1920955"/>
                <a:gd name="connsiteY91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33961 w 1920955"/>
                <a:gd name="connsiteY60" fmla="*/ 1579351 h 1691232"/>
                <a:gd name="connsiteX61" fmla="*/ 1267299 w 1920955"/>
                <a:gd name="connsiteY61" fmla="*/ 1655551 h 1691232"/>
                <a:gd name="connsiteX62" fmla="*/ 1348261 w 1920955"/>
                <a:gd name="connsiteY62" fmla="*/ 1626976 h 1691232"/>
                <a:gd name="connsiteX63" fmla="*/ 1414936 w 1920955"/>
                <a:gd name="connsiteY63" fmla="*/ 1555538 h 1691232"/>
                <a:gd name="connsiteX64" fmla="*/ 1433986 w 1920955"/>
                <a:gd name="connsiteY64" fmla="*/ 1607926 h 1691232"/>
                <a:gd name="connsiteX65" fmla="*/ 1410174 w 1920955"/>
                <a:gd name="connsiteY65" fmla="*/ 1612688 h 1691232"/>
                <a:gd name="connsiteX66" fmla="*/ 1543524 w 1920955"/>
                <a:gd name="connsiteY66" fmla="*/ 1579351 h 1691232"/>
                <a:gd name="connsiteX67" fmla="*/ 1581624 w 1920955"/>
                <a:gd name="connsiteY67" fmla="*/ 1507913 h 1691232"/>
                <a:gd name="connsiteX68" fmla="*/ 1643536 w 1920955"/>
                <a:gd name="connsiteY68" fmla="*/ 1412663 h 1691232"/>
                <a:gd name="connsiteX69" fmla="*/ 1714974 w 1920955"/>
                <a:gd name="connsiteY69" fmla="*/ 1384088 h 1691232"/>
                <a:gd name="connsiteX70" fmla="*/ 1772124 w 1920955"/>
                <a:gd name="connsiteY70" fmla="*/ 1379326 h 1691232"/>
                <a:gd name="connsiteX71" fmla="*/ 1772124 w 1920955"/>
                <a:gd name="connsiteY71" fmla="*/ 1450763 h 1691232"/>
                <a:gd name="connsiteX72" fmla="*/ 1886424 w 1920955"/>
                <a:gd name="connsiteY72" fmla="*/ 1446001 h 1691232"/>
                <a:gd name="connsiteX73" fmla="*/ 1919761 w 1920955"/>
                <a:gd name="connsiteY73" fmla="*/ 1441238 h 1691232"/>
                <a:gd name="connsiteX74" fmla="*/ 1853086 w 1920955"/>
                <a:gd name="connsiteY74" fmla="*/ 1398376 h 1691232"/>
                <a:gd name="connsiteX75" fmla="*/ 1853086 w 1920955"/>
                <a:gd name="connsiteY75" fmla="*/ 1303126 h 1691232"/>
                <a:gd name="connsiteX76" fmla="*/ 1853086 w 1920955"/>
                <a:gd name="connsiteY76" fmla="*/ 1245976 h 1691232"/>
                <a:gd name="connsiteX77" fmla="*/ 1810224 w 1920955"/>
                <a:gd name="connsiteY77" fmla="*/ 1236451 h 1691232"/>
                <a:gd name="connsiteX78" fmla="*/ 1734024 w 1920955"/>
                <a:gd name="connsiteY78" fmla="*/ 1155488 h 1691232"/>
                <a:gd name="connsiteX79" fmla="*/ 1695924 w 1920955"/>
                <a:gd name="connsiteY79" fmla="*/ 974513 h 1691232"/>
                <a:gd name="connsiteX80" fmla="*/ 1643536 w 1920955"/>
                <a:gd name="connsiteY80" fmla="*/ 941176 h 1691232"/>
                <a:gd name="connsiteX81" fmla="*/ 1605436 w 1920955"/>
                <a:gd name="connsiteY81" fmla="*/ 884026 h 1691232"/>
                <a:gd name="connsiteX82" fmla="*/ 1557811 w 1920955"/>
                <a:gd name="connsiteY82" fmla="*/ 836401 h 1691232"/>
                <a:gd name="connsiteX83" fmla="*/ 1505424 w 1920955"/>
                <a:gd name="connsiteY83" fmla="*/ 817351 h 1691232"/>
                <a:gd name="connsiteX84" fmla="*/ 1453036 w 1920955"/>
                <a:gd name="connsiteY84" fmla="*/ 812588 h 1691232"/>
                <a:gd name="connsiteX85" fmla="*/ 1510186 w 1920955"/>
                <a:gd name="connsiteY85" fmla="*/ 779251 h 1691232"/>
                <a:gd name="connsiteX86" fmla="*/ 1476849 w 1920955"/>
                <a:gd name="connsiteY86" fmla="*/ 745913 h 1691232"/>
                <a:gd name="connsiteX87" fmla="*/ 1481611 w 1920955"/>
                <a:gd name="connsiteY87" fmla="*/ 722101 h 1691232"/>
                <a:gd name="connsiteX88" fmla="*/ 1572099 w 1920955"/>
                <a:gd name="connsiteY88" fmla="*/ 760201 h 1691232"/>
                <a:gd name="connsiteX89" fmla="*/ 1624486 w 1920955"/>
                <a:gd name="connsiteY89" fmla="*/ 693526 h 1691232"/>
                <a:gd name="connsiteX90" fmla="*/ 1614961 w 1920955"/>
                <a:gd name="connsiteY90" fmla="*/ 550651 h 1691232"/>
                <a:gd name="connsiteX91" fmla="*/ 1610199 w 1920955"/>
                <a:gd name="connsiteY91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67299 w 1920955"/>
                <a:gd name="connsiteY61" fmla="*/ 1655551 h 1691232"/>
                <a:gd name="connsiteX62" fmla="*/ 1348261 w 1920955"/>
                <a:gd name="connsiteY62" fmla="*/ 1626976 h 1691232"/>
                <a:gd name="connsiteX63" fmla="*/ 1414936 w 1920955"/>
                <a:gd name="connsiteY63" fmla="*/ 1555538 h 1691232"/>
                <a:gd name="connsiteX64" fmla="*/ 1433986 w 1920955"/>
                <a:gd name="connsiteY64" fmla="*/ 1607926 h 1691232"/>
                <a:gd name="connsiteX65" fmla="*/ 1410174 w 1920955"/>
                <a:gd name="connsiteY65" fmla="*/ 1612688 h 1691232"/>
                <a:gd name="connsiteX66" fmla="*/ 1543524 w 1920955"/>
                <a:gd name="connsiteY66" fmla="*/ 1579351 h 1691232"/>
                <a:gd name="connsiteX67" fmla="*/ 1581624 w 1920955"/>
                <a:gd name="connsiteY67" fmla="*/ 1507913 h 1691232"/>
                <a:gd name="connsiteX68" fmla="*/ 1643536 w 1920955"/>
                <a:gd name="connsiteY68" fmla="*/ 1412663 h 1691232"/>
                <a:gd name="connsiteX69" fmla="*/ 1714974 w 1920955"/>
                <a:gd name="connsiteY69" fmla="*/ 1384088 h 1691232"/>
                <a:gd name="connsiteX70" fmla="*/ 1772124 w 1920955"/>
                <a:gd name="connsiteY70" fmla="*/ 1379326 h 1691232"/>
                <a:gd name="connsiteX71" fmla="*/ 1772124 w 1920955"/>
                <a:gd name="connsiteY71" fmla="*/ 1450763 h 1691232"/>
                <a:gd name="connsiteX72" fmla="*/ 1886424 w 1920955"/>
                <a:gd name="connsiteY72" fmla="*/ 1446001 h 1691232"/>
                <a:gd name="connsiteX73" fmla="*/ 1919761 w 1920955"/>
                <a:gd name="connsiteY73" fmla="*/ 1441238 h 1691232"/>
                <a:gd name="connsiteX74" fmla="*/ 1853086 w 1920955"/>
                <a:gd name="connsiteY74" fmla="*/ 1398376 h 1691232"/>
                <a:gd name="connsiteX75" fmla="*/ 1853086 w 1920955"/>
                <a:gd name="connsiteY75" fmla="*/ 1303126 h 1691232"/>
                <a:gd name="connsiteX76" fmla="*/ 1853086 w 1920955"/>
                <a:gd name="connsiteY76" fmla="*/ 1245976 h 1691232"/>
                <a:gd name="connsiteX77" fmla="*/ 1810224 w 1920955"/>
                <a:gd name="connsiteY77" fmla="*/ 1236451 h 1691232"/>
                <a:gd name="connsiteX78" fmla="*/ 1734024 w 1920955"/>
                <a:gd name="connsiteY78" fmla="*/ 1155488 h 1691232"/>
                <a:gd name="connsiteX79" fmla="*/ 1695924 w 1920955"/>
                <a:gd name="connsiteY79" fmla="*/ 974513 h 1691232"/>
                <a:gd name="connsiteX80" fmla="*/ 1643536 w 1920955"/>
                <a:gd name="connsiteY80" fmla="*/ 941176 h 1691232"/>
                <a:gd name="connsiteX81" fmla="*/ 1605436 w 1920955"/>
                <a:gd name="connsiteY81" fmla="*/ 884026 h 1691232"/>
                <a:gd name="connsiteX82" fmla="*/ 1557811 w 1920955"/>
                <a:gd name="connsiteY82" fmla="*/ 836401 h 1691232"/>
                <a:gd name="connsiteX83" fmla="*/ 1505424 w 1920955"/>
                <a:gd name="connsiteY83" fmla="*/ 817351 h 1691232"/>
                <a:gd name="connsiteX84" fmla="*/ 1453036 w 1920955"/>
                <a:gd name="connsiteY84" fmla="*/ 812588 h 1691232"/>
                <a:gd name="connsiteX85" fmla="*/ 1510186 w 1920955"/>
                <a:gd name="connsiteY85" fmla="*/ 779251 h 1691232"/>
                <a:gd name="connsiteX86" fmla="*/ 1476849 w 1920955"/>
                <a:gd name="connsiteY86" fmla="*/ 745913 h 1691232"/>
                <a:gd name="connsiteX87" fmla="*/ 1481611 w 1920955"/>
                <a:gd name="connsiteY87" fmla="*/ 722101 h 1691232"/>
                <a:gd name="connsiteX88" fmla="*/ 1572099 w 1920955"/>
                <a:gd name="connsiteY88" fmla="*/ 760201 h 1691232"/>
                <a:gd name="connsiteX89" fmla="*/ 1624486 w 1920955"/>
                <a:gd name="connsiteY89" fmla="*/ 693526 h 1691232"/>
                <a:gd name="connsiteX90" fmla="*/ 1614961 w 1920955"/>
                <a:gd name="connsiteY90" fmla="*/ 550651 h 1691232"/>
                <a:gd name="connsiteX91" fmla="*/ 1610199 w 1920955"/>
                <a:gd name="connsiteY91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308789 w 1920955"/>
                <a:gd name="connsiteY61" fmla="*/ 1594278 h 1691232"/>
                <a:gd name="connsiteX62" fmla="*/ 1348261 w 1920955"/>
                <a:gd name="connsiteY62" fmla="*/ 1626976 h 1691232"/>
                <a:gd name="connsiteX63" fmla="*/ 1414936 w 1920955"/>
                <a:gd name="connsiteY63" fmla="*/ 1555538 h 1691232"/>
                <a:gd name="connsiteX64" fmla="*/ 1433986 w 1920955"/>
                <a:gd name="connsiteY64" fmla="*/ 1607926 h 1691232"/>
                <a:gd name="connsiteX65" fmla="*/ 1410174 w 1920955"/>
                <a:gd name="connsiteY65" fmla="*/ 1612688 h 1691232"/>
                <a:gd name="connsiteX66" fmla="*/ 1543524 w 1920955"/>
                <a:gd name="connsiteY66" fmla="*/ 1579351 h 1691232"/>
                <a:gd name="connsiteX67" fmla="*/ 1581624 w 1920955"/>
                <a:gd name="connsiteY67" fmla="*/ 1507913 h 1691232"/>
                <a:gd name="connsiteX68" fmla="*/ 1643536 w 1920955"/>
                <a:gd name="connsiteY68" fmla="*/ 1412663 h 1691232"/>
                <a:gd name="connsiteX69" fmla="*/ 1714974 w 1920955"/>
                <a:gd name="connsiteY69" fmla="*/ 1384088 h 1691232"/>
                <a:gd name="connsiteX70" fmla="*/ 1772124 w 1920955"/>
                <a:gd name="connsiteY70" fmla="*/ 1379326 h 1691232"/>
                <a:gd name="connsiteX71" fmla="*/ 1772124 w 1920955"/>
                <a:gd name="connsiteY71" fmla="*/ 1450763 h 1691232"/>
                <a:gd name="connsiteX72" fmla="*/ 1886424 w 1920955"/>
                <a:gd name="connsiteY72" fmla="*/ 1446001 h 1691232"/>
                <a:gd name="connsiteX73" fmla="*/ 1919761 w 1920955"/>
                <a:gd name="connsiteY73" fmla="*/ 1441238 h 1691232"/>
                <a:gd name="connsiteX74" fmla="*/ 1853086 w 1920955"/>
                <a:gd name="connsiteY74" fmla="*/ 1398376 h 1691232"/>
                <a:gd name="connsiteX75" fmla="*/ 1853086 w 1920955"/>
                <a:gd name="connsiteY75" fmla="*/ 1303126 h 1691232"/>
                <a:gd name="connsiteX76" fmla="*/ 1853086 w 1920955"/>
                <a:gd name="connsiteY76" fmla="*/ 1245976 h 1691232"/>
                <a:gd name="connsiteX77" fmla="*/ 1810224 w 1920955"/>
                <a:gd name="connsiteY77" fmla="*/ 1236451 h 1691232"/>
                <a:gd name="connsiteX78" fmla="*/ 1734024 w 1920955"/>
                <a:gd name="connsiteY78" fmla="*/ 1155488 h 1691232"/>
                <a:gd name="connsiteX79" fmla="*/ 1695924 w 1920955"/>
                <a:gd name="connsiteY79" fmla="*/ 974513 h 1691232"/>
                <a:gd name="connsiteX80" fmla="*/ 1643536 w 1920955"/>
                <a:gd name="connsiteY80" fmla="*/ 941176 h 1691232"/>
                <a:gd name="connsiteX81" fmla="*/ 1605436 w 1920955"/>
                <a:gd name="connsiteY81" fmla="*/ 884026 h 1691232"/>
                <a:gd name="connsiteX82" fmla="*/ 1557811 w 1920955"/>
                <a:gd name="connsiteY82" fmla="*/ 836401 h 1691232"/>
                <a:gd name="connsiteX83" fmla="*/ 1505424 w 1920955"/>
                <a:gd name="connsiteY83" fmla="*/ 817351 h 1691232"/>
                <a:gd name="connsiteX84" fmla="*/ 1453036 w 1920955"/>
                <a:gd name="connsiteY84" fmla="*/ 812588 h 1691232"/>
                <a:gd name="connsiteX85" fmla="*/ 1510186 w 1920955"/>
                <a:gd name="connsiteY85" fmla="*/ 779251 h 1691232"/>
                <a:gd name="connsiteX86" fmla="*/ 1476849 w 1920955"/>
                <a:gd name="connsiteY86" fmla="*/ 745913 h 1691232"/>
                <a:gd name="connsiteX87" fmla="*/ 1481611 w 1920955"/>
                <a:gd name="connsiteY87" fmla="*/ 722101 h 1691232"/>
                <a:gd name="connsiteX88" fmla="*/ 1572099 w 1920955"/>
                <a:gd name="connsiteY88" fmla="*/ 760201 h 1691232"/>
                <a:gd name="connsiteX89" fmla="*/ 1624486 w 1920955"/>
                <a:gd name="connsiteY89" fmla="*/ 693526 h 1691232"/>
                <a:gd name="connsiteX90" fmla="*/ 1614961 w 1920955"/>
                <a:gd name="connsiteY90" fmla="*/ 550651 h 1691232"/>
                <a:gd name="connsiteX91" fmla="*/ 1610199 w 1920955"/>
                <a:gd name="connsiteY91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311230 w 1920955"/>
                <a:gd name="connsiteY61" fmla="*/ 1681082 h 1691232"/>
                <a:gd name="connsiteX62" fmla="*/ 1348261 w 1920955"/>
                <a:gd name="connsiteY62" fmla="*/ 1626976 h 1691232"/>
                <a:gd name="connsiteX63" fmla="*/ 1414936 w 1920955"/>
                <a:gd name="connsiteY63" fmla="*/ 1555538 h 1691232"/>
                <a:gd name="connsiteX64" fmla="*/ 1433986 w 1920955"/>
                <a:gd name="connsiteY64" fmla="*/ 1607926 h 1691232"/>
                <a:gd name="connsiteX65" fmla="*/ 1410174 w 1920955"/>
                <a:gd name="connsiteY65" fmla="*/ 1612688 h 1691232"/>
                <a:gd name="connsiteX66" fmla="*/ 1543524 w 1920955"/>
                <a:gd name="connsiteY66" fmla="*/ 1579351 h 1691232"/>
                <a:gd name="connsiteX67" fmla="*/ 1581624 w 1920955"/>
                <a:gd name="connsiteY67" fmla="*/ 1507913 h 1691232"/>
                <a:gd name="connsiteX68" fmla="*/ 1643536 w 1920955"/>
                <a:gd name="connsiteY68" fmla="*/ 1412663 h 1691232"/>
                <a:gd name="connsiteX69" fmla="*/ 1714974 w 1920955"/>
                <a:gd name="connsiteY69" fmla="*/ 1384088 h 1691232"/>
                <a:gd name="connsiteX70" fmla="*/ 1772124 w 1920955"/>
                <a:gd name="connsiteY70" fmla="*/ 1379326 h 1691232"/>
                <a:gd name="connsiteX71" fmla="*/ 1772124 w 1920955"/>
                <a:gd name="connsiteY71" fmla="*/ 1450763 h 1691232"/>
                <a:gd name="connsiteX72" fmla="*/ 1886424 w 1920955"/>
                <a:gd name="connsiteY72" fmla="*/ 1446001 h 1691232"/>
                <a:gd name="connsiteX73" fmla="*/ 1919761 w 1920955"/>
                <a:gd name="connsiteY73" fmla="*/ 1441238 h 1691232"/>
                <a:gd name="connsiteX74" fmla="*/ 1853086 w 1920955"/>
                <a:gd name="connsiteY74" fmla="*/ 1398376 h 1691232"/>
                <a:gd name="connsiteX75" fmla="*/ 1853086 w 1920955"/>
                <a:gd name="connsiteY75" fmla="*/ 1303126 h 1691232"/>
                <a:gd name="connsiteX76" fmla="*/ 1853086 w 1920955"/>
                <a:gd name="connsiteY76" fmla="*/ 1245976 h 1691232"/>
                <a:gd name="connsiteX77" fmla="*/ 1810224 w 1920955"/>
                <a:gd name="connsiteY77" fmla="*/ 1236451 h 1691232"/>
                <a:gd name="connsiteX78" fmla="*/ 1734024 w 1920955"/>
                <a:gd name="connsiteY78" fmla="*/ 1155488 h 1691232"/>
                <a:gd name="connsiteX79" fmla="*/ 1695924 w 1920955"/>
                <a:gd name="connsiteY79" fmla="*/ 974513 h 1691232"/>
                <a:gd name="connsiteX80" fmla="*/ 1643536 w 1920955"/>
                <a:gd name="connsiteY80" fmla="*/ 941176 h 1691232"/>
                <a:gd name="connsiteX81" fmla="*/ 1605436 w 1920955"/>
                <a:gd name="connsiteY81" fmla="*/ 884026 h 1691232"/>
                <a:gd name="connsiteX82" fmla="*/ 1557811 w 1920955"/>
                <a:gd name="connsiteY82" fmla="*/ 836401 h 1691232"/>
                <a:gd name="connsiteX83" fmla="*/ 1505424 w 1920955"/>
                <a:gd name="connsiteY83" fmla="*/ 817351 h 1691232"/>
                <a:gd name="connsiteX84" fmla="*/ 1453036 w 1920955"/>
                <a:gd name="connsiteY84" fmla="*/ 812588 h 1691232"/>
                <a:gd name="connsiteX85" fmla="*/ 1510186 w 1920955"/>
                <a:gd name="connsiteY85" fmla="*/ 779251 h 1691232"/>
                <a:gd name="connsiteX86" fmla="*/ 1476849 w 1920955"/>
                <a:gd name="connsiteY86" fmla="*/ 745913 h 1691232"/>
                <a:gd name="connsiteX87" fmla="*/ 1481611 w 1920955"/>
                <a:gd name="connsiteY87" fmla="*/ 722101 h 1691232"/>
                <a:gd name="connsiteX88" fmla="*/ 1572099 w 1920955"/>
                <a:gd name="connsiteY88" fmla="*/ 760201 h 1691232"/>
                <a:gd name="connsiteX89" fmla="*/ 1624486 w 1920955"/>
                <a:gd name="connsiteY89" fmla="*/ 693526 h 1691232"/>
                <a:gd name="connsiteX90" fmla="*/ 1614961 w 1920955"/>
                <a:gd name="connsiteY90" fmla="*/ 550651 h 1691232"/>
                <a:gd name="connsiteX91" fmla="*/ 1610199 w 1920955"/>
                <a:gd name="connsiteY91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48261 w 1920955"/>
                <a:gd name="connsiteY63" fmla="*/ 1626976 h 1691232"/>
                <a:gd name="connsiteX64" fmla="*/ 1414936 w 1920955"/>
                <a:gd name="connsiteY64" fmla="*/ 1555538 h 1691232"/>
                <a:gd name="connsiteX65" fmla="*/ 1433986 w 1920955"/>
                <a:gd name="connsiteY65" fmla="*/ 1607926 h 1691232"/>
                <a:gd name="connsiteX66" fmla="*/ 1410174 w 1920955"/>
                <a:gd name="connsiteY66" fmla="*/ 1612688 h 1691232"/>
                <a:gd name="connsiteX67" fmla="*/ 1543524 w 1920955"/>
                <a:gd name="connsiteY67" fmla="*/ 1579351 h 1691232"/>
                <a:gd name="connsiteX68" fmla="*/ 1581624 w 1920955"/>
                <a:gd name="connsiteY68" fmla="*/ 1507913 h 1691232"/>
                <a:gd name="connsiteX69" fmla="*/ 1643536 w 1920955"/>
                <a:gd name="connsiteY69" fmla="*/ 1412663 h 1691232"/>
                <a:gd name="connsiteX70" fmla="*/ 1714974 w 1920955"/>
                <a:gd name="connsiteY70" fmla="*/ 1384088 h 1691232"/>
                <a:gd name="connsiteX71" fmla="*/ 1772124 w 1920955"/>
                <a:gd name="connsiteY71" fmla="*/ 1379326 h 1691232"/>
                <a:gd name="connsiteX72" fmla="*/ 1772124 w 1920955"/>
                <a:gd name="connsiteY72" fmla="*/ 1450763 h 1691232"/>
                <a:gd name="connsiteX73" fmla="*/ 1886424 w 1920955"/>
                <a:gd name="connsiteY73" fmla="*/ 1446001 h 1691232"/>
                <a:gd name="connsiteX74" fmla="*/ 1919761 w 1920955"/>
                <a:gd name="connsiteY74" fmla="*/ 1441238 h 1691232"/>
                <a:gd name="connsiteX75" fmla="*/ 1853086 w 1920955"/>
                <a:gd name="connsiteY75" fmla="*/ 1398376 h 1691232"/>
                <a:gd name="connsiteX76" fmla="*/ 1853086 w 1920955"/>
                <a:gd name="connsiteY76" fmla="*/ 1303126 h 1691232"/>
                <a:gd name="connsiteX77" fmla="*/ 1853086 w 1920955"/>
                <a:gd name="connsiteY77" fmla="*/ 1245976 h 1691232"/>
                <a:gd name="connsiteX78" fmla="*/ 1810224 w 1920955"/>
                <a:gd name="connsiteY78" fmla="*/ 1236451 h 1691232"/>
                <a:gd name="connsiteX79" fmla="*/ 1734024 w 1920955"/>
                <a:gd name="connsiteY79" fmla="*/ 1155488 h 1691232"/>
                <a:gd name="connsiteX80" fmla="*/ 1695924 w 1920955"/>
                <a:gd name="connsiteY80" fmla="*/ 974513 h 1691232"/>
                <a:gd name="connsiteX81" fmla="*/ 1643536 w 1920955"/>
                <a:gd name="connsiteY81" fmla="*/ 941176 h 1691232"/>
                <a:gd name="connsiteX82" fmla="*/ 1605436 w 1920955"/>
                <a:gd name="connsiteY82" fmla="*/ 884026 h 1691232"/>
                <a:gd name="connsiteX83" fmla="*/ 1557811 w 1920955"/>
                <a:gd name="connsiteY83" fmla="*/ 836401 h 1691232"/>
                <a:gd name="connsiteX84" fmla="*/ 1505424 w 1920955"/>
                <a:gd name="connsiteY84" fmla="*/ 817351 h 1691232"/>
                <a:gd name="connsiteX85" fmla="*/ 1453036 w 1920955"/>
                <a:gd name="connsiteY85" fmla="*/ 812588 h 1691232"/>
                <a:gd name="connsiteX86" fmla="*/ 1510186 w 1920955"/>
                <a:gd name="connsiteY86" fmla="*/ 779251 h 1691232"/>
                <a:gd name="connsiteX87" fmla="*/ 1476849 w 1920955"/>
                <a:gd name="connsiteY87" fmla="*/ 745913 h 1691232"/>
                <a:gd name="connsiteX88" fmla="*/ 1481611 w 1920955"/>
                <a:gd name="connsiteY88" fmla="*/ 722101 h 1691232"/>
                <a:gd name="connsiteX89" fmla="*/ 1572099 w 1920955"/>
                <a:gd name="connsiteY89" fmla="*/ 760201 h 1691232"/>
                <a:gd name="connsiteX90" fmla="*/ 1624486 w 1920955"/>
                <a:gd name="connsiteY90" fmla="*/ 693526 h 1691232"/>
                <a:gd name="connsiteX91" fmla="*/ 1614961 w 1920955"/>
                <a:gd name="connsiteY91" fmla="*/ 550651 h 1691232"/>
                <a:gd name="connsiteX92" fmla="*/ 1610199 w 1920955"/>
                <a:gd name="connsiteY92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4936 w 1920955"/>
                <a:gd name="connsiteY64" fmla="*/ 1555538 h 1691232"/>
                <a:gd name="connsiteX65" fmla="*/ 1433986 w 1920955"/>
                <a:gd name="connsiteY65" fmla="*/ 1607926 h 1691232"/>
                <a:gd name="connsiteX66" fmla="*/ 1410174 w 1920955"/>
                <a:gd name="connsiteY66" fmla="*/ 1612688 h 1691232"/>
                <a:gd name="connsiteX67" fmla="*/ 1543524 w 1920955"/>
                <a:gd name="connsiteY67" fmla="*/ 1579351 h 1691232"/>
                <a:gd name="connsiteX68" fmla="*/ 1581624 w 1920955"/>
                <a:gd name="connsiteY68" fmla="*/ 1507913 h 1691232"/>
                <a:gd name="connsiteX69" fmla="*/ 1643536 w 1920955"/>
                <a:gd name="connsiteY69" fmla="*/ 1412663 h 1691232"/>
                <a:gd name="connsiteX70" fmla="*/ 1714974 w 1920955"/>
                <a:gd name="connsiteY70" fmla="*/ 1384088 h 1691232"/>
                <a:gd name="connsiteX71" fmla="*/ 1772124 w 1920955"/>
                <a:gd name="connsiteY71" fmla="*/ 1379326 h 1691232"/>
                <a:gd name="connsiteX72" fmla="*/ 1772124 w 1920955"/>
                <a:gd name="connsiteY72" fmla="*/ 1450763 h 1691232"/>
                <a:gd name="connsiteX73" fmla="*/ 1886424 w 1920955"/>
                <a:gd name="connsiteY73" fmla="*/ 1446001 h 1691232"/>
                <a:gd name="connsiteX74" fmla="*/ 1919761 w 1920955"/>
                <a:gd name="connsiteY74" fmla="*/ 1441238 h 1691232"/>
                <a:gd name="connsiteX75" fmla="*/ 1853086 w 1920955"/>
                <a:gd name="connsiteY75" fmla="*/ 1398376 h 1691232"/>
                <a:gd name="connsiteX76" fmla="*/ 1853086 w 1920955"/>
                <a:gd name="connsiteY76" fmla="*/ 1303126 h 1691232"/>
                <a:gd name="connsiteX77" fmla="*/ 1853086 w 1920955"/>
                <a:gd name="connsiteY77" fmla="*/ 1245976 h 1691232"/>
                <a:gd name="connsiteX78" fmla="*/ 1810224 w 1920955"/>
                <a:gd name="connsiteY78" fmla="*/ 1236451 h 1691232"/>
                <a:gd name="connsiteX79" fmla="*/ 1734024 w 1920955"/>
                <a:gd name="connsiteY79" fmla="*/ 1155488 h 1691232"/>
                <a:gd name="connsiteX80" fmla="*/ 1695924 w 1920955"/>
                <a:gd name="connsiteY80" fmla="*/ 974513 h 1691232"/>
                <a:gd name="connsiteX81" fmla="*/ 1643536 w 1920955"/>
                <a:gd name="connsiteY81" fmla="*/ 941176 h 1691232"/>
                <a:gd name="connsiteX82" fmla="*/ 1605436 w 1920955"/>
                <a:gd name="connsiteY82" fmla="*/ 884026 h 1691232"/>
                <a:gd name="connsiteX83" fmla="*/ 1557811 w 1920955"/>
                <a:gd name="connsiteY83" fmla="*/ 836401 h 1691232"/>
                <a:gd name="connsiteX84" fmla="*/ 1505424 w 1920955"/>
                <a:gd name="connsiteY84" fmla="*/ 817351 h 1691232"/>
                <a:gd name="connsiteX85" fmla="*/ 1453036 w 1920955"/>
                <a:gd name="connsiteY85" fmla="*/ 812588 h 1691232"/>
                <a:gd name="connsiteX86" fmla="*/ 1510186 w 1920955"/>
                <a:gd name="connsiteY86" fmla="*/ 779251 h 1691232"/>
                <a:gd name="connsiteX87" fmla="*/ 1476849 w 1920955"/>
                <a:gd name="connsiteY87" fmla="*/ 745913 h 1691232"/>
                <a:gd name="connsiteX88" fmla="*/ 1481611 w 1920955"/>
                <a:gd name="connsiteY88" fmla="*/ 722101 h 1691232"/>
                <a:gd name="connsiteX89" fmla="*/ 1572099 w 1920955"/>
                <a:gd name="connsiteY89" fmla="*/ 760201 h 1691232"/>
                <a:gd name="connsiteX90" fmla="*/ 1624486 w 1920955"/>
                <a:gd name="connsiteY90" fmla="*/ 693526 h 1691232"/>
                <a:gd name="connsiteX91" fmla="*/ 1614961 w 1920955"/>
                <a:gd name="connsiteY91" fmla="*/ 550651 h 1691232"/>
                <a:gd name="connsiteX92" fmla="*/ 1610199 w 1920955"/>
                <a:gd name="connsiteY92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4936 w 1920955"/>
                <a:gd name="connsiteY64" fmla="*/ 1555538 h 1691232"/>
                <a:gd name="connsiteX65" fmla="*/ 1468155 w 1920955"/>
                <a:gd name="connsiteY65" fmla="*/ 1595161 h 1691232"/>
                <a:gd name="connsiteX66" fmla="*/ 1410174 w 1920955"/>
                <a:gd name="connsiteY66" fmla="*/ 1612688 h 1691232"/>
                <a:gd name="connsiteX67" fmla="*/ 1543524 w 1920955"/>
                <a:gd name="connsiteY67" fmla="*/ 1579351 h 1691232"/>
                <a:gd name="connsiteX68" fmla="*/ 1581624 w 1920955"/>
                <a:gd name="connsiteY68" fmla="*/ 1507913 h 1691232"/>
                <a:gd name="connsiteX69" fmla="*/ 1643536 w 1920955"/>
                <a:gd name="connsiteY69" fmla="*/ 1412663 h 1691232"/>
                <a:gd name="connsiteX70" fmla="*/ 1714974 w 1920955"/>
                <a:gd name="connsiteY70" fmla="*/ 1384088 h 1691232"/>
                <a:gd name="connsiteX71" fmla="*/ 1772124 w 1920955"/>
                <a:gd name="connsiteY71" fmla="*/ 1379326 h 1691232"/>
                <a:gd name="connsiteX72" fmla="*/ 1772124 w 1920955"/>
                <a:gd name="connsiteY72" fmla="*/ 1450763 h 1691232"/>
                <a:gd name="connsiteX73" fmla="*/ 1886424 w 1920955"/>
                <a:gd name="connsiteY73" fmla="*/ 1446001 h 1691232"/>
                <a:gd name="connsiteX74" fmla="*/ 1919761 w 1920955"/>
                <a:gd name="connsiteY74" fmla="*/ 1441238 h 1691232"/>
                <a:gd name="connsiteX75" fmla="*/ 1853086 w 1920955"/>
                <a:gd name="connsiteY75" fmla="*/ 1398376 h 1691232"/>
                <a:gd name="connsiteX76" fmla="*/ 1853086 w 1920955"/>
                <a:gd name="connsiteY76" fmla="*/ 1303126 h 1691232"/>
                <a:gd name="connsiteX77" fmla="*/ 1853086 w 1920955"/>
                <a:gd name="connsiteY77" fmla="*/ 1245976 h 1691232"/>
                <a:gd name="connsiteX78" fmla="*/ 1810224 w 1920955"/>
                <a:gd name="connsiteY78" fmla="*/ 1236451 h 1691232"/>
                <a:gd name="connsiteX79" fmla="*/ 1734024 w 1920955"/>
                <a:gd name="connsiteY79" fmla="*/ 1155488 h 1691232"/>
                <a:gd name="connsiteX80" fmla="*/ 1695924 w 1920955"/>
                <a:gd name="connsiteY80" fmla="*/ 974513 h 1691232"/>
                <a:gd name="connsiteX81" fmla="*/ 1643536 w 1920955"/>
                <a:gd name="connsiteY81" fmla="*/ 941176 h 1691232"/>
                <a:gd name="connsiteX82" fmla="*/ 1605436 w 1920955"/>
                <a:gd name="connsiteY82" fmla="*/ 884026 h 1691232"/>
                <a:gd name="connsiteX83" fmla="*/ 1557811 w 1920955"/>
                <a:gd name="connsiteY83" fmla="*/ 836401 h 1691232"/>
                <a:gd name="connsiteX84" fmla="*/ 1505424 w 1920955"/>
                <a:gd name="connsiteY84" fmla="*/ 817351 h 1691232"/>
                <a:gd name="connsiteX85" fmla="*/ 1453036 w 1920955"/>
                <a:gd name="connsiteY85" fmla="*/ 812588 h 1691232"/>
                <a:gd name="connsiteX86" fmla="*/ 1510186 w 1920955"/>
                <a:gd name="connsiteY86" fmla="*/ 779251 h 1691232"/>
                <a:gd name="connsiteX87" fmla="*/ 1476849 w 1920955"/>
                <a:gd name="connsiteY87" fmla="*/ 745913 h 1691232"/>
                <a:gd name="connsiteX88" fmla="*/ 1481611 w 1920955"/>
                <a:gd name="connsiteY88" fmla="*/ 722101 h 1691232"/>
                <a:gd name="connsiteX89" fmla="*/ 1572099 w 1920955"/>
                <a:gd name="connsiteY89" fmla="*/ 760201 h 1691232"/>
                <a:gd name="connsiteX90" fmla="*/ 1624486 w 1920955"/>
                <a:gd name="connsiteY90" fmla="*/ 693526 h 1691232"/>
                <a:gd name="connsiteX91" fmla="*/ 1614961 w 1920955"/>
                <a:gd name="connsiteY91" fmla="*/ 550651 h 1691232"/>
                <a:gd name="connsiteX92" fmla="*/ 1610199 w 1920955"/>
                <a:gd name="connsiteY92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4936 w 1920955"/>
                <a:gd name="connsiteY64" fmla="*/ 1555538 h 1691232"/>
                <a:gd name="connsiteX65" fmla="*/ 1438868 w 1920955"/>
                <a:gd name="connsiteY65" fmla="*/ 1595161 h 1691232"/>
                <a:gd name="connsiteX66" fmla="*/ 1410174 w 1920955"/>
                <a:gd name="connsiteY66" fmla="*/ 1612688 h 1691232"/>
                <a:gd name="connsiteX67" fmla="*/ 1543524 w 1920955"/>
                <a:gd name="connsiteY67" fmla="*/ 1579351 h 1691232"/>
                <a:gd name="connsiteX68" fmla="*/ 1581624 w 1920955"/>
                <a:gd name="connsiteY68" fmla="*/ 1507913 h 1691232"/>
                <a:gd name="connsiteX69" fmla="*/ 1643536 w 1920955"/>
                <a:gd name="connsiteY69" fmla="*/ 1412663 h 1691232"/>
                <a:gd name="connsiteX70" fmla="*/ 1714974 w 1920955"/>
                <a:gd name="connsiteY70" fmla="*/ 1384088 h 1691232"/>
                <a:gd name="connsiteX71" fmla="*/ 1772124 w 1920955"/>
                <a:gd name="connsiteY71" fmla="*/ 1379326 h 1691232"/>
                <a:gd name="connsiteX72" fmla="*/ 1772124 w 1920955"/>
                <a:gd name="connsiteY72" fmla="*/ 1450763 h 1691232"/>
                <a:gd name="connsiteX73" fmla="*/ 1886424 w 1920955"/>
                <a:gd name="connsiteY73" fmla="*/ 1446001 h 1691232"/>
                <a:gd name="connsiteX74" fmla="*/ 1919761 w 1920955"/>
                <a:gd name="connsiteY74" fmla="*/ 1441238 h 1691232"/>
                <a:gd name="connsiteX75" fmla="*/ 1853086 w 1920955"/>
                <a:gd name="connsiteY75" fmla="*/ 1398376 h 1691232"/>
                <a:gd name="connsiteX76" fmla="*/ 1853086 w 1920955"/>
                <a:gd name="connsiteY76" fmla="*/ 1303126 h 1691232"/>
                <a:gd name="connsiteX77" fmla="*/ 1853086 w 1920955"/>
                <a:gd name="connsiteY77" fmla="*/ 1245976 h 1691232"/>
                <a:gd name="connsiteX78" fmla="*/ 1810224 w 1920955"/>
                <a:gd name="connsiteY78" fmla="*/ 1236451 h 1691232"/>
                <a:gd name="connsiteX79" fmla="*/ 1734024 w 1920955"/>
                <a:gd name="connsiteY79" fmla="*/ 1155488 h 1691232"/>
                <a:gd name="connsiteX80" fmla="*/ 1695924 w 1920955"/>
                <a:gd name="connsiteY80" fmla="*/ 974513 h 1691232"/>
                <a:gd name="connsiteX81" fmla="*/ 1643536 w 1920955"/>
                <a:gd name="connsiteY81" fmla="*/ 941176 h 1691232"/>
                <a:gd name="connsiteX82" fmla="*/ 1605436 w 1920955"/>
                <a:gd name="connsiteY82" fmla="*/ 884026 h 1691232"/>
                <a:gd name="connsiteX83" fmla="*/ 1557811 w 1920955"/>
                <a:gd name="connsiteY83" fmla="*/ 836401 h 1691232"/>
                <a:gd name="connsiteX84" fmla="*/ 1505424 w 1920955"/>
                <a:gd name="connsiteY84" fmla="*/ 817351 h 1691232"/>
                <a:gd name="connsiteX85" fmla="*/ 1453036 w 1920955"/>
                <a:gd name="connsiteY85" fmla="*/ 812588 h 1691232"/>
                <a:gd name="connsiteX86" fmla="*/ 1510186 w 1920955"/>
                <a:gd name="connsiteY86" fmla="*/ 779251 h 1691232"/>
                <a:gd name="connsiteX87" fmla="*/ 1476849 w 1920955"/>
                <a:gd name="connsiteY87" fmla="*/ 745913 h 1691232"/>
                <a:gd name="connsiteX88" fmla="*/ 1481611 w 1920955"/>
                <a:gd name="connsiteY88" fmla="*/ 722101 h 1691232"/>
                <a:gd name="connsiteX89" fmla="*/ 1572099 w 1920955"/>
                <a:gd name="connsiteY89" fmla="*/ 760201 h 1691232"/>
                <a:gd name="connsiteX90" fmla="*/ 1624486 w 1920955"/>
                <a:gd name="connsiteY90" fmla="*/ 693526 h 1691232"/>
                <a:gd name="connsiteX91" fmla="*/ 1614961 w 1920955"/>
                <a:gd name="connsiteY91" fmla="*/ 550651 h 1691232"/>
                <a:gd name="connsiteX92" fmla="*/ 1610199 w 1920955"/>
                <a:gd name="connsiteY92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4936 w 1920955"/>
                <a:gd name="connsiteY64" fmla="*/ 1555538 h 1691232"/>
                <a:gd name="connsiteX65" fmla="*/ 1475477 w 1920955"/>
                <a:gd name="connsiteY65" fmla="*/ 1541547 h 1691232"/>
                <a:gd name="connsiteX66" fmla="*/ 1410174 w 1920955"/>
                <a:gd name="connsiteY66" fmla="*/ 1612688 h 1691232"/>
                <a:gd name="connsiteX67" fmla="*/ 1543524 w 1920955"/>
                <a:gd name="connsiteY67" fmla="*/ 1579351 h 1691232"/>
                <a:gd name="connsiteX68" fmla="*/ 1581624 w 1920955"/>
                <a:gd name="connsiteY68" fmla="*/ 1507913 h 1691232"/>
                <a:gd name="connsiteX69" fmla="*/ 1643536 w 1920955"/>
                <a:gd name="connsiteY69" fmla="*/ 1412663 h 1691232"/>
                <a:gd name="connsiteX70" fmla="*/ 1714974 w 1920955"/>
                <a:gd name="connsiteY70" fmla="*/ 1384088 h 1691232"/>
                <a:gd name="connsiteX71" fmla="*/ 1772124 w 1920955"/>
                <a:gd name="connsiteY71" fmla="*/ 1379326 h 1691232"/>
                <a:gd name="connsiteX72" fmla="*/ 1772124 w 1920955"/>
                <a:gd name="connsiteY72" fmla="*/ 1450763 h 1691232"/>
                <a:gd name="connsiteX73" fmla="*/ 1886424 w 1920955"/>
                <a:gd name="connsiteY73" fmla="*/ 1446001 h 1691232"/>
                <a:gd name="connsiteX74" fmla="*/ 1919761 w 1920955"/>
                <a:gd name="connsiteY74" fmla="*/ 1441238 h 1691232"/>
                <a:gd name="connsiteX75" fmla="*/ 1853086 w 1920955"/>
                <a:gd name="connsiteY75" fmla="*/ 1398376 h 1691232"/>
                <a:gd name="connsiteX76" fmla="*/ 1853086 w 1920955"/>
                <a:gd name="connsiteY76" fmla="*/ 1303126 h 1691232"/>
                <a:gd name="connsiteX77" fmla="*/ 1853086 w 1920955"/>
                <a:gd name="connsiteY77" fmla="*/ 1245976 h 1691232"/>
                <a:gd name="connsiteX78" fmla="*/ 1810224 w 1920955"/>
                <a:gd name="connsiteY78" fmla="*/ 1236451 h 1691232"/>
                <a:gd name="connsiteX79" fmla="*/ 1734024 w 1920955"/>
                <a:gd name="connsiteY79" fmla="*/ 1155488 h 1691232"/>
                <a:gd name="connsiteX80" fmla="*/ 1695924 w 1920955"/>
                <a:gd name="connsiteY80" fmla="*/ 974513 h 1691232"/>
                <a:gd name="connsiteX81" fmla="*/ 1643536 w 1920955"/>
                <a:gd name="connsiteY81" fmla="*/ 941176 h 1691232"/>
                <a:gd name="connsiteX82" fmla="*/ 1605436 w 1920955"/>
                <a:gd name="connsiteY82" fmla="*/ 884026 h 1691232"/>
                <a:gd name="connsiteX83" fmla="*/ 1557811 w 1920955"/>
                <a:gd name="connsiteY83" fmla="*/ 836401 h 1691232"/>
                <a:gd name="connsiteX84" fmla="*/ 1505424 w 1920955"/>
                <a:gd name="connsiteY84" fmla="*/ 817351 h 1691232"/>
                <a:gd name="connsiteX85" fmla="*/ 1453036 w 1920955"/>
                <a:gd name="connsiteY85" fmla="*/ 812588 h 1691232"/>
                <a:gd name="connsiteX86" fmla="*/ 1510186 w 1920955"/>
                <a:gd name="connsiteY86" fmla="*/ 779251 h 1691232"/>
                <a:gd name="connsiteX87" fmla="*/ 1476849 w 1920955"/>
                <a:gd name="connsiteY87" fmla="*/ 745913 h 1691232"/>
                <a:gd name="connsiteX88" fmla="*/ 1481611 w 1920955"/>
                <a:gd name="connsiteY88" fmla="*/ 722101 h 1691232"/>
                <a:gd name="connsiteX89" fmla="*/ 1572099 w 1920955"/>
                <a:gd name="connsiteY89" fmla="*/ 760201 h 1691232"/>
                <a:gd name="connsiteX90" fmla="*/ 1624486 w 1920955"/>
                <a:gd name="connsiteY90" fmla="*/ 693526 h 1691232"/>
                <a:gd name="connsiteX91" fmla="*/ 1614961 w 1920955"/>
                <a:gd name="connsiteY91" fmla="*/ 550651 h 1691232"/>
                <a:gd name="connsiteX92" fmla="*/ 1610199 w 1920955"/>
                <a:gd name="connsiteY92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4936 w 1920955"/>
                <a:gd name="connsiteY64" fmla="*/ 1555538 h 1691232"/>
                <a:gd name="connsiteX65" fmla="*/ 1475477 w 1920955"/>
                <a:gd name="connsiteY65" fmla="*/ 1541547 h 1691232"/>
                <a:gd name="connsiteX66" fmla="*/ 1476071 w 1920955"/>
                <a:gd name="connsiteY66" fmla="*/ 1622900 h 1691232"/>
                <a:gd name="connsiteX67" fmla="*/ 1543524 w 1920955"/>
                <a:gd name="connsiteY67" fmla="*/ 1579351 h 1691232"/>
                <a:gd name="connsiteX68" fmla="*/ 1581624 w 1920955"/>
                <a:gd name="connsiteY68" fmla="*/ 1507913 h 1691232"/>
                <a:gd name="connsiteX69" fmla="*/ 1643536 w 1920955"/>
                <a:gd name="connsiteY69" fmla="*/ 1412663 h 1691232"/>
                <a:gd name="connsiteX70" fmla="*/ 1714974 w 1920955"/>
                <a:gd name="connsiteY70" fmla="*/ 1384088 h 1691232"/>
                <a:gd name="connsiteX71" fmla="*/ 1772124 w 1920955"/>
                <a:gd name="connsiteY71" fmla="*/ 1379326 h 1691232"/>
                <a:gd name="connsiteX72" fmla="*/ 1772124 w 1920955"/>
                <a:gd name="connsiteY72" fmla="*/ 1450763 h 1691232"/>
                <a:gd name="connsiteX73" fmla="*/ 1886424 w 1920955"/>
                <a:gd name="connsiteY73" fmla="*/ 1446001 h 1691232"/>
                <a:gd name="connsiteX74" fmla="*/ 1919761 w 1920955"/>
                <a:gd name="connsiteY74" fmla="*/ 1441238 h 1691232"/>
                <a:gd name="connsiteX75" fmla="*/ 1853086 w 1920955"/>
                <a:gd name="connsiteY75" fmla="*/ 1398376 h 1691232"/>
                <a:gd name="connsiteX76" fmla="*/ 1853086 w 1920955"/>
                <a:gd name="connsiteY76" fmla="*/ 1303126 h 1691232"/>
                <a:gd name="connsiteX77" fmla="*/ 1853086 w 1920955"/>
                <a:gd name="connsiteY77" fmla="*/ 1245976 h 1691232"/>
                <a:gd name="connsiteX78" fmla="*/ 1810224 w 1920955"/>
                <a:gd name="connsiteY78" fmla="*/ 1236451 h 1691232"/>
                <a:gd name="connsiteX79" fmla="*/ 1734024 w 1920955"/>
                <a:gd name="connsiteY79" fmla="*/ 1155488 h 1691232"/>
                <a:gd name="connsiteX80" fmla="*/ 1695924 w 1920955"/>
                <a:gd name="connsiteY80" fmla="*/ 974513 h 1691232"/>
                <a:gd name="connsiteX81" fmla="*/ 1643536 w 1920955"/>
                <a:gd name="connsiteY81" fmla="*/ 941176 h 1691232"/>
                <a:gd name="connsiteX82" fmla="*/ 1605436 w 1920955"/>
                <a:gd name="connsiteY82" fmla="*/ 884026 h 1691232"/>
                <a:gd name="connsiteX83" fmla="*/ 1557811 w 1920955"/>
                <a:gd name="connsiteY83" fmla="*/ 836401 h 1691232"/>
                <a:gd name="connsiteX84" fmla="*/ 1505424 w 1920955"/>
                <a:gd name="connsiteY84" fmla="*/ 817351 h 1691232"/>
                <a:gd name="connsiteX85" fmla="*/ 1453036 w 1920955"/>
                <a:gd name="connsiteY85" fmla="*/ 812588 h 1691232"/>
                <a:gd name="connsiteX86" fmla="*/ 1510186 w 1920955"/>
                <a:gd name="connsiteY86" fmla="*/ 779251 h 1691232"/>
                <a:gd name="connsiteX87" fmla="*/ 1476849 w 1920955"/>
                <a:gd name="connsiteY87" fmla="*/ 745913 h 1691232"/>
                <a:gd name="connsiteX88" fmla="*/ 1481611 w 1920955"/>
                <a:gd name="connsiteY88" fmla="*/ 722101 h 1691232"/>
                <a:gd name="connsiteX89" fmla="*/ 1572099 w 1920955"/>
                <a:gd name="connsiteY89" fmla="*/ 760201 h 1691232"/>
                <a:gd name="connsiteX90" fmla="*/ 1624486 w 1920955"/>
                <a:gd name="connsiteY90" fmla="*/ 693526 h 1691232"/>
                <a:gd name="connsiteX91" fmla="*/ 1614961 w 1920955"/>
                <a:gd name="connsiteY91" fmla="*/ 550651 h 1691232"/>
                <a:gd name="connsiteX92" fmla="*/ 1610199 w 1920955"/>
                <a:gd name="connsiteY92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9818 w 1920955"/>
                <a:gd name="connsiteY64" fmla="*/ 1601492 h 1691232"/>
                <a:gd name="connsiteX65" fmla="*/ 1475477 w 1920955"/>
                <a:gd name="connsiteY65" fmla="*/ 1541547 h 1691232"/>
                <a:gd name="connsiteX66" fmla="*/ 1476071 w 1920955"/>
                <a:gd name="connsiteY66" fmla="*/ 1622900 h 1691232"/>
                <a:gd name="connsiteX67" fmla="*/ 1543524 w 1920955"/>
                <a:gd name="connsiteY67" fmla="*/ 1579351 h 1691232"/>
                <a:gd name="connsiteX68" fmla="*/ 1581624 w 1920955"/>
                <a:gd name="connsiteY68" fmla="*/ 1507913 h 1691232"/>
                <a:gd name="connsiteX69" fmla="*/ 1643536 w 1920955"/>
                <a:gd name="connsiteY69" fmla="*/ 1412663 h 1691232"/>
                <a:gd name="connsiteX70" fmla="*/ 1714974 w 1920955"/>
                <a:gd name="connsiteY70" fmla="*/ 1384088 h 1691232"/>
                <a:gd name="connsiteX71" fmla="*/ 1772124 w 1920955"/>
                <a:gd name="connsiteY71" fmla="*/ 1379326 h 1691232"/>
                <a:gd name="connsiteX72" fmla="*/ 1772124 w 1920955"/>
                <a:gd name="connsiteY72" fmla="*/ 1450763 h 1691232"/>
                <a:gd name="connsiteX73" fmla="*/ 1886424 w 1920955"/>
                <a:gd name="connsiteY73" fmla="*/ 1446001 h 1691232"/>
                <a:gd name="connsiteX74" fmla="*/ 1919761 w 1920955"/>
                <a:gd name="connsiteY74" fmla="*/ 1441238 h 1691232"/>
                <a:gd name="connsiteX75" fmla="*/ 1853086 w 1920955"/>
                <a:gd name="connsiteY75" fmla="*/ 1398376 h 1691232"/>
                <a:gd name="connsiteX76" fmla="*/ 1853086 w 1920955"/>
                <a:gd name="connsiteY76" fmla="*/ 1303126 h 1691232"/>
                <a:gd name="connsiteX77" fmla="*/ 1853086 w 1920955"/>
                <a:gd name="connsiteY77" fmla="*/ 1245976 h 1691232"/>
                <a:gd name="connsiteX78" fmla="*/ 1810224 w 1920955"/>
                <a:gd name="connsiteY78" fmla="*/ 1236451 h 1691232"/>
                <a:gd name="connsiteX79" fmla="*/ 1734024 w 1920955"/>
                <a:gd name="connsiteY79" fmla="*/ 1155488 h 1691232"/>
                <a:gd name="connsiteX80" fmla="*/ 1695924 w 1920955"/>
                <a:gd name="connsiteY80" fmla="*/ 974513 h 1691232"/>
                <a:gd name="connsiteX81" fmla="*/ 1643536 w 1920955"/>
                <a:gd name="connsiteY81" fmla="*/ 941176 h 1691232"/>
                <a:gd name="connsiteX82" fmla="*/ 1605436 w 1920955"/>
                <a:gd name="connsiteY82" fmla="*/ 884026 h 1691232"/>
                <a:gd name="connsiteX83" fmla="*/ 1557811 w 1920955"/>
                <a:gd name="connsiteY83" fmla="*/ 836401 h 1691232"/>
                <a:gd name="connsiteX84" fmla="*/ 1505424 w 1920955"/>
                <a:gd name="connsiteY84" fmla="*/ 817351 h 1691232"/>
                <a:gd name="connsiteX85" fmla="*/ 1453036 w 1920955"/>
                <a:gd name="connsiteY85" fmla="*/ 812588 h 1691232"/>
                <a:gd name="connsiteX86" fmla="*/ 1510186 w 1920955"/>
                <a:gd name="connsiteY86" fmla="*/ 779251 h 1691232"/>
                <a:gd name="connsiteX87" fmla="*/ 1476849 w 1920955"/>
                <a:gd name="connsiteY87" fmla="*/ 745913 h 1691232"/>
                <a:gd name="connsiteX88" fmla="*/ 1481611 w 1920955"/>
                <a:gd name="connsiteY88" fmla="*/ 722101 h 1691232"/>
                <a:gd name="connsiteX89" fmla="*/ 1572099 w 1920955"/>
                <a:gd name="connsiteY89" fmla="*/ 760201 h 1691232"/>
                <a:gd name="connsiteX90" fmla="*/ 1624486 w 1920955"/>
                <a:gd name="connsiteY90" fmla="*/ 693526 h 1691232"/>
                <a:gd name="connsiteX91" fmla="*/ 1614961 w 1920955"/>
                <a:gd name="connsiteY91" fmla="*/ 550651 h 1691232"/>
                <a:gd name="connsiteX92" fmla="*/ 1610199 w 1920955"/>
                <a:gd name="connsiteY92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9818 w 1920955"/>
                <a:gd name="connsiteY64" fmla="*/ 1601492 h 1691232"/>
                <a:gd name="connsiteX65" fmla="*/ 1475477 w 1920955"/>
                <a:gd name="connsiteY65" fmla="*/ 1541547 h 1691232"/>
                <a:gd name="connsiteX66" fmla="*/ 1505358 w 1920955"/>
                <a:gd name="connsiteY66" fmla="*/ 1648431 h 1691232"/>
                <a:gd name="connsiteX67" fmla="*/ 1543524 w 1920955"/>
                <a:gd name="connsiteY67" fmla="*/ 1579351 h 1691232"/>
                <a:gd name="connsiteX68" fmla="*/ 1581624 w 1920955"/>
                <a:gd name="connsiteY68" fmla="*/ 1507913 h 1691232"/>
                <a:gd name="connsiteX69" fmla="*/ 1643536 w 1920955"/>
                <a:gd name="connsiteY69" fmla="*/ 1412663 h 1691232"/>
                <a:gd name="connsiteX70" fmla="*/ 1714974 w 1920955"/>
                <a:gd name="connsiteY70" fmla="*/ 1384088 h 1691232"/>
                <a:gd name="connsiteX71" fmla="*/ 1772124 w 1920955"/>
                <a:gd name="connsiteY71" fmla="*/ 1379326 h 1691232"/>
                <a:gd name="connsiteX72" fmla="*/ 1772124 w 1920955"/>
                <a:gd name="connsiteY72" fmla="*/ 1450763 h 1691232"/>
                <a:gd name="connsiteX73" fmla="*/ 1886424 w 1920955"/>
                <a:gd name="connsiteY73" fmla="*/ 1446001 h 1691232"/>
                <a:gd name="connsiteX74" fmla="*/ 1919761 w 1920955"/>
                <a:gd name="connsiteY74" fmla="*/ 1441238 h 1691232"/>
                <a:gd name="connsiteX75" fmla="*/ 1853086 w 1920955"/>
                <a:gd name="connsiteY75" fmla="*/ 1398376 h 1691232"/>
                <a:gd name="connsiteX76" fmla="*/ 1853086 w 1920955"/>
                <a:gd name="connsiteY76" fmla="*/ 1303126 h 1691232"/>
                <a:gd name="connsiteX77" fmla="*/ 1853086 w 1920955"/>
                <a:gd name="connsiteY77" fmla="*/ 1245976 h 1691232"/>
                <a:gd name="connsiteX78" fmla="*/ 1810224 w 1920955"/>
                <a:gd name="connsiteY78" fmla="*/ 1236451 h 1691232"/>
                <a:gd name="connsiteX79" fmla="*/ 1734024 w 1920955"/>
                <a:gd name="connsiteY79" fmla="*/ 1155488 h 1691232"/>
                <a:gd name="connsiteX80" fmla="*/ 1695924 w 1920955"/>
                <a:gd name="connsiteY80" fmla="*/ 974513 h 1691232"/>
                <a:gd name="connsiteX81" fmla="*/ 1643536 w 1920955"/>
                <a:gd name="connsiteY81" fmla="*/ 941176 h 1691232"/>
                <a:gd name="connsiteX82" fmla="*/ 1605436 w 1920955"/>
                <a:gd name="connsiteY82" fmla="*/ 884026 h 1691232"/>
                <a:gd name="connsiteX83" fmla="*/ 1557811 w 1920955"/>
                <a:gd name="connsiteY83" fmla="*/ 836401 h 1691232"/>
                <a:gd name="connsiteX84" fmla="*/ 1505424 w 1920955"/>
                <a:gd name="connsiteY84" fmla="*/ 817351 h 1691232"/>
                <a:gd name="connsiteX85" fmla="*/ 1453036 w 1920955"/>
                <a:gd name="connsiteY85" fmla="*/ 812588 h 1691232"/>
                <a:gd name="connsiteX86" fmla="*/ 1510186 w 1920955"/>
                <a:gd name="connsiteY86" fmla="*/ 779251 h 1691232"/>
                <a:gd name="connsiteX87" fmla="*/ 1476849 w 1920955"/>
                <a:gd name="connsiteY87" fmla="*/ 745913 h 1691232"/>
                <a:gd name="connsiteX88" fmla="*/ 1481611 w 1920955"/>
                <a:gd name="connsiteY88" fmla="*/ 722101 h 1691232"/>
                <a:gd name="connsiteX89" fmla="*/ 1572099 w 1920955"/>
                <a:gd name="connsiteY89" fmla="*/ 760201 h 1691232"/>
                <a:gd name="connsiteX90" fmla="*/ 1624486 w 1920955"/>
                <a:gd name="connsiteY90" fmla="*/ 693526 h 1691232"/>
                <a:gd name="connsiteX91" fmla="*/ 1614961 w 1920955"/>
                <a:gd name="connsiteY91" fmla="*/ 550651 h 1691232"/>
                <a:gd name="connsiteX92" fmla="*/ 1610199 w 1920955"/>
                <a:gd name="connsiteY92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9818 w 1920955"/>
                <a:gd name="connsiteY64" fmla="*/ 1601492 h 1691232"/>
                <a:gd name="connsiteX65" fmla="*/ 1475477 w 1920955"/>
                <a:gd name="connsiteY65" fmla="*/ 1541547 h 1691232"/>
                <a:gd name="connsiteX66" fmla="*/ 1488274 w 1920955"/>
                <a:gd name="connsiteY66" fmla="*/ 1640771 h 1691232"/>
                <a:gd name="connsiteX67" fmla="*/ 1543524 w 1920955"/>
                <a:gd name="connsiteY67" fmla="*/ 1579351 h 1691232"/>
                <a:gd name="connsiteX68" fmla="*/ 1581624 w 1920955"/>
                <a:gd name="connsiteY68" fmla="*/ 1507913 h 1691232"/>
                <a:gd name="connsiteX69" fmla="*/ 1643536 w 1920955"/>
                <a:gd name="connsiteY69" fmla="*/ 1412663 h 1691232"/>
                <a:gd name="connsiteX70" fmla="*/ 1714974 w 1920955"/>
                <a:gd name="connsiteY70" fmla="*/ 1384088 h 1691232"/>
                <a:gd name="connsiteX71" fmla="*/ 1772124 w 1920955"/>
                <a:gd name="connsiteY71" fmla="*/ 1379326 h 1691232"/>
                <a:gd name="connsiteX72" fmla="*/ 1772124 w 1920955"/>
                <a:gd name="connsiteY72" fmla="*/ 1450763 h 1691232"/>
                <a:gd name="connsiteX73" fmla="*/ 1886424 w 1920955"/>
                <a:gd name="connsiteY73" fmla="*/ 1446001 h 1691232"/>
                <a:gd name="connsiteX74" fmla="*/ 1919761 w 1920955"/>
                <a:gd name="connsiteY74" fmla="*/ 1441238 h 1691232"/>
                <a:gd name="connsiteX75" fmla="*/ 1853086 w 1920955"/>
                <a:gd name="connsiteY75" fmla="*/ 1398376 h 1691232"/>
                <a:gd name="connsiteX76" fmla="*/ 1853086 w 1920955"/>
                <a:gd name="connsiteY76" fmla="*/ 1303126 h 1691232"/>
                <a:gd name="connsiteX77" fmla="*/ 1853086 w 1920955"/>
                <a:gd name="connsiteY77" fmla="*/ 1245976 h 1691232"/>
                <a:gd name="connsiteX78" fmla="*/ 1810224 w 1920955"/>
                <a:gd name="connsiteY78" fmla="*/ 1236451 h 1691232"/>
                <a:gd name="connsiteX79" fmla="*/ 1734024 w 1920955"/>
                <a:gd name="connsiteY79" fmla="*/ 1155488 h 1691232"/>
                <a:gd name="connsiteX80" fmla="*/ 1695924 w 1920955"/>
                <a:gd name="connsiteY80" fmla="*/ 974513 h 1691232"/>
                <a:gd name="connsiteX81" fmla="*/ 1643536 w 1920955"/>
                <a:gd name="connsiteY81" fmla="*/ 941176 h 1691232"/>
                <a:gd name="connsiteX82" fmla="*/ 1605436 w 1920955"/>
                <a:gd name="connsiteY82" fmla="*/ 884026 h 1691232"/>
                <a:gd name="connsiteX83" fmla="*/ 1557811 w 1920955"/>
                <a:gd name="connsiteY83" fmla="*/ 836401 h 1691232"/>
                <a:gd name="connsiteX84" fmla="*/ 1505424 w 1920955"/>
                <a:gd name="connsiteY84" fmla="*/ 817351 h 1691232"/>
                <a:gd name="connsiteX85" fmla="*/ 1453036 w 1920955"/>
                <a:gd name="connsiteY85" fmla="*/ 812588 h 1691232"/>
                <a:gd name="connsiteX86" fmla="*/ 1510186 w 1920955"/>
                <a:gd name="connsiteY86" fmla="*/ 779251 h 1691232"/>
                <a:gd name="connsiteX87" fmla="*/ 1476849 w 1920955"/>
                <a:gd name="connsiteY87" fmla="*/ 745913 h 1691232"/>
                <a:gd name="connsiteX88" fmla="*/ 1481611 w 1920955"/>
                <a:gd name="connsiteY88" fmla="*/ 722101 h 1691232"/>
                <a:gd name="connsiteX89" fmla="*/ 1572099 w 1920955"/>
                <a:gd name="connsiteY89" fmla="*/ 760201 h 1691232"/>
                <a:gd name="connsiteX90" fmla="*/ 1624486 w 1920955"/>
                <a:gd name="connsiteY90" fmla="*/ 693526 h 1691232"/>
                <a:gd name="connsiteX91" fmla="*/ 1614961 w 1920955"/>
                <a:gd name="connsiteY91" fmla="*/ 550651 h 1691232"/>
                <a:gd name="connsiteX92" fmla="*/ 1610199 w 1920955"/>
                <a:gd name="connsiteY92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9818 w 1920955"/>
                <a:gd name="connsiteY64" fmla="*/ 1601492 h 1691232"/>
                <a:gd name="connsiteX65" fmla="*/ 1470595 w 1920955"/>
                <a:gd name="connsiteY65" fmla="*/ 1584949 h 1691232"/>
                <a:gd name="connsiteX66" fmla="*/ 1488274 w 1920955"/>
                <a:gd name="connsiteY66" fmla="*/ 1640771 h 1691232"/>
                <a:gd name="connsiteX67" fmla="*/ 1543524 w 1920955"/>
                <a:gd name="connsiteY67" fmla="*/ 1579351 h 1691232"/>
                <a:gd name="connsiteX68" fmla="*/ 1581624 w 1920955"/>
                <a:gd name="connsiteY68" fmla="*/ 1507913 h 1691232"/>
                <a:gd name="connsiteX69" fmla="*/ 1643536 w 1920955"/>
                <a:gd name="connsiteY69" fmla="*/ 1412663 h 1691232"/>
                <a:gd name="connsiteX70" fmla="*/ 1714974 w 1920955"/>
                <a:gd name="connsiteY70" fmla="*/ 1384088 h 1691232"/>
                <a:gd name="connsiteX71" fmla="*/ 1772124 w 1920955"/>
                <a:gd name="connsiteY71" fmla="*/ 1379326 h 1691232"/>
                <a:gd name="connsiteX72" fmla="*/ 1772124 w 1920955"/>
                <a:gd name="connsiteY72" fmla="*/ 1450763 h 1691232"/>
                <a:gd name="connsiteX73" fmla="*/ 1886424 w 1920955"/>
                <a:gd name="connsiteY73" fmla="*/ 1446001 h 1691232"/>
                <a:gd name="connsiteX74" fmla="*/ 1919761 w 1920955"/>
                <a:gd name="connsiteY74" fmla="*/ 1441238 h 1691232"/>
                <a:gd name="connsiteX75" fmla="*/ 1853086 w 1920955"/>
                <a:gd name="connsiteY75" fmla="*/ 1398376 h 1691232"/>
                <a:gd name="connsiteX76" fmla="*/ 1853086 w 1920955"/>
                <a:gd name="connsiteY76" fmla="*/ 1303126 h 1691232"/>
                <a:gd name="connsiteX77" fmla="*/ 1853086 w 1920955"/>
                <a:gd name="connsiteY77" fmla="*/ 1245976 h 1691232"/>
                <a:gd name="connsiteX78" fmla="*/ 1810224 w 1920955"/>
                <a:gd name="connsiteY78" fmla="*/ 1236451 h 1691232"/>
                <a:gd name="connsiteX79" fmla="*/ 1734024 w 1920955"/>
                <a:gd name="connsiteY79" fmla="*/ 1155488 h 1691232"/>
                <a:gd name="connsiteX80" fmla="*/ 1695924 w 1920955"/>
                <a:gd name="connsiteY80" fmla="*/ 974513 h 1691232"/>
                <a:gd name="connsiteX81" fmla="*/ 1643536 w 1920955"/>
                <a:gd name="connsiteY81" fmla="*/ 941176 h 1691232"/>
                <a:gd name="connsiteX82" fmla="*/ 1605436 w 1920955"/>
                <a:gd name="connsiteY82" fmla="*/ 884026 h 1691232"/>
                <a:gd name="connsiteX83" fmla="*/ 1557811 w 1920955"/>
                <a:gd name="connsiteY83" fmla="*/ 836401 h 1691232"/>
                <a:gd name="connsiteX84" fmla="*/ 1505424 w 1920955"/>
                <a:gd name="connsiteY84" fmla="*/ 817351 h 1691232"/>
                <a:gd name="connsiteX85" fmla="*/ 1453036 w 1920955"/>
                <a:gd name="connsiteY85" fmla="*/ 812588 h 1691232"/>
                <a:gd name="connsiteX86" fmla="*/ 1510186 w 1920955"/>
                <a:gd name="connsiteY86" fmla="*/ 779251 h 1691232"/>
                <a:gd name="connsiteX87" fmla="*/ 1476849 w 1920955"/>
                <a:gd name="connsiteY87" fmla="*/ 745913 h 1691232"/>
                <a:gd name="connsiteX88" fmla="*/ 1481611 w 1920955"/>
                <a:gd name="connsiteY88" fmla="*/ 722101 h 1691232"/>
                <a:gd name="connsiteX89" fmla="*/ 1572099 w 1920955"/>
                <a:gd name="connsiteY89" fmla="*/ 760201 h 1691232"/>
                <a:gd name="connsiteX90" fmla="*/ 1624486 w 1920955"/>
                <a:gd name="connsiteY90" fmla="*/ 693526 h 1691232"/>
                <a:gd name="connsiteX91" fmla="*/ 1614961 w 1920955"/>
                <a:gd name="connsiteY91" fmla="*/ 550651 h 1691232"/>
                <a:gd name="connsiteX92" fmla="*/ 1610199 w 1920955"/>
                <a:gd name="connsiteY92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9818 w 1920955"/>
                <a:gd name="connsiteY64" fmla="*/ 1601492 h 1691232"/>
                <a:gd name="connsiteX65" fmla="*/ 1470595 w 1920955"/>
                <a:gd name="connsiteY65" fmla="*/ 1584949 h 1691232"/>
                <a:gd name="connsiteX66" fmla="*/ 1488274 w 1920955"/>
                <a:gd name="connsiteY66" fmla="*/ 1640771 h 1691232"/>
                <a:gd name="connsiteX67" fmla="*/ 1558169 w 1920955"/>
                <a:gd name="connsiteY67" fmla="*/ 1615093 h 1691232"/>
                <a:gd name="connsiteX68" fmla="*/ 1581624 w 1920955"/>
                <a:gd name="connsiteY68" fmla="*/ 1507913 h 1691232"/>
                <a:gd name="connsiteX69" fmla="*/ 1643536 w 1920955"/>
                <a:gd name="connsiteY69" fmla="*/ 1412663 h 1691232"/>
                <a:gd name="connsiteX70" fmla="*/ 1714974 w 1920955"/>
                <a:gd name="connsiteY70" fmla="*/ 1384088 h 1691232"/>
                <a:gd name="connsiteX71" fmla="*/ 1772124 w 1920955"/>
                <a:gd name="connsiteY71" fmla="*/ 1379326 h 1691232"/>
                <a:gd name="connsiteX72" fmla="*/ 1772124 w 1920955"/>
                <a:gd name="connsiteY72" fmla="*/ 1450763 h 1691232"/>
                <a:gd name="connsiteX73" fmla="*/ 1886424 w 1920955"/>
                <a:gd name="connsiteY73" fmla="*/ 1446001 h 1691232"/>
                <a:gd name="connsiteX74" fmla="*/ 1919761 w 1920955"/>
                <a:gd name="connsiteY74" fmla="*/ 1441238 h 1691232"/>
                <a:gd name="connsiteX75" fmla="*/ 1853086 w 1920955"/>
                <a:gd name="connsiteY75" fmla="*/ 1398376 h 1691232"/>
                <a:gd name="connsiteX76" fmla="*/ 1853086 w 1920955"/>
                <a:gd name="connsiteY76" fmla="*/ 1303126 h 1691232"/>
                <a:gd name="connsiteX77" fmla="*/ 1853086 w 1920955"/>
                <a:gd name="connsiteY77" fmla="*/ 1245976 h 1691232"/>
                <a:gd name="connsiteX78" fmla="*/ 1810224 w 1920955"/>
                <a:gd name="connsiteY78" fmla="*/ 1236451 h 1691232"/>
                <a:gd name="connsiteX79" fmla="*/ 1734024 w 1920955"/>
                <a:gd name="connsiteY79" fmla="*/ 1155488 h 1691232"/>
                <a:gd name="connsiteX80" fmla="*/ 1695924 w 1920955"/>
                <a:gd name="connsiteY80" fmla="*/ 974513 h 1691232"/>
                <a:gd name="connsiteX81" fmla="*/ 1643536 w 1920955"/>
                <a:gd name="connsiteY81" fmla="*/ 941176 h 1691232"/>
                <a:gd name="connsiteX82" fmla="*/ 1605436 w 1920955"/>
                <a:gd name="connsiteY82" fmla="*/ 884026 h 1691232"/>
                <a:gd name="connsiteX83" fmla="*/ 1557811 w 1920955"/>
                <a:gd name="connsiteY83" fmla="*/ 836401 h 1691232"/>
                <a:gd name="connsiteX84" fmla="*/ 1505424 w 1920955"/>
                <a:gd name="connsiteY84" fmla="*/ 817351 h 1691232"/>
                <a:gd name="connsiteX85" fmla="*/ 1453036 w 1920955"/>
                <a:gd name="connsiteY85" fmla="*/ 812588 h 1691232"/>
                <a:gd name="connsiteX86" fmla="*/ 1510186 w 1920955"/>
                <a:gd name="connsiteY86" fmla="*/ 779251 h 1691232"/>
                <a:gd name="connsiteX87" fmla="*/ 1476849 w 1920955"/>
                <a:gd name="connsiteY87" fmla="*/ 745913 h 1691232"/>
                <a:gd name="connsiteX88" fmla="*/ 1481611 w 1920955"/>
                <a:gd name="connsiteY88" fmla="*/ 722101 h 1691232"/>
                <a:gd name="connsiteX89" fmla="*/ 1572099 w 1920955"/>
                <a:gd name="connsiteY89" fmla="*/ 760201 h 1691232"/>
                <a:gd name="connsiteX90" fmla="*/ 1624486 w 1920955"/>
                <a:gd name="connsiteY90" fmla="*/ 693526 h 1691232"/>
                <a:gd name="connsiteX91" fmla="*/ 1614961 w 1920955"/>
                <a:gd name="connsiteY91" fmla="*/ 550651 h 1691232"/>
                <a:gd name="connsiteX92" fmla="*/ 1610199 w 1920955"/>
                <a:gd name="connsiteY92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9818 w 1920955"/>
                <a:gd name="connsiteY64" fmla="*/ 1601492 h 1691232"/>
                <a:gd name="connsiteX65" fmla="*/ 1470595 w 1920955"/>
                <a:gd name="connsiteY65" fmla="*/ 1584949 h 1691232"/>
                <a:gd name="connsiteX66" fmla="*/ 1488274 w 1920955"/>
                <a:gd name="connsiteY66" fmla="*/ 1640771 h 1691232"/>
                <a:gd name="connsiteX67" fmla="*/ 1558169 w 1920955"/>
                <a:gd name="connsiteY67" fmla="*/ 1615093 h 1691232"/>
                <a:gd name="connsiteX68" fmla="*/ 1584065 w 1920955"/>
                <a:gd name="connsiteY68" fmla="*/ 1525784 h 1691232"/>
                <a:gd name="connsiteX69" fmla="*/ 1643536 w 1920955"/>
                <a:gd name="connsiteY69" fmla="*/ 1412663 h 1691232"/>
                <a:gd name="connsiteX70" fmla="*/ 1714974 w 1920955"/>
                <a:gd name="connsiteY70" fmla="*/ 1384088 h 1691232"/>
                <a:gd name="connsiteX71" fmla="*/ 1772124 w 1920955"/>
                <a:gd name="connsiteY71" fmla="*/ 1379326 h 1691232"/>
                <a:gd name="connsiteX72" fmla="*/ 1772124 w 1920955"/>
                <a:gd name="connsiteY72" fmla="*/ 1450763 h 1691232"/>
                <a:gd name="connsiteX73" fmla="*/ 1886424 w 1920955"/>
                <a:gd name="connsiteY73" fmla="*/ 1446001 h 1691232"/>
                <a:gd name="connsiteX74" fmla="*/ 1919761 w 1920955"/>
                <a:gd name="connsiteY74" fmla="*/ 1441238 h 1691232"/>
                <a:gd name="connsiteX75" fmla="*/ 1853086 w 1920955"/>
                <a:gd name="connsiteY75" fmla="*/ 1398376 h 1691232"/>
                <a:gd name="connsiteX76" fmla="*/ 1853086 w 1920955"/>
                <a:gd name="connsiteY76" fmla="*/ 1303126 h 1691232"/>
                <a:gd name="connsiteX77" fmla="*/ 1853086 w 1920955"/>
                <a:gd name="connsiteY77" fmla="*/ 1245976 h 1691232"/>
                <a:gd name="connsiteX78" fmla="*/ 1810224 w 1920955"/>
                <a:gd name="connsiteY78" fmla="*/ 1236451 h 1691232"/>
                <a:gd name="connsiteX79" fmla="*/ 1734024 w 1920955"/>
                <a:gd name="connsiteY79" fmla="*/ 1155488 h 1691232"/>
                <a:gd name="connsiteX80" fmla="*/ 1695924 w 1920955"/>
                <a:gd name="connsiteY80" fmla="*/ 974513 h 1691232"/>
                <a:gd name="connsiteX81" fmla="*/ 1643536 w 1920955"/>
                <a:gd name="connsiteY81" fmla="*/ 941176 h 1691232"/>
                <a:gd name="connsiteX82" fmla="*/ 1605436 w 1920955"/>
                <a:gd name="connsiteY82" fmla="*/ 884026 h 1691232"/>
                <a:gd name="connsiteX83" fmla="*/ 1557811 w 1920955"/>
                <a:gd name="connsiteY83" fmla="*/ 836401 h 1691232"/>
                <a:gd name="connsiteX84" fmla="*/ 1505424 w 1920955"/>
                <a:gd name="connsiteY84" fmla="*/ 817351 h 1691232"/>
                <a:gd name="connsiteX85" fmla="*/ 1453036 w 1920955"/>
                <a:gd name="connsiteY85" fmla="*/ 812588 h 1691232"/>
                <a:gd name="connsiteX86" fmla="*/ 1510186 w 1920955"/>
                <a:gd name="connsiteY86" fmla="*/ 779251 h 1691232"/>
                <a:gd name="connsiteX87" fmla="*/ 1476849 w 1920955"/>
                <a:gd name="connsiteY87" fmla="*/ 745913 h 1691232"/>
                <a:gd name="connsiteX88" fmla="*/ 1481611 w 1920955"/>
                <a:gd name="connsiteY88" fmla="*/ 722101 h 1691232"/>
                <a:gd name="connsiteX89" fmla="*/ 1572099 w 1920955"/>
                <a:gd name="connsiteY89" fmla="*/ 760201 h 1691232"/>
                <a:gd name="connsiteX90" fmla="*/ 1624486 w 1920955"/>
                <a:gd name="connsiteY90" fmla="*/ 693526 h 1691232"/>
                <a:gd name="connsiteX91" fmla="*/ 1614961 w 1920955"/>
                <a:gd name="connsiteY91" fmla="*/ 550651 h 1691232"/>
                <a:gd name="connsiteX92" fmla="*/ 1610199 w 1920955"/>
                <a:gd name="connsiteY92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9818 w 1920955"/>
                <a:gd name="connsiteY64" fmla="*/ 1601492 h 1691232"/>
                <a:gd name="connsiteX65" fmla="*/ 1470595 w 1920955"/>
                <a:gd name="connsiteY65" fmla="*/ 1584949 h 1691232"/>
                <a:gd name="connsiteX66" fmla="*/ 1488274 w 1920955"/>
                <a:gd name="connsiteY66" fmla="*/ 1640771 h 1691232"/>
                <a:gd name="connsiteX67" fmla="*/ 1558169 w 1920955"/>
                <a:gd name="connsiteY67" fmla="*/ 1615093 h 1691232"/>
                <a:gd name="connsiteX68" fmla="*/ 1584065 w 1920955"/>
                <a:gd name="connsiteY68" fmla="*/ 1525784 h 1691232"/>
                <a:gd name="connsiteX69" fmla="*/ 1670383 w 1920955"/>
                <a:gd name="connsiteY69" fmla="*/ 1438195 h 1691232"/>
                <a:gd name="connsiteX70" fmla="*/ 1714974 w 1920955"/>
                <a:gd name="connsiteY70" fmla="*/ 1384088 h 1691232"/>
                <a:gd name="connsiteX71" fmla="*/ 1772124 w 1920955"/>
                <a:gd name="connsiteY71" fmla="*/ 1379326 h 1691232"/>
                <a:gd name="connsiteX72" fmla="*/ 1772124 w 1920955"/>
                <a:gd name="connsiteY72" fmla="*/ 1450763 h 1691232"/>
                <a:gd name="connsiteX73" fmla="*/ 1886424 w 1920955"/>
                <a:gd name="connsiteY73" fmla="*/ 1446001 h 1691232"/>
                <a:gd name="connsiteX74" fmla="*/ 1919761 w 1920955"/>
                <a:gd name="connsiteY74" fmla="*/ 1441238 h 1691232"/>
                <a:gd name="connsiteX75" fmla="*/ 1853086 w 1920955"/>
                <a:gd name="connsiteY75" fmla="*/ 1398376 h 1691232"/>
                <a:gd name="connsiteX76" fmla="*/ 1853086 w 1920955"/>
                <a:gd name="connsiteY76" fmla="*/ 1303126 h 1691232"/>
                <a:gd name="connsiteX77" fmla="*/ 1853086 w 1920955"/>
                <a:gd name="connsiteY77" fmla="*/ 1245976 h 1691232"/>
                <a:gd name="connsiteX78" fmla="*/ 1810224 w 1920955"/>
                <a:gd name="connsiteY78" fmla="*/ 1236451 h 1691232"/>
                <a:gd name="connsiteX79" fmla="*/ 1734024 w 1920955"/>
                <a:gd name="connsiteY79" fmla="*/ 1155488 h 1691232"/>
                <a:gd name="connsiteX80" fmla="*/ 1695924 w 1920955"/>
                <a:gd name="connsiteY80" fmla="*/ 974513 h 1691232"/>
                <a:gd name="connsiteX81" fmla="*/ 1643536 w 1920955"/>
                <a:gd name="connsiteY81" fmla="*/ 941176 h 1691232"/>
                <a:gd name="connsiteX82" fmla="*/ 1605436 w 1920955"/>
                <a:gd name="connsiteY82" fmla="*/ 884026 h 1691232"/>
                <a:gd name="connsiteX83" fmla="*/ 1557811 w 1920955"/>
                <a:gd name="connsiteY83" fmla="*/ 836401 h 1691232"/>
                <a:gd name="connsiteX84" fmla="*/ 1505424 w 1920955"/>
                <a:gd name="connsiteY84" fmla="*/ 817351 h 1691232"/>
                <a:gd name="connsiteX85" fmla="*/ 1453036 w 1920955"/>
                <a:gd name="connsiteY85" fmla="*/ 812588 h 1691232"/>
                <a:gd name="connsiteX86" fmla="*/ 1510186 w 1920955"/>
                <a:gd name="connsiteY86" fmla="*/ 779251 h 1691232"/>
                <a:gd name="connsiteX87" fmla="*/ 1476849 w 1920955"/>
                <a:gd name="connsiteY87" fmla="*/ 745913 h 1691232"/>
                <a:gd name="connsiteX88" fmla="*/ 1481611 w 1920955"/>
                <a:gd name="connsiteY88" fmla="*/ 722101 h 1691232"/>
                <a:gd name="connsiteX89" fmla="*/ 1572099 w 1920955"/>
                <a:gd name="connsiteY89" fmla="*/ 760201 h 1691232"/>
                <a:gd name="connsiteX90" fmla="*/ 1624486 w 1920955"/>
                <a:gd name="connsiteY90" fmla="*/ 693526 h 1691232"/>
                <a:gd name="connsiteX91" fmla="*/ 1614961 w 1920955"/>
                <a:gd name="connsiteY91" fmla="*/ 550651 h 1691232"/>
                <a:gd name="connsiteX92" fmla="*/ 1610199 w 1920955"/>
                <a:gd name="connsiteY92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9818 w 1920955"/>
                <a:gd name="connsiteY64" fmla="*/ 1601492 h 1691232"/>
                <a:gd name="connsiteX65" fmla="*/ 1470595 w 1920955"/>
                <a:gd name="connsiteY65" fmla="*/ 1584949 h 1691232"/>
                <a:gd name="connsiteX66" fmla="*/ 1488274 w 1920955"/>
                <a:gd name="connsiteY66" fmla="*/ 1640771 h 1691232"/>
                <a:gd name="connsiteX67" fmla="*/ 1558169 w 1920955"/>
                <a:gd name="connsiteY67" fmla="*/ 1615093 h 1691232"/>
                <a:gd name="connsiteX68" fmla="*/ 1588947 w 1920955"/>
                <a:gd name="connsiteY68" fmla="*/ 1528337 h 1691232"/>
                <a:gd name="connsiteX69" fmla="*/ 1670383 w 1920955"/>
                <a:gd name="connsiteY69" fmla="*/ 1438195 h 1691232"/>
                <a:gd name="connsiteX70" fmla="*/ 1714974 w 1920955"/>
                <a:gd name="connsiteY70" fmla="*/ 1384088 h 1691232"/>
                <a:gd name="connsiteX71" fmla="*/ 1772124 w 1920955"/>
                <a:gd name="connsiteY71" fmla="*/ 1379326 h 1691232"/>
                <a:gd name="connsiteX72" fmla="*/ 1772124 w 1920955"/>
                <a:gd name="connsiteY72" fmla="*/ 1450763 h 1691232"/>
                <a:gd name="connsiteX73" fmla="*/ 1886424 w 1920955"/>
                <a:gd name="connsiteY73" fmla="*/ 1446001 h 1691232"/>
                <a:gd name="connsiteX74" fmla="*/ 1919761 w 1920955"/>
                <a:gd name="connsiteY74" fmla="*/ 1441238 h 1691232"/>
                <a:gd name="connsiteX75" fmla="*/ 1853086 w 1920955"/>
                <a:gd name="connsiteY75" fmla="*/ 1398376 h 1691232"/>
                <a:gd name="connsiteX76" fmla="*/ 1853086 w 1920955"/>
                <a:gd name="connsiteY76" fmla="*/ 1303126 h 1691232"/>
                <a:gd name="connsiteX77" fmla="*/ 1853086 w 1920955"/>
                <a:gd name="connsiteY77" fmla="*/ 1245976 h 1691232"/>
                <a:gd name="connsiteX78" fmla="*/ 1810224 w 1920955"/>
                <a:gd name="connsiteY78" fmla="*/ 1236451 h 1691232"/>
                <a:gd name="connsiteX79" fmla="*/ 1734024 w 1920955"/>
                <a:gd name="connsiteY79" fmla="*/ 1155488 h 1691232"/>
                <a:gd name="connsiteX80" fmla="*/ 1695924 w 1920955"/>
                <a:gd name="connsiteY80" fmla="*/ 974513 h 1691232"/>
                <a:gd name="connsiteX81" fmla="*/ 1643536 w 1920955"/>
                <a:gd name="connsiteY81" fmla="*/ 941176 h 1691232"/>
                <a:gd name="connsiteX82" fmla="*/ 1605436 w 1920955"/>
                <a:gd name="connsiteY82" fmla="*/ 884026 h 1691232"/>
                <a:gd name="connsiteX83" fmla="*/ 1557811 w 1920955"/>
                <a:gd name="connsiteY83" fmla="*/ 836401 h 1691232"/>
                <a:gd name="connsiteX84" fmla="*/ 1505424 w 1920955"/>
                <a:gd name="connsiteY84" fmla="*/ 817351 h 1691232"/>
                <a:gd name="connsiteX85" fmla="*/ 1453036 w 1920955"/>
                <a:gd name="connsiteY85" fmla="*/ 812588 h 1691232"/>
                <a:gd name="connsiteX86" fmla="*/ 1510186 w 1920955"/>
                <a:gd name="connsiteY86" fmla="*/ 779251 h 1691232"/>
                <a:gd name="connsiteX87" fmla="*/ 1476849 w 1920955"/>
                <a:gd name="connsiteY87" fmla="*/ 745913 h 1691232"/>
                <a:gd name="connsiteX88" fmla="*/ 1481611 w 1920955"/>
                <a:gd name="connsiteY88" fmla="*/ 722101 h 1691232"/>
                <a:gd name="connsiteX89" fmla="*/ 1572099 w 1920955"/>
                <a:gd name="connsiteY89" fmla="*/ 760201 h 1691232"/>
                <a:gd name="connsiteX90" fmla="*/ 1624486 w 1920955"/>
                <a:gd name="connsiteY90" fmla="*/ 693526 h 1691232"/>
                <a:gd name="connsiteX91" fmla="*/ 1614961 w 1920955"/>
                <a:gd name="connsiteY91" fmla="*/ 550651 h 1691232"/>
                <a:gd name="connsiteX92" fmla="*/ 1610199 w 1920955"/>
                <a:gd name="connsiteY92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9818 w 1920955"/>
                <a:gd name="connsiteY64" fmla="*/ 1601492 h 1691232"/>
                <a:gd name="connsiteX65" fmla="*/ 1470595 w 1920955"/>
                <a:gd name="connsiteY65" fmla="*/ 1584949 h 1691232"/>
                <a:gd name="connsiteX66" fmla="*/ 1488274 w 1920955"/>
                <a:gd name="connsiteY66" fmla="*/ 1640771 h 1691232"/>
                <a:gd name="connsiteX67" fmla="*/ 1558169 w 1920955"/>
                <a:gd name="connsiteY67" fmla="*/ 1615093 h 1691232"/>
                <a:gd name="connsiteX68" fmla="*/ 1588947 w 1920955"/>
                <a:gd name="connsiteY68" fmla="*/ 1528337 h 1691232"/>
                <a:gd name="connsiteX69" fmla="*/ 1670383 w 1920955"/>
                <a:gd name="connsiteY69" fmla="*/ 1438195 h 1691232"/>
                <a:gd name="connsiteX70" fmla="*/ 1714974 w 1920955"/>
                <a:gd name="connsiteY70" fmla="*/ 1384088 h 1691232"/>
                <a:gd name="connsiteX71" fmla="*/ 1721378 w 1920955"/>
                <a:gd name="connsiteY71" fmla="*/ 1402701 h 1691232"/>
                <a:gd name="connsiteX72" fmla="*/ 1772124 w 1920955"/>
                <a:gd name="connsiteY72" fmla="*/ 1379326 h 1691232"/>
                <a:gd name="connsiteX73" fmla="*/ 1772124 w 1920955"/>
                <a:gd name="connsiteY73" fmla="*/ 1450763 h 1691232"/>
                <a:gd name="connsiteX74" fmla="*/ 1886424 w 1920955"/>
                <a:gd name="connsiteY74" fmla="*/ 1446001 h 1691232"/>
                <a:gd name="connsiteX75" fmla="*/ 1919761 w 1920955"/>
                <a:gd name="connsiteY75" fmla="*/ 1441238 h 1691232"/>
                <a:gd name="connsiteX76" fmla="*/ 1853086 w 1920955"/>
                <a:gd name="connsiteY76" fmla="*/ 1398376 h 1691232"/>
                <a:gd name="connsiteX77" fmla="*/ 1853086 w 1920955"/>
                <a:gd name="connsiteY77" fmla="*/ 1303126 h 1691232"/>
                <a:gd name="connsiteX78" fmla="*/ 1853086 w 1920955"/>
                <a:gd name="connsiteY78" fmla="*/ 1245976 h 1691232"/>
                <a:gd name="connsiteX79" fmla="*/ 1810224 w 1920955"/>
                <a:gd name="connsiteY79" fmla="*/ 1236451 h 1691232"/>
                <a:gd name="connsiteX80" fmla="*/ 1734024 w 1920955"/>
                <a:gd name="connsiteY80" fmla="*/ 1155488 h 1691232"/>
                <a:gd name="connsiteX81" fmla="*/ 1695924 w 1920955"/>
                <a:gd name="connsiteY81" fmla="*/ 974513 h 1691232"/>
                <a:gd name="connsiteX82" fmla="*/ 1643536 w 1920955"/>
                <a:gd name="connsiteY82" fmla="*/ 941176 h 1691232"/>
                <a:gd name="connsiteX83" fmla="*/ 1605436 w 1920955"/>
                <a:gd name="connsiteY83" fmla="*/ 884026 h 1691232"/>
                <a:gd name="connsiteX84" fmla="*/ 1557811 w 1920955"/>
                <a:gd name="connsiteY84" fmla="*/ 836401 h 1691232"/>
                <a:gd name="connsiteX85" fmla="*/ 1505424 w 1920955"/>
                <a:gd name="connsiteY85" fmla="*/ 817351 h 1691232"/>
                <a:gd name="connsiteX86" fmla="*/ 1453036 w 1920955"/>
                <a:gd name="connsiteY86" fmla="*/ 812588 h 1691232"/>
                <a:gd name="connsiteX87" fmla="*/ 1510186 w 1920955"/>
                <a:gd name="connsiteY87" fmla="*/ 779251 h 1691232"/>
                <a:gd name="connsiteX88" fmla="*/ 1476849 w 1920955"/>
                <a:gd name="connsiteY88" fmla="*/ 745913 h 1691232"/>
                <a:gd name="connsiteX89" fmla="*/ 1481611 w 1920955"/>
                <a:gd name="connsiteY89" fmla="*/ 722101 h 1691232"/>
                <a:gd name="connsiteX90" fmla="*/ 1572099 w 1920955"/>
                <a:gd name="connsiteY90" fmla="*/ 760201 h 1691232"/>
                <a:gd name="connsiteX91" fmla="*/ 1624486 w 1920955"/>
                <a:gd name="connsiteY91" fmla="*/ 693526 h 1691232"/>
                <a:gd name="connsiteX92" fmla="*/ 1614961 w 1920955"/>
                <a:gd name="connsiteY92" fmla="*/ 550651 h 1691232"/>
                <a:gd name="connsiteX93" fmla="*/ 1610199 w 1920955"/>
                <a:gd name="connsiteY93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9818 w 1920955"/>
                <a:gd name="connsiteY64" fmla="*/ 1601492 h 1691232"/>
                <a:gd name="connsiteX65" fmla="*/ 1470595 w 1920955"/>
                <a:gd name="connsiteY65" fmla="*/ 1584949 h 1691232"/>
                <a:gd name="connsiteX66" fmla="*/ 1488274 w 1920955"/>
                <a:gd name="connsiteY66" fmla="*/ 1640771 h 1691232"/>
                <a:gd name="connsiteX67" fmla="*/ 1558169 w 1920955"/>
                <a:gd name="connsiteY67" fmla="*/ 1615093 h 1691232"/>
                <a:gd name="connsiteX68" fmla="*/ 1588947 w 1920955"/>
                <a:gd name="connsiteY68" fmla="*/ 1528337 h 1691232"/>
                <a:gd name="connsiteX69" fmla="*/ 1670383 w 1920955"/>
                <a:gd name="connsiteY69" fmla="*/ 1438195 h 1691232"/>
                <a:gd name="connsiteX70" fmla="*/ 1714974 w 1920955"/>
                <a:gd name="connsiteY70" fmla="*/ 1384088 h 1691232"/>
                <a:gd name="connsiteX71" fmla="*/ 1736021 w 1920955"/>
                <a:gd name="connsiteY71" fmla="*/ 1379724 h 1691232"/>
                <a:gd name="connsiteX72" fmla="*/ 1772124 w 1920955"/>
                <a:gd name="connsiteY72" fmla="*/ 1379326 h 1691232"/>
                <a:gd name="connsiteX73" fmla="*/ 1772124 w 1920955"/>
                <a:gd name="connsiteY73" fmla="*/ 1450763 h 1691232"/>
                <a:gd name="connsiteX74" fmla="*/ 1886424 w 1920955"/>
                <a:gd name="connsiteY74" fmla="*/ 1446001 h 1691232"/>
                <a:gd name="connsiteX75" fmla="*/ 1919761 w 1920955"/>
                <a:gd name="connsiteY75" fmla="*/ 1441238 h 1691232"/>
                <a:gd name="connsiteX76" fmla="*/ 1853086 w 1920955"/>
                <a:gd name="connsiteY76" fmla="*/ 1398376 h 1691232"/>
                <a:gd name="connsiteX77" fmla="*/ 1853086 w 1920955"/>
                <a:gd name="connsiteY77" fmla="*/ 1303126 h 1691232"/>
                <a:gd name="connsiteX78" fmla="*/ 1853086 w 1920955"/>
                <a:gd name="connsiteY78" fmla="*/ 1245976 h 1691232"/>
                <a:gd name="connsiteX79" fmla="*/ 1810224 w 1920955"/>
                <a:gd name="connsiteY79" fmla="*/ 1236451 h 1691232"/>
                <a:gd name="connsiteX80" fmla="*/ 1734024 w 1920955"/>
                <a:gd name="connsiteY80" fmla="*/ 1155488 h 1691232"/>
                <a:gd name="connsiteX81" fmla="*/ 1695924 w 1920955"/>
                <a:gd name="connsiteY81" fmla="*/ 974513 h 1691232"/>
                <a:gd name="connsiteX82" fmla="*/ 1643536 w 1920955"/>
                <a:gd name="connsiteY82" fmla="*/ 941176 h 1691232"/>
                <a:gd name="connsiteX83" fmla="*/ 1605436 w 1920955"/>
                <a:gd name="connsiteY83" fmla="*/ 884026 h 1691232"/>
                <a:gd name="connsiteX84" fmla="*/ 1557811 w 1920955"/>
                <a:gd name="connsiteY84" fmla="*/ 836401 h 1691232"/>
                <a:gd name="connsiteX85" fmla="*/ 1505424 w 1920955"/>
                <a:gd name="connsiteY85" fmla="*/ 817351 h 1691232"/>
                <a:gd name="connsiteX86" fmla="*/ 1453036 w 1920955"/>
                <a:gd name="connsiteY86" fmla="*/ 812588 h 1691232"/>
                <a:gd name="connsiteX87" fmla="*/ 1510186 w 1920955"/>
                <a:gd name="connsiteY87" fmla="*/ 779251 h 1691232"/>
                <a:gd name="connsiteX88" fmla="*/ 1476849 w 1920955"/>
                <a:gd name="connsiteY88" fmla="*/ 745913 h 1691232"/>
                <a:gd name="connsiteX89" fmla="*/ 1481611 w 1920955"/>
                <a:gd name="connsiteY89" fmla="*/ 722101 h 1691232"/>
                <a:gd name="connsiteX90" fmla="*/ 1572099 w 1920955"/>
                <a:gd name="connsiteY90" fmla="*/ 760201 h 1691232"/>
                <a:gd name="connsiteX91" fmla="*/ 1624486 w 1920955"/>
                <a:gd name="connsiteY91" fmla="*/ 693526 h 1691232"/>
                <a:gd name="connsiteX92" fmla="*/ 1614961 w 1920955"/>
                <a:gd name="connsiteY92" fmla="*/ 550651 h 1691232"/>
                <a:gd name="connsiteX93" fmla="*/ 1610199 w 1920955"/>
                <a:gd name="connsiteY93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9818 w 1920955"/>
                <a:gd name="connsiteY64" fmla="*/ 1601492 h 1691232"/>
                <a:gd name="connsiteX65" fmla="*/ 1470595 w 1920955"/>
                <a:gd name="connsiteY65" fmla="*/ 1584949 h 1691232"/>
                <a:gd name="connsiteX66" fmla="*/ 1488274 w 1920955"/>
                <a:gd name="connsiteY66" fmla="*/ 1640771 h 1691232"/>
                <a:gd name="connsiteX67" fmla="*/ 1558169 w 1920955"/>
                <a:gd name="connsiteY67" fmla="*/ 1615093 h 1691232"/>
                <a:gd name="connsiteX68" fmla="*/ 1588947 w 1920955"/>
                <a:gd name="connsiteY68" fmla="*/ 1528337 h 1691232"/>
                <a:gd name="connsiteX69" fmla="*/ 1670383 w 1920955"/>
                <a:gd name="connsiteY69" fmla="*/ 1438195 h 1691232"/>
                <a:gd name="connsiteX70" fmla="*/ 1714974 w 1920955"/>
                <a:gd name="connsiteY70" fmla="*/ 1407065 h 1691232"/>
                <a:gd name="connsiteX71" fmla="*/ 1736021 w 1920955"/>
                <a:gd name="connsiteY71" fmla="*/ 1379724 h 1691232"/>
                <a:gd name="connsiteX72" fmla="*/ 1772124 w 1920955"/>
                <a:gd name="connsiteY72" fmla="*/ 1379326 h 1691232"/>
                <a:gd name="connsiteX73" fmla="*/ 1772124 w 1920955"/>
                <a:gd name="connsiteY73" fmla="*/ 1450763 h 1691232"/>
                <a:gd name="connsiteX74" fmla="*/ 1886424 w 1920955"/>
                <a:gd name="connsiteY74" fmla="*/ 1446001 h 1691232"/>
                <a:gd name="connsiteX75" fmla="*/ 1919761 w 1920955"/>
                <a:gd name="connsiteY75" fmla="*/ 1441238 h 1691232"/>
                <a:gd name="connsiteX76" fmla="*/ 1853086 w 1920955"/>
                <a:gd name="connsiteY76" fmla="*/ 1398376 h 1691232"/>
                <a:gd name="connsiteX77" fmla="*/ 1853086 w 1920955"/>
                <a:gd name="connsiteY77" fmla="*/ 1303126 h 1691232"/>
                <a:gd name="connsiteX78" fmla="*/ 1853086 w 1920955"/>
                <a:gd name="connsiteY78" fmla="*/ 1245976 h 1691232"/>
                <a:gd name="connsiteX79" fmla="*/ 1810224 w 1920955"/>
                <a:gd name="connsiteY79" fmla="*/ 1236451 h 1691232"/>
                <a:gd name="connsiteX80" fmla="*/ 1734024 w 1920955"/>
                <a:gd name="connsiteY80" fmla="*/ 1155488 h 1691232"/>
                <a:gd name="connsiteX81" fmla="*/ 1695924 w 1920955"/>
                <a:gd name="connsiteY81" fmla="*/ 974513 h 1691232"/>
                <a:gd name="connsiteX82" fmla="*/ 1643536 w 1920955"/>
                <a:gd name="connsiteY82" fmla="*/ 941176 h 1691232"/>
                <a:gd name="connsiteX83" fmla="*/ 1605436 w 1920955"/>
                <a:gd name="connsiteY83" fmla="*/ 884026 h 1691232"/>
                <a:gd name="connsiteX84" fmla="*/ 1557811 w 1920955"/>
                <a:gd name="connsiteY84" fmla="*/ 836401 h 1691232"/>
                <a:gd name="connsiteX85" fmla="*/ 1505424 w 1920955"/>
                <a:gd name="connsiteY85" fmla="*/ 817351 h 1691232"/>
                <a:gd name="connsiteX86" fmla="*/ 1453036 w 1920955"/>
                <a:gd name="connsiteY86" fmla="*/ 812588 h 1691232"/>
                <a:gd name="connsiteX87" fmla="*/ 1510186 w 1920955"/>
                <a:gd name="connsiteY87" fmla="*/ 779251 h 1691232"/>
                <a:gd name="connsiteX88" fmla="*/ 1476849 w 1920955"/>
                <a:gd name="connsiteY88" fmla="*/ 745913 h 1691232"/>
                <a:gd name="connsiteX89" fmla="*/ 1481611 w 1920955"/>
                <a:gd name="connsiteY89" fmla="*/ 722101 h 1691232"/>
                <a:gd name="connsiteX90" fmla="*/ 1572099 w 1920955"/>
                <a:gd name="connsiteY90" fmla="*/ 760201 h 1691232"/>
                <a:gd name="connsiteX91" fmla="*/ 1624486 w 1920955"/>
                <a:gd name="connsiteY91" fmla="*/ 693526 h 1691232"/>
                <a:gd name="connsiteX92" fmla="*/ 1614961 w 1920955"/>
                <a:gd name="connsiteY92" fmla="*/ 550651 h 1691232"/>
                <a:gd name="connsiteX93" fmla="*/ 1610199 w 1920955"/>
                <a:gd name="connsiteY93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9818 w 1920955"/>
                <a:gd name="connsiteY64" fmla="*/ 1601492 h 1691232"/>
                <a:gd name="connsiteX65" fmla="*/ 1470595 w 1920955"/>
                <a:gd name="connsiteY65" fmla="*/ 1584949 h 1691232"/>
                <a:gd name="connsiteX66" fmla="*/ 1488274 w 1920955"/>
                <a:gd name="connsiteY66" fmla="*/ 1640771 h 1691232"/>
                <a:gd name="connsiteX67" fmla="*/ 1558169 w 1920955"/>
                <a:gd name="connsiteY67" fmla="*/ 1615093 h 1691232"/>
                <a:gd name="connsiteX68" fmla="*/ 1588947 w 1920955"/>
                <a:gd name="connsiteY68" fmla="*/ 1528337 h 1691232"/>
                <a:gd name="connsiteX69" fmla="*/ 1670383 w 1920955"/>
                <a:gd name="connsiteY69" fmla="*/ 1438195 h 1691232"/>
                <a:gd name="connsiteX70" fmla="*/ 1714974 w 1920955"/>
                <a:gd name="connsiteY70" fmla="*/ 1407065 h 1691232"/>
                <a:gd name="connsiteX71" fmla="*/ 1743343 w 1920955"/>
                <a:gd name="connsiteY71" fmla="*/ 1410360 h 1691232"/>
                <a:gd name="connsiteX72" fmla="*/ 1772124 w 1920955"/>
                <a:gd name="connsiteY72" fmla="*/ 1379326 h 1691232"/>
                <a:gd name="connsiteX73" fmla="*/ 1772124 w 1920955"/>
                <a:gd name="connsiteY73" fmla="*/ 1450763 h 1691232"/>
                <a:gd name="connsiteX74" fmla="*/ 1886424 w 1920955"/>
                <a:gd name="connsiteY74" fmla="*/ 1446001 h 1691232"/>
                <a:gd name="connsiteX75" fmla="*/ 1919761 w 1920955"/>
                <a:gd name="connsiteY75" fmla="*/ 1441238 h 1691232"/>
                <a:gd name="connsiteX76" fmla="*/ 1853086 w 1920955"/>
                <a:gd name="connsiteY76" fmla="*/ 1398376 h 1691232"/>
                <a:gd name="connsiteX77" fmla="*/ 1853086 w 1920955"/>
                <a:gd name="connsiteY77" fmla="*/ 1303126 h 1691232"/>
                <a:gd name="connsiteX78" fmla="*/ 1853086 w 1920955"/>
                <a:gd name="connsiteY78" fmla="*/ 1245976 h 1691232"/>
                <a:gd name="connsiteX79" fmla="*/ 1810224 w 1920955"/>
                <a:gd name="connsiteY79" fmla="*/ 1236451 h 1691232"/>
                <a:gd name="connsiteX80" fmla="*/ 1734024 w 1920955"/>
                <a:gd name="connsiteY80" fmla="*/ 1155488 h 1691232"/>
                <a:gd name="connsiteX81" fmla="*/ 1695924 w 1920955"/>
                <a:gd name="connsiteY81" fmla="*/ 974513 h 1691232"/>
                <a:gd name="connsiteX82" fmla="*/ 1643536 w 1920955"/>
                <a:gd name="connsiteY82" fmla="*/ 941176 h 1691232"/>
                <a:gd name="connsiteX83" fmla="*/ 1605436 w 1920955"/>
                <a:gd name="connsiteY83" fmla="*/ 884026 h 1691232"/>
                <a:gd name="connsiteX84" fmla="*/ 1557811 w 1920955"/>
                <a:gd name="connsiteY84" fmla="*/ 836401 h 1691232"/>
                <a:gd name="connsiteX85" fmla="*/ 1505424 w 1920955"/>
                <a:gd name="connsiteY85" fmla="*/ 817351 h 1691232"/>
                <a:gd name="connsiteX86" fmla="*/ 1453036 w 1920955"/>
                <a:gd name="connsiteY86" fmla="*/ 812588 h 1691232"/>
                <a:gd name="connsiteX87" fmla="*/ 1510186 w 1920955"/>
                <a:gd name="connsiteY87" fmla="*/ 779251 h 1691232"/>
                <a:gd name="connsiteX88" fmla="*/ 1476849 w 1920955"/>
                <a:gd name="connsiteY88" fmla="*/ 745913 h 1691232"/>
                <a:gd name="connsiteX89" fmla="*/ 1481611 w 1920955"/>
                <a:gd name="connsiteY89" fmla="*/ 722101 h 1691232"/>
                <a:gd name="connsiteX90" fmla="*/ 1572099 w 1920955"/>
                <a:gd name="connsiteY90" fmla="*/ 760201 h 1691232"/>
                <a:gd name="connsiteX91" fmla="*/ 1624486 w 1920955"/>
                <a:gd name="connsiteY91" fmla="*/ 693526 h 1691232"/>
                <a:gd name="connsiteX92" fmla="*/ 1614961 w 1920955"/>
                <a:gd name="connsiteY92" fmla="*/ 550651 h 1691232"/>
                <a:gd name="connsiteX93" fmla="*/ 1610199 w 1920955"/>
                <a:gd name="connsiteY93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9818 w 1920955"/>
                <a:gd name="connsiteY64" fmla="*/ 1601492 h 1691232"/>
                <a:gd name="connsiteX65" fmla="*/ 1470595 w 1920955"/>
                <a:gd name="connsiteY65" fmla="*/ 1584949 h 1691232"/>
                <a:gd name="connsiteX66" fmla="*/ 1488274 w 1920955"/>
                <a:gd name="connsiteY66" fmla="*/ 1640771 h 1691232"/>
                <a:gd name="connsiteX67" fmla="*/ 1558169 w 1920955"/>
                <a:gd name="connsiteY67" fmla="*/ 1615093 h 1691232"/>
                <a:gd name="connsiteX68" fmla="*/ 1588947 w 1920955"/>
                <a:gd name="connsiteY68" fmla="*/ 1528337 h 1691232"/>
                <a:gd name="connsiteX69" fmla="*/ 1670383 w 1920955"/>
                <a:gd name="connsiteY69" fmla="*/ 1438195 h 1691232"/>
                <a:gd name="connsiteX70" fmla="*/ 1714974 w 1920955"/>
                <a:gd name="connsiteY70" fmla="*/ 1407065 h 1691232"/>
                <a:gd name="connsiteX71" fmla="*/ 1743343 w 1920955"/>
                <a:gd name="connsiteY71" fmla="*/ 1410360 h 1691232"/>
                <a:gd name="connsiteX72" fmla="*/ 1803851 w 1920955"/>
                <a:gd name="connsiteY72" fmla="*/ 1369114 h 1691232"/>
                <a:gd name="connsiteX73" fmla="*/ 1772124 w 1920955"/>
                <a:gd name="connsiteY73" fmla="*/ 1450763 h 1691232"/>
                <a:gd name="connsiteX74" fmla="*/ 1886424 w 1920955"/>
                <a:gd name="connsiteY74" fmla="*/ 1446001 h 1691232"/>
                <a:gd name="connsiteX75" fmla="*/ 1919761 w 1920955"/>
                <a:gd name="connsiteY75" fmla="*/ 1441238 h 1691232"/>
                <a:gd name="connsiteX76" fmla="*/ 1853086 w 1920955"/>
                <a:gd name="connsiteY76" fmla="*/ 1398376 h 1691232"/>
                <a:gd name="connsiteX77" fmla="*/ 1853086 w 1920955"/>
                <a:gd name="connsiteY77" fmla="*/ 1303126 h 1691232"/>
                <a:gd name="connsiteX78" fmla="*/ 1853086 w 1920955"/>
                <a:gd name="connsiteY78" fmla="*/ 1245976 h 1691232"/>
                <a:gd name="connsiteX79" fmla="*/ 1810224 w 1920955"/>
                <a:gd name="connsiteY79" fmla="*/ 1236451 h 1691232"/>
                <a:gd name="connsiteX80" fmla="*/ 1734024 w 1920955"/>
                <a:gd name="connsiteY80" fmla="*/ 1155488 h 1691232"/>
                <a:gd name="connsiteX81" fmla="*/ 1695924 w 1920955"/>
                <a:gd name="connsiteY81" fmla="*/ 974513 h 1691232"/>
                <a:gd name="connsiteX82" fmla="*/ 1643536 w 1920955"/>
                <a:gd name="connsiteY82" fmla="*/ 941176 h 1691232"/>
                <a:gd name="connsiteX83" fmla="*/ 1605436 w 1920955"/>
                <a:gd name="connsiteY83" fmla="*/ 884026 h 1691232"/>
                <a:gd name="connsiteX84" fmla="*/ 1557811 w 1920955"/>
                <a:gd name="connsiteY84" fmla="*/ 836401 h 1691232"/>
                <a:gd name="connsiteX85" fmla="*/ 1505424 w 1920955"/>
                <a:gd name="connsiteY85" fmla="*/ 817351 h 1691232"/>
                <a:gd name="connsiteX86" fmla="*/ 1453036 w 1920955"/>
                <a:gd name="connsiteY86" fmla="*/ 812588 h 1691232"/>
                <a:gd name="connsiteX87" fmla="*/ 1510186 w 1920955"/>
                <a:gd name="connsiteY87" fmla="*/ 779251 h 1691232"/>
                <a:gd name="connsiteX88" fmla="*/ 1476849 w 1920955"/>
                <a:gd name="connsiteY88" fmla="*/ 745913 h 1691232"/>
                <a:gd name="connsiteX89" fmla="*/ 1481611 w 1920955"/>
                <a:gd name="connsiteY89" fmla="*/ 722101 h 1691232"/>
                <a:gd name="connsiteX90" fmla="*/ 1572099 w 1920955"/>
                <a:gd name="connsiteY90" fmla="*/ 760201 h 1691232"/>
                <a:gd name="connsiteX91" fmla="*/ 1624486 w 1920955"/>
                <a:gd name="connsiteY91" fmla="*/ 693526 h 1691232"/>
                <a:gd name="connsiteX92" fmla="*/ 1614961 w 1920955"/>
                <a:gd name="connsiteY92" fmla="*/ 550651 h 1691232"/>
                <a:gd name="connsiteX93" fmla="*/ 1610199 w 1920955"/>
                <a:gd name="connsiteY93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9818 w 1920955"/>
                <a:gd name="connsiteY64" fmla="*/ 1601492 h 1691232"/>
                <a:gd name="connsiteX65" fmla="*/ 1470595 w 1920955"/>
                <a:gd name="connsiteY65" fmla="*/ 1584949 h 1691232"/>
                <a:gd name="connsiteX66" fmla="*/ 1488274 w 1920955"/>
                <a:gd name="connsiteY66" fmla="*/ 1640771 h 1691232"/>
                <a:gd name="connsiteX67" fmla="*/ 1558169 w 1920955"/>
                <a:gd name="connsiteY67" fmla="*/ 1615093 h 1691232"/>
                <a:gd name="connsiteX68" fmla="*/ 1588947 w 1920955"/>
                <a:gd name="connsiteY68" fmla="*/ 1528337 h 1691232"/>
                <a:gd name="connsiteX69" fmla="*/ 1670383 w 1920955"/>
                <a:gd name="connsiteY69" fmla="*/ 1438195 h 1691232"/>
                <a:gd name="connsiteX70" fmla="*/ 1714974 w 1920955"/>
                <a:gd name="connsiteY70" fmla="*/ 1407065 h 1691232"/>
                <a:gd name="connsiteX71" fmla="*/ 1743343 w 1920955"/>
                <a:gd name="connsiteY71" fmla="*/ 1410360 h 1691232"/>
                <a:gd name="connsiteX72" fmla="*/ 1828257 w 1920955"/>
                <a:gd name="connsiteY72" fmla="*/ 1328265 h 1691232"/>
                <a:gd name="connsiteX73" fmla="*/ 1772124 w 1920955"/>
                <a:gd name="connsiteY73" fmla="*/ 1450763 h 1691232"/>
                <a:gd name="connsiteX74" fmla="*/ 1886424 w 1920955"/>
                <a:gd name="connsiteY74" fmla="*/ 1446001 h 1691232"/>
                <a:gd name="connsiteX75" fmla="*/ 1919761 w 1920955"/>
                <a:gd name="connsiteY75" fmla="*/ 1441238 h 1691232"/>
                <a:gd name="connsiteX76" fmla="*/ 1853086 w 1920955"/>
                <a:gd name="connsiteY76" fmla="*/ 1398376 h 1691232"/>
                <a:gd name="connsiteX77" fmla="*/ 1853086 w 1920955"/>
                <a:gd name="connsiteY77" fmla="*/ 1303126 h 1691232"/>
                <a:gd name="connsiteX78" fmla="*/ 1853086 w 1920955"/>
                <a:gd name="connsiteY78" fmla="*/ 1245976 h 1691232"/>
                <a:gd name="connsiteX79" fmla="*/ 1810224 w 1920955"/>
                <a:gd name="connsiteY79" fmla="*/ 1236451 h 1691232"/>
                <a:gd name="connsiteX80" fmla="*/ 1734024 w 1920955"/>
                <a:gd name="connsiteY80" fmla="*/ 1155488 h 1691232"/>
                <a:gd name="connsiteX81" fmla="*/ 1695924 w 1920955"/>
                <a:gd name="connsiteY81" fmla="*/ 974513 h 1691232"/>
                <a:gd name="connsiteX82" fmla="*/ 1643536 w 1920955"/>
                <a:gd name="connsiteY82" fmla="*/ 941176 h 1691232"/>
                <a:gd name="connsiteX83" fmla="*/ 1605436 w 1920955"/>
                <a:gd name="connsiteY83" fmla="*/ 884026 h 1691232"/>
                <a:gd name="connsiteX84" fmla="*/ 1557811 w 1920955"/>
                <a:gd name="connsiteY84" fmla="*/ 836401 h 1691232"/>
                <a:gd name="connsiteX85" fmla="*/ 1505424 w 1920955"/>
                <a:gd name="connsiteY85" fmla="*/ 817351 h 1691232"/>
                <a:gd name="connsiteX86" fmla="*/ 1453036 w 1920955"/>
                <a:gd name="connsiteY86" fmla="*/ 812588 h 1691232"/>
                <a:gd name="connsiteX87" fmla="*/ 1510186 w 1920955"/>
                <a:gd name="connsiteY87" fmla="*/ 779251 h 1691232"/>
                <a:gd name="connsiteX88" fmla="*/ 1476849 w 1920955"/>
                <a:gd name="connsiteY88" fmla="*/ 745913 h 1691232"/>
                <a:gd name="connsiteX89" fmla="*/ 1481611 w 1920955"/>
                <a:gd name="connsiteY89" fmla="*/ 722101 h 1691232"/>
                <a:gd name="connsiteX90" fmla="*/ 1572099 w 1920955"/>
                <a:gd name="connsiteY90" fmla="*/ 760201 h 1691232"/>
                <a:gd name="connsiteX91" fmla="*/ 1624486 w 1920955"/>
                <a:gd name="connsiteY91" fmla="*/ 693526 h 1691232"/>
                <a:gd name="connsiteX92" fmla="*/ 1614961 w 1920955"/>
                <a:gd name="connsiteY92" fmla="*/ 550651 h 1691232"/>
                <a:gd name="connsiteX93" fmla="*/ 1610199 w 1920955"/>
                <a:gd name="connsiteY93" fmla="*/ 412538 h 1691232"/>
                <a:gd name="connsiteX0" fmla="*/ 1610199 w 1920409"/>
                <a:gd name="connsiteY0" fmla="*/ 412538 h 1691232"/>
                <a:gd name="connsiteX1" fmla="*/ 1567336 w 1920409"/>
                <a:gd name="connsiteY1" fmla="*/ 369676 h 1691232"/>
                <a:gd name="connsiteX2" fmla="*/ 1467324 w 1920409"/>
                <a:gd name="connsiteY2" fmla="*/ 345863 h 1691232"/>
                <a:gd name="connsiteX3" fmla="*/ 1419699 w 1920409"/>
                <a:gd name="connsiteY3" fmla="*/ 317288 h 1691232"/>
                <a:gd name="connsiteX4" fmla="*/ 1367311 w 1920409"/>
                <a:gd name="connsiteY4" fmla="*/ 160126 h 1691232"/>
                <a:gd name="connsiteX5" fmla="*/ 1338736 w 1920409"/>
                <a:gd name="connsiteY5" fmla="*/ 12488 h 1691232"/>
                <a:gd name="connsiteX6" fmla="*/ 1267299 w 1920409"/>
                <a:gd name="connsiteY6" fmla="*/ 12488 h 1691232"/>
                <a:gd name="connsiteX7" fmla="*/ 1214911 w 1920409"/>
                <a:gd name="connsiteY7" fmla="*/ 50588 h 1691232"/>
                <a:gd name="connsiteX8" fmla="*/ 1214911 w 1920409"/>
                <a:gd name="connsiteY8" fmla="*/ 155363 h 1691232"/>
                <a:gd name="connsiteX9" fmla="*/ 1186336 w 1920409"/>
                <a:gd name="connsiteY9" fmla="*/ 183938 h 1691232"/>
                <a:gd name="connsiteX10" fmla="*/ 1176811 w 1920409"/>
                <a:gd name="connsiteY10" fmla="*/ 255376 h 1691232"/>
                <a:gd name="connsiteX11" fmla="*/ 1114899 w 1920409"/>
                <a:gd name="connsiteY11" fmla="*/ 298238 h 1691232"/>
                <a:gd name="connsiteX12" fmla="*/ 1005361 w 1920409"/>
                <a:gd name="connsiteY12" fmla="*/ 312526 h 1691232"/>
                <a:gd name="connsiteX13" fmla="*/ 962499 w 1920409"/>
                <a:gd name="connsiteY13" fmla="*/ 355388 h 1691232"/>
                <a:gd name="connsiteX14" fmla="*/ 838674 w 1920409"/>
                <a:gd name="connsiteY14" fmla="*/ 355388 h 1691232"/>
                <a:gd name="connsiteX15" fmla="*/ 781524 w 1920409"/>
                <a:gd name="connsiteY15" fmla="*/ 426826 h 1691232"/>
                <a:gd name="connsiteX16" fmla="*/ 781524 w 1920409"/>
                <a:gd name="connsiteY16" fmla="*/ 460163 h 1691232"/>
                <a:gd name="connsiteX17" fmla="*/ 743424 w 1920409"/>
                <a:gd name="connsiteY17" fmla="*/ 483976 h 1691232"/>
                <a:gd name="connsiteX18" fmla="*/ 671986 w 1920409"/>
                <a:gd name="connsiteY18" fmla="*/ 417301 h 1691232"/>
                <a:gd name="connsiteX19" fmla="*/ 519586 w 1920409"/>
                <a:gd name="connsiteY19" fmla="*/ 412538 h 1691232"/>
                <a:gd name="connsiteX20" fmla="*/ 457674 w 1920409"/>
                <a:gd name="connsiteY20" fmla="*/ 431588 h 1691232"/>
                <a:gd name="connsiteX21" fmla="*/ 419574 w 1920409"/>
                <a:gd name="connsiteY21" fmla="*/ 417301 h 1691232"/>
                <a:gd name="connsiteX22" fmla="*/ 400524 w 1920409"/>
                <a:gd name="connsiteY22" fmla="*/ 355388 h 1691232"/>
                <a:gd name="connsiteX23" fmla="*/ 333849 w 1920409"/>
                <a:gd name="connsiteY23" fmla="*/ 303001 h 1691232"/>
                <a:gd name="connsiteX24" fmla="*/ 286224 w 1920409"/>
                <a:gd name="connsiteY24" fmla="*/ 236326 h 1691232"/>
                <a:gd name="connsiteX25" fmla="*/ 143349 w 1920409"/>
                <a:gd name="connsiteY25" fmla="*/ 255376 h 1691232"/>
                <a:gd name="connsiteX26" fmla="*/ 124299 w 1920409"/>
                <a:gd name="connsiteY26" fmla="*/ 331576 h 1691232"/>
                <a:gd name="connsiteX27" fmla="*/ 110011 w 1920409"/>
                <a:gd name="connsiteY27" fmla="*/ 364913 h 1691232"/>
                <a:gd name="connsiteX28" fmla="*/ 133824 w 1920409"/>
                <a:gd name="connsiteY28" fmla="*/ 412538 h 1691232"/>
                <a:gd name="connsiteX29" fmla="*/ 81436 w 1920409"/>
                <a:gd name="connsiteY29" fmla="*/ 450638 h 1691232"/>
                <a:gd name="connsiteX30" fmla="*/ 33811 w 1920409"/>
                <a:gd name="connsiteY30" fmla="*/ 445876 h 1691232"/>
                <a:gd name="connsiteX31" fmla="*/ 33811 w 1920409"/>
                <a:gd name="connsiteY31" fmla="*/ 517313 h 1691232"/>
                <a:gd name="connsiteX32" fmla="*/ 474 w 1920409"/>
                <a:gd name="connsiteY32" fmla="*/ 622088 h 1691232"/>
                <a:gd name="connsiteX33" fmla="*/ 62386 w 1920409"/>
                <a:gd name="connsiteY33" fmla="*/ 698288 h 1691232"/>
                <a:gd name="connsiteX34" fmla="*/ 111977 w 1920409"/>
                <a:gd name="connsiteY34" fmla="*/ 678550 h 1691232"/>
                <a:gd name="connsiteX35" fmla="*/ 112334 w 1920409"/>
                <a:gd name="connsiteY35" fmla="*/ 748809 h 1691232"/>
                <a:gd name="connsiteX36" fmla="*/ 167161 w 1920409"/>
                <a:gd name="connsiteY36" fmla="*/ 779251 h 1691232"/>
                <a:gd name="connsiteX37" fmla="*/ 236159 w 1920409"/>
                <a:gd name="connsiteY37" fmla="*/ 789463 h 1691232"/>
                <a:gd name="connsiteX38" fmla="*/ 271462 w 1920409"/>
                <a:gd name="connsiteY38" fmla="*/ 845434 h 1691232"/>
                <a:gd name="connsiteX39" fmla="*/ 270869 w 1920409"/>
                <a:gd name="connsiteY39" fmla="*/ 890506 h 1691232"/>
                <a:gd name="connsiteX40" fmla="*/ 295393 w 1920409"/>
                <a:gd name="connsiteY40" fmla="*/ 929981 h 1691232"/>
                <a:gd name="connsiteX41" fmla="*/ 341051 w 1920409"/>
                <a:gd name="connsiteY41" fmla="*/ 968573 h 1691232"/>
                <a:gd name="connsiteX42" fmla="*/ 426184 w 1920409"/>
                <a:gd name="connsiteY42" fmla="*/ 1022825 h 1691232"/>
                <a:gd name="connsiteX43" fmla="*/ 461961 w 1920409"/>
                <a:gd name="connsiteY43" fmla="*/ 1093918 h 1691232"/>
                <a:gd name="connsiteX44" fmla="*/ 441064 w 1920409"/>
                <a:gd name="connsiteY44" fmla="*/ 1163491 h 1691232"/>
                <a:gd name="connsiteX45" fmla="*/ 519111 w 1920409"/>
                <a:gd name="connsiteY45" fmla="*/ 1219954 h 1691232"/>
                <a:gd name="connsiteX46" fmla="*/ 591143 w 1920409"/>
                <a:gd name="connsiteY46" fmla="*/ 1252948 h 1691232"/>
                <a:gd name="connsiteX47" fmla="*/ 571974 w 1920409"/>
                <a:gd name="connsiteY47" fmla="*/ 1312651 h 1691232"/>
                <a:gd name="connsiteX48" fmla="*/ 662461 w 1920409"/>
                <a:gd name="connsiteY48" fmla="*/ 1465051 h 1691232"/>
                <a:gd name="connsiteX49" fmla="*/ 755271 w 1920409"/>
                <a:gd name="connsiteY49" fmla="*/ 1538205 h 1691232"/>
                <a:gd name="connsiteX50" fmla="*/ 805336 w 1920409"/>
                <a:gd name="connsiteY50" fmla="*/ 1488863 h 1691232"/>
                <a:gd name="connsiteX51" fmla="*/ 869926 w 1920409"/>
                <a:gd name="connsiteY51" fmla="*/ 1516260 h 1691232"/>
                <a:gd name="connsiteX52" fmla="*/ 924399 w 1920409"/>
                <a:gd name="connsiteY52" fmla="*/ 1484101 h 1691232"/>
                <a:gd name="connsiteX53" fmla="*/ 941246 w 1920409"/>
                <a:gd name="connsiteY53" fmla="*/ 1441925 h 1691232"/>
                <a:gd name="connsiteX54" fmla="*/ 1005123 w 1920409"/>
                <a:gd name="connsiteY54" fmla="*/ 1528337 h 1691232"/>
                <a:gd name="connsiteX55" fmla="*/ 1050190 w 1920409"/>
                <a:gd name="connsiteY55" fmla="*/ 1599431 h 1691232"/>
                <a:gd name="connsiteX56" fmla="*/ 1120136 w 1920409"/>
                <a:gd name="connsiteY56" fmla="*/ 1690950 h 1691232"/>
                <a:gd name="connsiteX57" fmla="*/ 1151034 w 1920409"/>
                <a:gd name="connsiteY57" fmla="*/ 1627859 h 1691232"/>
                <a:gd name="connsiteX58" fmla="*/ 1181693 w 1920409"/>
                <a:gd name="connsiteY58" fmla="*/ 1621379 h 1691232"/>
                <a:gd name="connsiteX59" fmla="*/ 1224792 w 1920409"/>
                <a:gd name="connsiteY59" fmla="*/ 1650642 h 1691232"/>
                <a:gd name="connsiteX60" fmla="*/ 1258367 w 1920409"/>
                <a:gd name="connsiteY60" fmla="*/ 1609988 h 1691232"/>
                <a:gd name="connsiteX61" fmla="*/ 1277188 w 1920409"/>
                <a:gd name="connsiteY61" fmla="*/ 1614605 h 1691232"/>
                <a:gd name="connsiteX62" fmla="*/ 1311230 w 1920409"/>
                <a:gd name="connsiteY62" fmla="*/ 1681082 h 1691232"/>
                <a:gd name="connsiteX63" fmla="*/ 1367786 w 1920409"/>
                <a:gd name="connsiteY63" fmla="*/ 1657613 h 1691232"/>
                <a:gd name="connsiteX64" fmla="*/ 1419818 w 1920409"/>
                <a:gd name="connsiteY64" fmla="*/ 1601492 h 1691232"/>
                <a:gd name="connsiteX65" fmla="*/ 1470595 w 1920409"/>
                <a:gd name="connsiteY65" fmla="*/ 1584949 h 1691232"/>
                <a:gd name="connsiteX66" fmla="*/ 1488274 w 1920409"/>
                <a:gd name="connsiteY66" fmla="*/ 1640771 h 1691232"/>
                <a:gd name="connsiteX67" fmla="*/ 1558169 w 1920409"/>
                <a:gd name="connsiteY67" fmla="*/ 1615093 h 1691232"/>
                <a:gd name="connsiteX68" fmla="*/ 1588947 w 1920409"/>
                <a:gd name="connsiteY68" fmla="*/ 1528337 h 1691232"/>
                <a:gd name="connsiteX69" fmla="*/ 1670383 w 1920409"/>
                <a:gd name="connsiteY69" fmla="*/ 1438195 h 1691232"/>
                <a:gd name="connsiteX70" fmla="*/ 1714974 w 1920409"/>
                <a:gd name="connsiteY70" fmla="*/ 1407065 h 1691232"/>
                <a:gd name="connsiteX71" fmla="*/ 1743343 w 1920409"/>
                <a:gd name="connsiteY71" fmla="*/ 1410360 h 1691232"/>
                <a:gd name="connsiteX72" fmla="*/ 1828257 w 1920409"/>
                <a:gd name="connsiteY72" fmla="*/ 1328265 h 1691232"/>
                <a:gd name="connsiteX73" fmla="*/ 1877070 w 1920409"/>
                <a:gd name="connsiteY73" fmla="*/ 1542673 h 1691232"/>
                <a:gd name="connsiteX74" fmla="*/ 1886424 w 1920409"/>
                <a:gd name="connsiteY74" fmla="*/ 1446001 h 1691232"/>
                <a:gd name="connsiteX75" fmla="*/ 1919761 w 1920409"/>
                <a:gd name="connsiteY75" fmla="*/ 1441238 h 1691232"/>
                <a:gd name="connsiteX76" fmla="*/ 1853086 w 1920409"/>
                <a:gd name="connsiteY76" fmla="*/ 1398376 h 1691232"/>
                <a:gd name="connsiteX77" fmla="*/ 1853086 w 1920409"/>
                <a:gd name="connsiteY77" fmla="*/ 1303126 h 1691232"/>
                <a:gd name="connsiteX78" fmla="*/ 1853086 w 1920409"/>
                <a:gd name="connsiteY78" fmla="*/ 1245976 h 1691232"/>
                <a:gd name="connsiteX79" fmla="*/ 1810224 w 1920409"/>
                <a:gd name="connsiteY79" fmla="*/ 1236451 h 1691232"/>
                <a:gd name="connsiteX80" fmla="*/ 1734024 w 1920409"/>
                <a:gd name="connsiteY80" fmla="*/ 1155488 h 1691232"/>
                <a:gd name="connsiteX81" fmla="*/ 1695924 w 1920409"/>
                <a:gd name="connsiteY81" fmla="*/ 974513 h 1691232"/>
                <a:gd name="connsiteX82" fmla="*/ 1643536 w 1920409"/>
                <a:gd name="connsiteY82" fmla="*/ 941176 h 1691232"/>
                <a:gd name="connsiteX83" fmla="*/ 1605436 w 1920409"/>
                <a:gd name="connsiteY83" fmla="*/ 884026 h 1691232"/>
                <a:gd name="connsiteX84" fmla="*/ 1557811 w 1920409"/>
                <a:gd name="connsiteY84" fmla="*/ 836401 h 1691232"/>
                <a:gd name="connsiteX85" fmla="*/ 1505424 w 1920409"/>
                <a:gd name="connsiteY85" fmla="*/ 817351 h 1691232"/>
                <a:gd name="connsiteX86" fmla="*/ 1453036 w 1920409"/>
                <a:gd name="connsiteY86" fmla="*/ 812588 h 1691232"/>
                <a:gd name="connsiteX87" fmla="*/ 1510186 w 1920409"/>
                <a:gd name="connsiteY87" fmla="*/ 779251 h 1691232"/>
                <a:gd name="connsiteX88" fmla="*/ 1476849 w 1920409"/>
                <a:gd name="connsiteY88" fmla="*/ 745913 h 1691232"/>
                <a:gd name="connsiteX89" fmla="*/ 1481611 w 1920409"/>
                <a:gd name="connsiteY89" fmla="*/ 722101 h 1691232"/>
                <a:gd name="connsiteX90" fmla="*/ 1572099 w 1920409"/>
                <a:gd name="connsiteY90" fmla="*/ 760201 h 1691232"/>
                <a:gd name="connsiteX91" fmla="*/ 1624486 w 1920409"/>
                <a:gd name="connsiteY91" fmla="*/ 693526 h 1691232"/>
                <a:gd name="connsiteX92" fmla="*/ 1614961 w 1920409"/>
                <a:gd name="connsiteY92" fmla="*/ 550651 h 1691232"/>
                <a:gd name="connsiteX93" fmla="*/ 1610199 w 1920409"/>
                <a:gd name="connsiteY93" fmla="*/ 412538 h 1691232"/>
                <a:gd name="connsiteX0" fmla="*/ 1610199 w 1920409"/>
                <a:gd name="connsiteY0" fmla="*/ 412538 h 1691232"/>
                <a:gd name="connsiteX1" fmla="*/ 1567336 w 1920409"/>
                <a:gd name="connsiteY1" fmla="*/ 369676 h 1691232"/>
                <a:gd name="connsiteX2" fmla="*/ 1467324 w 1920409"/>
                <a:gd name="connsiteY2" fmla="*/ 345863 h 1691232"/>
                <a:gd name="connsiteX3" fmla="*/ 1419699 w 1920409"/>
                <a:gd name="connsiteY3" fmla="*/ 317288 h 1691232"/>
                <a:gd name="connsiteX4" fmla="*/ 1367311 w 1920409"/>
                <a:gd name="connsiteY4" fmla="*/ 160126 h 1691232"/>
                <a:gd name="connsiteX5" fmla="*/ 1338736 w 1920409"/>
                <a:gd name="connsiteY5" fmla="*/ 12488 h 1691232"/>
                <a:gd name="connsiteX6" fmla="*/ 1267299 w 1920409"/>
                <a:gd name="connsiteY6" fmla="*/ 12488 h 1691232"/>
                <a:gd name="connsiteX7" fmla="*/ 1214911 w 1920409"/>
                <a:gd name="connsiteY7" fmla="*/ 50588 h 1691232"/>
                <a:gd name="connsiteX8" fmla="*/ 1214911 w 1920409"/>
                <a:gd name="connsiteY8" fmla="*/ 155363 h 1691232"/>
                <a:gd name="connsiteX9" fmla="*/ 1186336 w 1920409"/>
                <a:gd name="connsiteY9" fmla="*/ 183938 h 1691232"/>
                <a:gd name="connsiteX10" fmla="*/ 1176811 w 1920409"/>
                <a:gd name="connsiteY10" fmla="*/ 255376 h 1691232"/>
                <a:gd name="connsiteX11" fmla="*/ 1114899 w 1920409"/>
                <a:gd name="connsiteY11" fmla="*/ 298238 h 1691232"/>
                <a:gd name="connsiteX12" fmla="*/ 1005361 w 1920409"/>
                <a:gd name="connsiteY12" fmla="*/ 312526 h 1691232"/>
                <a:gd name="connsiteX13" fmla="*/ 962499 w 1920409"/>
                <a:gd name="connsiteY13" fmla="*/ 355388 h 1691232"/>
                <a:gd name="connsiteX14" fmla="*/ 838674 w 1920409"/>
                <a:gd name="connsiteY14" fmla="*/ 355388 h 1691232"/>
                <a:gd name="connsiteX15" fmla="*/ 781524 w 1920409"/>
                <a:gd name="connsiteY15" fmla="*/ 426826 h 1691232"/>
                <a:gd name="connsiteX16" fmla="*/ 781524 w 1920409"/>
                <a:gd name="connsiteY16" fmla="*/ 460163 h 1691232"/>
                <a:gd name="connsiteX17" fmla="*/ 743424 w 1920409"/>
                <a:gd name="connsiteY17" fmla="*/ 483976 h 1691232"/>
                <a:gd name="connsiteX18" fmla="*/ 671986 w 1920409"/>
                <a:gd name="connsiteY18" fmla="*/ 417301 h 1691232"/>
                <a:gd name="connsiteX19" fmla="*/ 519586 w 1920409"/>
                <a:gd name="connsiteY19" fmla="*/ 412538 h 1691232"/>
                <a:gd name="connsiteX20" fmla="*/ 457674 w 1920409"/>
                <a:gd name="connsiteY20" fmla="*/ 431588 h 1691232"/>
                <a:gd name="connsiteX21" fmla="*/ 419574 w 1920409"/>
                <a:gd name="connsiteY21" fmla="*/ 417301 h 1691232"/>
                <a:gd name="connsiteX22" fmla="*/ 400524 w 1920409"/>
                <a:gd name="connsiteY22" fmla="*/ 355388 h 1691232"/>
                <a:gd name="connsiteX23" fmla="*/ 333849 w 1920409"/>
                <a:gd name="connsiteY23" fmla="*/ 303001 h 1691232"/>
                <a:gd name="connsiteX24" fmla="*/ 286224 w 1920409"/>
                <a:gd name="connsiteY24" fmla="*/ 236326 h 1691232"/>
                <a:gd name="connsiteX25" fmla="*/ 143349 w 1920409"/>
                <a:gd name="connsiteY25" fmla="*/ 255376 h 1691232"/>
                <a:gd name="connsiteX26" fmla="*/ 124299 w 1920409"/>
                <a:gd name="connsiteY26" fmla="*/ 331576 h 1691232"/>
                <a:gd name="connsiteX27" fmla="*/ 110011 w 1920409"/>
                <a:gd name="connsiteY27" fmla="*/ 364913 h 1691232"/>
                <a:gd name="connsiteX28" fmla="*/ 133824 w 1920409"/>
                <a:gd name="connsiteY28" fmla="*/ 412538 h 1691232"/>
                <a:gd name="connsiteX29" fmla="*/ 81436 w 1920409"/>
                <a:gd name="connsiteY29" fmla="*/ 450638 h 1691232"/>
                <a:gd name="connsiteX30" fmla="*/ 33811 w 1920409"/>
                <a:gd name="connsiteY30" fmla="*/ 445876 h 1691232"/>
                <a:gd name="connsiteX31" fmla="*/ 33811 w 1920409"/>
                <a:gd name="connsiteY31" fmla="*/ 517313 h 1691232"/>
                <a:gd name="connsiteX32" fmla="*/ 474 w 1920409"/>
                <a:gd name="connsiteY32" fmla="*/ 622088 h 1691232"/>
                <a:gd name="connsiteX33" fmla="*/ 62386 w 1920409"/>
                <a:gd name="connsiteY33" fmla="*/ 698288 h 1691232"/>
                <a:gd name="connsiteX34" fmla="*/ 111977 w 1920409"/>
                <a:gd name="connsiteY34" fmla="*/ 678550 h 1691232"/>
                <a:gd name="connsiteX35" fmla="*/ 112334 w 1920409"/>
                <a:gd name="connsiteY35" fmla="*/ 748809 h 1691232"/>
                <a:gd name="connsiteX36" fmla="*/ 167161 w 1920409"/>
                <a:gd name="connsiteY36" fmla="*/ 779251 h 1691232"/>
                <a:gd name="connsiteX37" fmla="*/ 236159 w 1920409"/>
                <a:gd name="connsiteY37" fmla="*/ 789463 h 1691232"/>
                <a:gd name="connsiteX38" fmla="*/ 271462 w 1920409"/>
                <a:gd name="connsiteY38" fmla="*/ 845434 h 1691232"/>
                <a:gd name="connsiteX39" fmla="*/ 270869 w 1920409"/>
                <a:gd name="connsiteY39" fmla="*/ 890506 h 1691232"/>
                <a:gd name="connsiteX40" fmla="*/ 295393 w 1920409"/>
                <a:gd name="connsiteY40" fmla="*/ 929981 h 1691232"/>
                <a:gd name="connsiteX41" fmla="*/ 341051 w 1920409"/>
                <a:gd name="connsiteY41" fmla="*/ 968573 h 1691232"/>
                <a:gd name="connsiteX42" fmla="*/ 426184 w 1920409"/>
                <a:gd name="connsiteY42" fmla="*/ 1022825 h 1691232"/>
                <a:gd name="connsiteX43" fmla="*/ 461961 w 1920409"/>
                <a:gd name="connsiteY43" fmla="*/ 1093918 h 1691232"/>
                <a:gd name="connsiteX44" fmla="*/ 441064 w 1920409"/>
                <a:gd name="connsiteY44" fmla="*/ 1163491 h 1691232"/>
                <a:gd name="connsiteX45" fmla="*/ 519111 w 1920409"/>
                <a:gd name="connsiteY45" fmla="*/ 1219954 h 1691232"/>
                <a:gd name="connsiteX46" fmla="*/ 591143 w 1920409"/>
                <a:gd name="connsiteY46" fmla="*/ 1252948 h 1691232"/>
                <a:gd name="connsiteX47" fmla="*/ 571974 w 1920409"/>
                <a:gd name="connsiteY47" fmla="*/ 1312651 h 1691232"/>
                <a:gd name="connsiteX48" fmla="*/ 662461 w 1920409"/>
                <a:gd name="connsiteY48" fmla="*/ 1465051 h 1691232"/>
                <a:gd name="connsiteX49" fmla="*/ 755271 w 1920409"/>
                <a:gd name="connsiteY49" fmla="*/ 1538205 h 1691232"/>
                <a:gd name="connsiteX50" fmla="*/ 805336 w 1920409"/>
                <a:gd name="connsiteY50" fmla="*/ 1488863 h 1691232"/>
                <a:gd name="connsiteX51" fmla="*/ 869926 w 1920409"/>
                <a:gd name="connsiteY51" fmla="*/ 1516260 h 1691232"/>
                <a:gd name="connsiteX52" fmla="*/ 924399 w 1920409"/>
                <a:gd name="connsiteY52" fmla="*/ 1484101 h 1691232"/>
                <a:gd name="connsiteX53" fmla="*/ 941246 w 1920409"/>
                <a:gd name="connsiteY53" fmla="*/ 1441925 h 1691232"/>
                <a:gd name="connsiteX54" fmla="*/ 1005123 w 1920409"/>
                <a:gd name="connsiteY54" fmla="*/ 1528337 h 1691232"/>
                <a:gd name="connsiteX55" fmla="*/ 1050190 w 1920409"/>
                <a:gd name="connsiteY55" fmla="*/ 1599431 h 1691232"/>
                <a:gd name="connsiteX56" fmla="*/ 1120136 w 1920409"/>
                <a:gd name="connsiteY56" fmla="*/ 1690950 h 1691232"/>
                <a:gd name="connsiteX57" fmla="*/ 1151034 w 1920409"/>
                <a:gd name="connsiteY57" fmla="*/ 1627859 h 1691232"/>
                <a:gd name="connsiteX58" fmla="*/ 1181693 w 1920409"/>
                <a:gd name="connsiteY58" fmla="*/ 1621379 h 1691232"/>
                <a:gd name="connsiteX59" fmla="*/ 1224792 w 1920409"/>
                <a:gd name="connsiteY59" fmla="*/ 1650642 h 1691232"/>
                <a:gd name="connsiteX60" fmla="*/ 1258367 w 1920409"/>
                <a:gd name="connsiteY60" fmla="*/ 1609988 h 1691232"/>
                <a:gd name="connsiteX61" fmla="*/ 1277188 w 1920409"/>
                <a:gd name="connsiteY61" fmla="*/ 1614605 h 1691232"/>
                <a:gd name="connsiteX62" fmla="*/ 1311230 w 1920409"/>
                <a:gd name="connsiteY62" fmla="*/ 1681082 h 1691232"/>
                <a:gd name="connsiteX63" fmla="*/ 1367786 w 1920409"/>
                <a:gd name="connsiteY63" fmla="*/ 1657613 h 1691232"/>
                <a:gd name="connsiteX64" fmla="*/ 1419818 w 1920409"/>
                <a:gd name="connsiteY64" fmla="*/ 1601492 h 1691232"/>
                <a:gd name="connsiteX65" fmla="*/ 1470595 w 1920409"/>
                <a:gd name="connsiteY65" fmla="*/ 1584949 h 1691232"/>
                <a:gd name="connsiteX66" fmla="*/ 1488274 w 1920409"/>
                <a:gd name="connsiteY66" fmla="*/ 1640771 h 1691232"/>
                <a:gd name="connsiteX67" fmla="*/ 1558169 w 1920409"/>
                <a:gd name="connsiteY67" fmla="*/ 1615093 h 1691232"/>
                <a:gd name="connsiteX68" fmla="*/ 1588947 w 1920409"/>
                <a:gd name="connsiteY68" fmla="*/ 1528337 h 1691232"/>
                <a:gd name="connsiteX69" fmla="*/ 1670383 w 1920409"/>
                <a:gd name="connsiteY69" fmla="*/ 1438195 h 1691232"/>
                <a:gd name="connsiteX70" fmla="*/ 1714974 w 1920409"/>
                <a:gd name="connsiteY70" fmla="*/ 1407065 h 1691232"/>
                <a:gd name="connsiteX71" fmla="*/ 1743343 w 1920409"/>
                <a:gd name="connsiteY71" fmla="*/ 1410360 h 1691232"/>
                <a:gd name="connsiteX72" fmla="*/ 1833138 w 1920409"/>
                <a:gd name="connsiteY72" fmla="*/ 1402304 h 1691232"/>
                <a:gd name="connsiteX73" fmla="*/ 1877070 w 1920409"/>
                <a:gd name="connsiteY73" fmla="*/ 1542673 h 1691232"/>
                <a:gd name="connsiteX74" fmla="*/ 1886424 w 1920409"/>
                <a:gd name="connsiteY74" fmla="*/ 1446001 h 1691232"/>
                <a:gd name="connsiteX75" fmla="*/ 1919761 w 1920409"/>
                <a:gd name="connsiteY75" fmla="*/ 1441238 h 1691232"/>
                <a:gd name="connsiteX76" fmla="*/ 1853086 w 1920409"/>
                <a:gd name="connsiteY76" fmla="*/ 1398376 h 1691232"/>
                <a:gd name="connsiteX77" fmla="*/ 1853086 w 1920409"/>
                <a:gd name="connsiteY77" fmla="*/ 1303126 h 1691232"/>
                <a:gd name="connsiteX78" fmla="*/ 1853086 w 1920409"/>
                <a:gd name="connsiteY78" fmla="*/ 1245976 h 1691232"/>
                <a:gd name="connsiteX79" fmla="*/ 1810224 w 1920409"/>
                <a:gd name="connsiteY79" fmla="*/ 1236451 h 1691232"/>
                <a:gd name="connsiteX80" fmla="*/ 1734024 w 1920409"/>
                <a:gd name="connsiteY80" fmla="*/ 1155488 h 1691232"/>
                <a:gd name="connsiteX81" fmla="*/ 1695924 w 1920409"/>
                <a:gd name="connsiteY81" fmla="*/ 974513 h 1691232"/>
                <a:gd name="connsiteX82" fmla="*/ 1643536 w 1920409"/>
                <a:gd name="connsiteY82" fmla="*/ 941176 h 1691232"/>
                <a:gd name="connsiteX83" fmla="*/ 1605436 w 1920409"/>
                <a:gd name="connsiteY83" fmla="*/ 884026 h 1691232"/>
                <a:gd name="connsiteX84" fmla="*/ 1557811 w 1920409"/>
                <a:gd name="connsiteY84" fmla="*/ 836401 h 1691232"/>
                <a:gd name="connsiteX85" fmla="*/ 1505424 w 1920409"/>
                <a:gd name="connsiteY85" fmla="*/ 817351 h 1691232"/>
                <a:gd name="connsiteX86" fmla="*/ 1453036 w 1920409"/>
                <a:gd name="connsiteY86" fmla="*/ 812588 h 1691232"/>
                <a:gd name="connsiteX87" fmla="*/ 1510186 w 1920409"/>
                <a:gd name="connsiteY87" fmla="*/ 779251 h 1691232"/>
                <a:gd name="connsiteX88" fmla="*/ 1476849 w 1920409"/>
                <a:gd name="connsiteY88" fmla="*/ 745913 h 1691232"/>
                <a:gd name="connsiteX89" fmla="*/ 1481611 w 1920409"/>
                <a:gd name="connsiteY89" fmla="*/ 722101 h 1691232"/>
                <a:gd name="connsiteX90" fmla="*/ 1572099 w 1920409"/>
                <a:gd name="connsiteY90" fmla="*/ 760201 h 1691232"/>
                <a:gd name="connsiteX91" fmla="*/ 1624486 w 1920409"/>
                <a:gd name="connsiteY91" fmla="*/ 693526 h 1691232"/>
                <a:gd name="connsiteX92" fmla="*/ 1614961 w 1920409"/>
                <a:gd name="connsiteY92" fmla="*/ 550651 h 1691232"/>
                <a:gd name="connsiteX93" fmla="*/ 1610199 w 1920409"/>
                <a:gd name="connsiteY93" fmla="*/ 412538 h 1691232"/>
                <a:gd name="connsiteX0" fmla="*/ 1610199 w 1920409"/>
                <a:gd name="connsiteY0" fmla="*/ 412538 h 1691232"/>
                <a:gd name="connsiteX1" fmla="*/ 1567336 w 1920409"/>
                <a:gd name="connsiteY1" fmla="*/ 369676 h 1691232"/>
                <a:gd name="connsiteX2" fmla="*/ 1467324 w 1920409"/>
                <a:gd name="connsiteY2" fmla="*/ 345863 h 1691232"/>
                <a:gd name="connsiteX3" fmla="*/ 1419699 w 1920409"/>
                <a:gd name="connsiteY3" fmla="*/ 317288 h 1691232"/>
                <a:gd name="connsiteX4" fmla="*/ 1367311 w 1920409"/>
                <a:gd name="connsiteY4" fmla="*/ 160126 h 1691232"/>
                <a:gd name="connsiteX5" fmla="*/ 1338736 w 1920409"/>
                <a:gd name="connsiteY5" fmla="*/ 12488 h 1691232"/>
                <a:gd name="connsiteX6" fmla="*/ 1267299 w 1920409"/>
                <a:gd name="connsiteY6" fmla="*/ 12488 h 1691232"/>
                <a:gd name="connsiteX7" fmla="*/ 1214911 w 1920409"/>
                <a:gd name="connsiteY7" fmla="*/ 50588 h 1691232"/>
                <a:gd name="connsiteX8" fmla="*/ 1214911 w 1920409"/>
                <a:gd name="connsiteY8" fmla="*/ 155363 h 1691232"/>
                <a:gd name="connsiteX9" fmla="*/ 1186336 w 1920409"/>
                <a:gd name="connsiteY9" fmla="*/ 183938 h 1691232"/>
                <a:gd name="connsiteX10" fmla="*/ 1176811 w 1920409"/>
                <a:gd name="connsiteY10" fmla="*/ 255376 h 1691232"/>
                <a:gd name="connsiteX11" fmla="*/ 1114899 w 1920409"/>
                <a:gd name="connsiteY11" fmla="*/ 298238 h 1691232"/>
                <a:gd name="connsiteX12" fmla="*/ 1005361 w 1920409"/>
                <a:gd name="connsiteY12" fmla="*/ 312526 h 1691232"/>
                <a:gd name="connsiteX13" fmla="*/ 962499 w 1920409"/>
                <a:gd name="connsiteY13" fmla="*/ 355388 h 1691232"/>
                <a:gd name="connsiteX14" fmla="*/ 838674 w 1920409"/>
                <a:gd name="connsiteY14" fmla="*/ 355388 h 1691232"/>
                <a:gd name="connsiteX15" fmla="*/ 781524 w 1920409"/>
                <a:gd name="connsiteY15" fmla="*/ 426826 h 1691232"/>
                <a:gd name="connsiteX16" fmla="*/ 781524 w 1920409"/>
                <a:gd name="connsiteY16" fmla="*/ 460163 h 1691232"/>
                <a:gd name="connsiteX17" fmla="*/ 743424 w 1920409"/>
                <a:gd name="connsiteY17" fmla="*/ 483976 h 1691232"/>
                <a:gd name="connsiteX18" fmla="*/ 671986 w 1920409"/>
                <a:gd name="connsiteY18" fmla="*/ 417301 h 1691232"/>
                <a:gd name="connsiteX19" fmla="*/ 519586 w 1920409"/>
                <a:gd name="connsiteY19" fmla="*/ 412538 h 1691232"/>
                <a:gd name="connsiteX20" fmla="*/ 457674 w 1920409"/>
                <a:gd name="connsiteY20" fmla="*/ 431588 h 1691232"/>
                <a:gd name="connsiteX21" fmla="*/ 419574 w 1920409"/>
                <a:gd name="connsiteY21" fmla="*/ 417301 h 1691232"/>
                <a:gd name="connsiteX22" fmla="*/ 400524 w 1920409"/>
                <a:gd name="connsiteY22" fmla="*/ 355388 h 1691232"/>
                <a:gd name="connsiteX23" fmla="*/ 333849 w 1920409"/>
                <a:gd name="connsiteY23" fmla="*/ 303001 h 1691232"/>
                <a:gd name="connsiteX24" fmla="*/ 286224 w 1920409"/>
                <a:gd name="connsiteY24" fmla="*/ 236326 h 1691232"/>
                <a:gd name="connsiteX25" fmla="*/ 143349 w 1920409"/>
                <a:gd name="connsiteY25" fmla="*/ 255376 h 1691232"/>
                <a:gd name="connsiteX26" fmla="*/ 124299 w 1920409"/>
                <a:gd name="connsiteY26" fmla="*/ 331576 h 1691232"/>
                <a:gd name="connsiteX27" fmla="*/ 110011 w 1920409"/>
                <a:gd name="connsiteY27" fmla="*/ 364913 h 1691232"/>
                <a:gd name="connsiteX28" fmla="*/ 133824 w 1920409"/>
                <a:gd name="connsiteY28" fmla="*/ 412538 h 1691232"/>
                <a:gd name="connsiteX29" fmla="*/ 81436 w 1920409"/>
                <a:gd name="connsiteY29" fmla="*/ 450638 h 1691232"/>
                <a:gd name="connsiteX30" fmla="*/ 33811 w 1920409"/>
                <a:gd name="connsiteY30" fmla="*/ 445876 h 1691232"/>
                <a:gd name="connsiteX31" fmla="*/ 33811 w 1920409"/>
                <a:gd name="connsiteY31" fmla="*/ 517313 h 1691232"/>
                <a:gd name="connsiteX32" fmla="*/ 474 w 1920409"/>
                <a:gd name="connsiteY32" fmla="*/ 622088 h 1691232"/>
                <a:gd name="connsiteX33" fmla="*/ 62386 w 1920409"/>
                <a:gd name="connsiteY33" fmla="*/ 698288 h 1691232"/>
                <a:gd name="connsiteX34" fmla="*/ 111977 w 1920409"/>
                <a:gd name="connsiteY34" fmla="*/ 678550 h 1691232"/>
                <a:gd name="connsiteX35" fmla="*/ 112334 w 1920409"/>
                <a:gd name="connsiteY35" fmla="*/ 748809 h 1691232"/>
                <a:gd name="connsiteX36" fmla="*/ 167161 w 1920409"/>
                <a:gd name="connsiteY36" fmla="*/ 779251 h 1691232"/>
                <a:gd name="connsiteX37" fmla="*/ 236159 w 1920409"/>
                <a:gd name="connsiteY37" fmla="*/ 789463 h 1691232"/>
                <a:gd name="connsiteX38" fmla="*/ 271462 w 1920409"/>
                <a:gd name="connsiteY38" fmla="*/ 845434 h 1691232"/>
                <a:gd name="connsiteX39" fmla="*/ 270869 w 1920409"/>
                <a:gd name="connsiteY39" fmla="*/ 890506 h 1691232"/>
                <a:gd name="connsiteX40" fmla="*/ 295393 w 1920409"/>
                <a:gd name="connsiteY40" fmla="*/ 929981 h 1691232"/>
                <a:gd name="connsiteX41" fmla="*/ 341051 w 1920409"/>
                <a:gd name="connsiteY41" fmla="*/ 968573 h 1691232"/>
                <a:gd name="connsiteX42" fmla="*/ 426184 w 1920409"/>
                <a:gd name="connsiteY42" fmla="*/ 1022825 h 1691232"/>
                <a:gd name="connsiteX43" fmla="*/ 461961 w 1920409"/>
                <a:gd name="connsiteY43" fmla="*/ 1093918 h 1691232"/>
                <a:gd name="connsiteX44" fmla="*/ 441064 w 1920409"/>
                <a:gd name="connsiteY44" fmla="*/ 1163491 h 1691232"/>
                <a:gd name="connsiteX45" fmla="*/ 519111 w 1920409"/>
                <a:gd name="connsiteY45" fmla="*/ 1219954 h 1691232"/>
                <a:gd name="connsiteX46" fmla="*/ 591143 w 1920409"/>
                <a:gd name="connsiteY46" fmla="*/ 1252948 h 1691232"/>
                <a:gd name="connsiteX47" fmla="*/ 571974 w 1920409"/>
                <a:gd name="connsiteY47" fmla="*/ 1312651 h 1691232"/>
                <a:gd name="connsiteX48" fmla="*/ 662461 w 1920409"/>
                <a:gd name="connsiteY48" fmla="*/ 1465051 h 1691232"/>
                <a:gd name="connsiteX49" fmla="*/ 755271 w 1920409"/>
                <a:gd name="connsiteY49" fmla="*/ 1538205 h 1691232"/>
                <a:gd name="connsiteX50" fmla="*/ 805336 w 1920409"/>
                <a:gd name="connsiteY50" fmla="*/ 1488863 h 1691232"/>
                <a:gd name="connsiteX51" fmla="*/ 869926 w 1920409"/>
                <a:gd name="connsiteY51" fmla="*/ 1516260 h 1691232"/>
                <a:gd name="connsiteX52" fmla="*/ 924399 w 1920409"/>
                <a:gd name="connsiteY52" fmla="*/ 1484101 h 1691232"/>
                <a:gd name="connsiteX53" fmla="*/ 941246 w 1920409"/>
                <a:gd name="connsiteY53" fmla="*/ 1441925 h 1691232"/>
                <a:gd name="connsiteX54" fmla="*/ 1005123 w 1920409"/>
                <a:gd name="connsiteY54" fmla="*/ 1528337 h 1691232"/>
                <a:gd name="connsiteX55" fmla="*/ 1050190 w 1920409"/>
                <a:gd name="connsiteY55" fmla="*/ 1599431 h 1691232"/>
                <a:gd name="connsiteX56" fmla="*/ 1120136 w 1920409"/>
                <a:gd name="connsiteY56" fmla="*/ 1690950 h 1691232"/>
                <a:gd name="connsiteX57" fmla="*/ 1151034 w 1920409"/>
                <a:gd name="connsiteY57" fmla="*/ 1627859 h 1691232"/>
                <a:gd name="connsiteX58" fmla="*/ 1181693 w 1920409"/>
                <a:gd name="connsiteY58" fmla="*/ 1621379 h 1691232"/>
                <a:gd name="connsiteX59" fmla="*/ 1224792 w 1920409"/>
                <a:gd name="connsiteY59" fmla="*/ 1650642 h 1691232"/>
                <a:gd name="connsiteX60" fmla="*/ 1258367 w 1920409"/>
                <a:gd name="connsiteY60" fmla="*/ 1609988 h 1691232"/>
                <a:gd name="connsiteX61" fmla="*/ 1277188 w 1920409"/>
                <a:gd name="connsiteY61" fmla="*/ 1614605 h 1691232"/>
                <a:gd name="connsiteX62" fmla="*/ 1311230 w 1920409"/>
                <a:gd name="connsiteY62" fmla="*/ 1681082 h 1691232"/>
                <a:gd name="connsiteX63" fmla="*/ 1367786 w 1920409"/>
                <a:gd name="connsiteY63" fmla="*/ 1657613 h 1691232"/>
                <a:gd name="connsiteX64" fmla="*/ 1419818 w 1920409"/>
                <a:gd name="connsiteY64" fmla="*/ 1601492 h 1691232"/>
                <a:gd name="connsiteX65" fmla="*/ 1470595 w 1920409"/>
                <a:gd name="connsiteY65" fmla="*/ 1584949 h 1691232"/>
                <a:gd name="connsiteX66" fmla="*/ 1488274 w 1920409"/>
                <a:gd name="connsiteY66" fmla="*/ 1640771 h 1691232"/>
                <a:gd name="connsiteX67" fmla="*/ 1558169 w 1920409"/>
                <a:gd name="connsiteY67" fmla="*/ 1615093 h 1691232"/>
                <a:gd name="connsiteX68" fmla="*/ 1588947 w 1920409"/>
                <a:gd name="connsiteY68" fmla="*/ 1528337 h 1691232"/>
                <a:gd name="connsiteX69" fmla="*/ 1670383 w 1920409"/>
                <a:gd name="connsiteY69" fmla="*/ 1438195 h 1691232"/>
                <a:gd name="connsiteX70" fmla="*/ 1714974 w 1920409"/>
                <a:gd name="connsiteY70" fmla="*/ 1407065 h 1691232"/>
                <a:gd name="connsiteX71" fmla="*/ 1743343 w 1920409"/>
                <a:gd name="connsiteY71" fmla="*/ 1410360 h 1691232"/>
                <a:gd name="connsiteX72" fmla="*/ 1833138 w 1920409"/>
                <a:gd name="connsiteY72" fmla="*/ 1402304 h 1691232"/>
                <a:gd name="connsiteX73" fmla="*/ 1877070 w 1920409"/>
                <a:gd name="connsiteY73" fmla="*/ 1542673 h 1691232"/>
                <a:gd name="connsiteX74" fmla="*/ 1886424 w 1920409"/>
                <a:gd name="connsiteY74" fmla="*/ 1446001 h 1691232"/>
                <a:gd name="connsiteX75" fmla="*/ 1919761 w 1920409"/>
                <a:gd name="connsiteY75" fmla="*/ 1441238 h 1691232"/>
                <a:gd name="connsiteX76" fmla="*/ 1853086 w 1920409"/>
                <a:gd name="connsiteY76" fmla="*/ 1398376 h 1691232"/>
                <a:gd name="connsiteX77" fmla="*/ 1853086 w 1920409"/>
                <a:gd name="connsiteY77" fmla="*/ 1303126 h 1691232"/>
                <a:gd name="connsiteX78" fmla="*/ 1853086 w 1920409"/>
                <a:gd name="connsiteY78" fmla="*/ 1245976 h 1691232"/>
                <a:gd name="connsiteX79" fmla="*/ 1810224 w 1920409"/>
                <a:gd name="connsiteY79" fmla="*/ 1236451 h 1691232"/>
                <a:gd name="connsiteX80" fmla="*/ 1734024 w 1920409"/>
                <a:gd name="connsiteY80" fmla="*/ 1155488 h 1691232"/>
                <a:gd name="connsiteX81" fmla="*/ 1695924 w 1920409"/>
                <a:gd name="connsiteY81" fmla="*/ 974513 h 1691232"/>
                <a:gd name="connsiteX82" fmla="*/ 1643536 w 1920409"/>
                <a:gd name="connsiteY82" fmla="*/ 941176 h 1691232"/>
                <a:gd name="connsiteX83" fmla="*/ 1605436 w 1920409"/>
                <a:gd name="connsiteY83" fmla="*/ 884026 h 1691232"/>
                <a:gd name="connsiteX84" fmla="*/ 1557811 w 1920409"/>
                <a:gd name="connsiteY84" fmla="*/ 836401 h 1691232"/>
                <a:gd name="connsiteX85" fmla="*/ 1505424 w 1920409"/>
                <a:gd name="connsiteY85" fmla="*/ 817351 h 1691232"/>
                <a:gd name="connsiteX86" fmla="*/ 1453036 w 1920409"/>
                <a:gd name="connsiteY86" fmla="*/ 812588 h 1691232"/>
                <a:gd name="connsiteX87" fmla="*/ 1510186 w 1920409"/>
                <a:gd name="connsiteY87" fmla="*/ 779251 h 1691232"/>
                <a:gd name="connsiteX88" fmla="*/ 1476849 w 1920409"/>
                <a:gd name="connsiteY88" fmla="*/ 745913 h 1691232"/>
                <a:gd name="connsiteX89" fmla="*/ 1481611 w 1920409"/>
                <a:gd name="connsiteY89" fmla="*/ 722101 h 1691232"/>
                <a:gd name="connsiteX90" fmla="*/ 1572099 w 1920409"/>
                <a:gd name="connsiteY90" fmla="*/ 760201 h 1691232"/>
                <a:gd name="connsiteX91" fmla="*/ 1624486 w 1920409"/>
                <a:gd name="connsiteY91" fmla="*/ 693526 h 1691232"/>
                <a:gd name="connsiteX92" fmla="*/ 1614961 w 1920409"/>
                <a:gd name="connsiteY92" fmla="*/ 550651 h 1691232"/>
                <a:gd name="connsiteX93" fmla="*/ 1610199 w 1920409"/>
                <a:gd name="connsiteY93" fmla="*/ 412538 h 1691232"/>
                <a:gd name="connsiteX0" fmla="*/ 1610199 w 1920650"/>
                <a:gd name="connsiteY0" fmla="*/ 412538 h 1691232"/>
                <a:gd name="connsiteX1" fmla="*/ 1567336 w 1920650"/>
                <a:gd name="connsiteY1" fmla="*/ 369676 h 1691232"/>
                <a:gd name="connsiteX2" fmla="*/ 1467324 w 1920650"/>
                <a:gd name="connsiteY2" fmla="*/ 345863 h 1691232"/>
                <a:gd name="connsiteX3" fmla="*/ 1419699 w 1920650"/>
                <a:gd name="connsiteY3" fmla="*/ 317288 h 1691232"/>
                <a:gd name="connsiteX4" fmla="*/ 1367311 w 1920650"/>
                <a:gd name="connsiteY4" fmla="*/ 160126 h 1691232"/>
                <a:gd name="connsiteX5" fmla="*/ 1338736 w 1920650"/>
                <a:gd name="connsiteY5" fmla="*/ 12488 h 1691232"/>
                <a:gd name="connsiteX6" fmla="*/ 1267299 w 1920650"/>
                <a:gd name="connsiteY6" fmla="*/ 12488 h 1691232"/>
                <a:gd name="connsiteX7" fmla="*/ 1214911 w 1920650"/>
                <a:gd name="connsiteY7" fmla="*/ 50588 h 1691232"/>
                <a:gd name="connsiteX8" fmla="*/ 1214911 w 1920650"/>
                <a:gd name="connsiteY8" fmla="*/ 155363 h 1691232"/>
                <a:gd name="connsiteX9" fmla="*/ 1186336 w 1920650"/>
                <a:gd name="connsiteY9" fmla="*/ 183938 h 1691232"/>
                <a:gd name="connsiteX10" fmla="*/ 1176811 w 1920650"/>
                <a:gd name="connsiteY10" fmla="*/ 255376 h 1691232"/>
                <a:gd name="connsiteX11" fmla="*/ 1114899 w 1920650"/>
                <a:gd name="connsiteY11" fmla="*/ 298238 h 1691232"/>
                <a:gd name="connsiteX12" fmla="*/ 1005361 w 1920650"/>
                <a:gd name="connsiteY12" fmla="*/ 312526 h 1691232"/>
                <a:gd name="connsiteX13" fmla="*/ 962499 w 1920650"/>
                <a:gd name="connsiteY13" fmla="*/ 355388 h 1691232"/>
                <a:gd name="connsiteX14" fmla="*/ 838674 w 1920650"/>
                <a:gd name="connsiteY14" fmla="*/ 355388 h 1691232"/>
                <a:gd name="connsiteX15" fmla="*/ 781524 w 1920650"/>
                <a:gd name="connsiteY15" fmla="*/ 426826 h 1691232"/>
                <a:gd name="connsiteX16" fmla="*/ 781524 w 1920650"/>
                <a:gd name="connsiteY16" fmla="*/ 460163 h 1691232"/>
                <a:gd name="connsiteX17" fmla="*/ 743424 w 1920650"/>
                <a:gd name="connsiteY17" fmla="*/ 483976 h 1691232"/>
                <a:gd name="connsiteX18" fmla="*/ 671986 w 1920650"/>
                <a:gd name="connsiteY18" fmla="*/ 417301 h 1691232"/>
                <a:gd name="connsiteX19" fmla="*/ 519586 w 1920650"/>
                <a:gd name="connsiteY19" fmla="*/ 412538 h 1691232"/>
                <a:gd name="connsiteX20" fmla="*/ 457674 w 1920650"/>
                <a:gd name="connsiteY20" fmla="*/ 431588 h 1691232"/>
                <a:gd name="connsiteX21" fmla="*/ 419574 w 1920650"/>
                <a:gd name="connsiteY21" fmla="*/ 417301 h 1691232"/>
                <a:gd name="connsiteX22" fmla="*/ 400524 w 1920650"/>
                <a:gd name="connsiteY22" fmla="*/ 355388 h 1691232"/>
                <a:gd name="connsiteX23" fmla="*/ 333849 w 1920650"/>
                <a:gd name="connsiteY23" fmla="*/ 303001 h 1691232"/>
                <a:gd name="connsiteX24" fmla="*/ 286224 w 1920650"/>
                <a:gd name="connsiteY24" fmla="*/ 236326 h 1691232"/>
                <a:gd name="connsiteX25" fmla="*/ 143349 w 1920650"/>
                <a:gd name="connsiteY25" fmla="*/ 255376 h 1691232"/>
                <a:gd name="connsiteX26" fmla="*/ 124299 w 1920650"/>
                <a:gd name="connsiteY26" fmla="*/ 331576 h 1691232"/>
                <a:gd name="connsiteX27" fmla="*/ 110011 w 1920650"/>
                <a:gd name="connsiteY27" fmla="*/ 364913 h 1691232"/>
                <a:gd name="connsiteX28" fmla="*/ 133824 w 1920650"/>
                <a:gd name="connsiteY28" fmla="*/ 412538 h 1691232"/>
                <a:gd name="connsiteX29" fmla="*/ 81436 w 1920650"/>
                <a:gd name="connsiteY29" fmla="*/ 450638 h 1691232"/>
                <a:gd name="connsiteX30" fmla="*/ 33811 w 1920650"/>
                <a:gd name="connsiteY30" fmla="*/ 445876 h 1691232"/>
                <a:gd name="connsiteX31" fmla="*/ 33811 w 1920650"/>
                <a:gd name="connsiteY31" fmla="*/ 517313 h 1691232"/>
                <a:gd name="connsiteX32" fmla="*/ 474 w 1920650"/>
                <a:gd name="connsiteY32" fmla="*/ 622088 h 1691232"/>
                <a:gd name="connsiteX33" fmla="*/ 62386 w 1920650"/>
                <a:gd name="connsiteY33" fmla="*/ 698288 h 1691232"/>
                <a:gd name="connsiteX34" fmla="*/ 111977 w 1920650"/>
                <a:gd name="connsiteY34" fmla="*/ 678550 h 1691232"/>
                <a:gd name="connsiteX35" fmla="*/ 112334 w 1920650"/>
                <a:gd name="connsiteY35" fmla="*/ 748809 h 1691232"/>
                <a:gd name="connsiteX36" fmla="*/ 167161 w 1920650"/>
                <a:gd name="connsiteY36" fmla="*/ 779251 h 1691232"/>
                <a:gd name="connsiteX37" fmla="*/ 236159 w 1920650"/>
                <a:gd name="connsiteY37" fmla="*/ 789463 h 1691232"/>
                <a:gd name="connsiteX38" fmla="*/ 271462 w 1920650"/>
                <a:gd name="connsiteY38" fmla="*/ 845434 h 1691232"/>
                <a:gd name="connsiteX39" fmla="*/ 270869 w 1920650"/>
                <a:gd name="connsiteY39" fmla="*/ 890506 h 1691232"/>
                <a:gd name="connsiteX40" fmla="*/ 295393 w 1920650"/>
                <a:gd name="connsiteY40" fmla="*/ 929981 h 1691232"/>
                <a:gd name="connsiteX41" fmla="*/ 341051 w 1920650"/>
                <a:gd name="connsiteY41" fmla="*/ 968573 h 1691232"/>
                <a:gd name="connsiteX42" fmla="*/ 426184 w 1920650"/>
                <a:gd name="connsiteY42" fmla="*/ 1022825 h 1691232"/>
                <a:gd name="connsiteX43" fmla="*/ 461961 w 1920650"/>
                <a:gd name="connsiteY43" fmla="*/ 1093918 h 1691232"/>
                <a:gd name="connsiteX44" fmla="*/ 441064 w 1920650"/>
                <a:gd name="connsiteY44" fmla="*/ 1163491 h 1691232"/>
                <a:gd name="connsiteX45" fmla="*/ 519111 w 1920650"/>
                <a:gd name="connsiteY45" fmla="*/ 1219954 h 1691232"/>
                <a:gd name="connsiteX46" fmla="*/ 591143 w 1920650"/>
                <a:gd name="connsiteY46" fmla="*/ 1252948 h 1691232"/>
                <a:gd name="connsiteX47" fmla="*/ 571974 w 1920650"/>
                <a:gd name="connsiteY47" fmla="*/ 1312651 h 1691232"/>
                <a:gd name="connsiteX48" fmla="*/ 662461 w 1920650"/>
                <a:gd name="connsiteY48" fmla="*/ 1465051 h 1691232"/>
                <a:gd name="connsiteX49" fmla="*/ 755271 w 1920650"/>
                <a:gd name="connsiteY49" fmla="*/ 1538205 h 1691232"/>
                <a:gd name="connsiteX50" fmla="*/ 805336 w 1920650"/>
                <a:gd name="connsiteY50" fmla="*/ 1488863 h 1691232"/>
                <a:gd name="connsiteX51" fmla="*/ 869926 w 1920650"/>
                <a:gd name="connsiteY51" fmla="*/ 1516260 h 1691232"/>
                <a:gd name="connsiteX52" fmla="*/ 924399 w 1920650"/>
                <a:gd name="connsiteY52" fmla="*/ 1484101 h 1691232"/>
                <a:gd name="connsiteX53" fmla="*/ 941246 w 1920650"/>
                <a:gd name="connsiteY53" fmla="*/ 1441925 h 1691232"/>
                <a:gd name="connsiteX54" fmla="*/ 1005123 w 1920650"/>
                <a:gd name="connsiteY54" fmla="*/ 1528337 h 1691232"/>
                <a:gd name="connsiteX55" fmla="*/ 1050190 w 1920650"/>
                <a:gd name="connsiteY55" fmla="*/ 1599431 h 1691232"/>
                <a:gd name="connsiteX56" fmla="*/ 1120136 w 1920650"/>
                <a:gd name="connsiteY56" fmla="*/ 1690950 h 1691232"/>
                <a:gd name="connsiteX57" fmla="*/ 1151034 w 1920650"/>
                <a:gd name="connsiteY57" fmla="*/ 1627859 h 1691232"/>
                <a:gd name="connsiteX58" fmla="*/ 1181693 w 1920650"/>
                <a:gd name="connsiteY58" fmla="*/ 1621379 h 1691232"/>
                <a:gd name="connsiteX59" fmla="*/ 1224792 w 1920650"/>
                <a:gd name="connsiteY59" fmla="*/ 1650642 h 1691232"/>
                <a:gd name="connsiteX60" fmla="*/ 1258367 w 1920650"/>
                <a:gd name="connsiteY60" fmla="*/ 1609988 h 1691232"/>
                <a:gd name="connsiteX61" fmla="*/ 1277188 w 1920650"/>
                <a:gd name="connsiteY61" fmla="*/ 1614605 h 1691232"/>
                <a:gd name="connsiteX62" fmla="*/ 1311230 w 1920650"/>
                <a:gd name="connsiteY62" fmla="*/ 1681082 h 1691232"/>
                <a:gd name="connsiteX63" fmla="*/ 1367786 w 1920650"/>
                <a:gd name="connsiteY63" fmla="*/ 1657613 h 1691232"/>
                <a:gd name="connsiteX64" fmla="*/ 1419818 w 1920650"/>
                <a:gd name="connsiteY64" fmla="*/ 1601492 h 1691232"/>
                <a:gd name="connsiteX65" fmla="*/ 1470595 w 1920650"/>
                <a:gd name="connsiteY65" fmla="*/ 1584949 h 1691232"/>
                <a:gd name="connsiteX66" fmla="*/ 1488274 w 1920650"/>
                <a:gd name="connsiteY66" fmla="*/ 1640771 h 1691232"/>
                <a:gd name="connsiteX67" fmla="*/ 1558169 w 1920650"/>
                <a:gd name="connsiteY67" fmla="*/ 1615093 h 1691232"/>
                <a:gd name="connsiteX68" fmla="*/ 1588947 w 1920650"/>
                <a:gd name="connsiteY68" fmla="*/ 1528337 h 1691232"/>
                <a:gd name="connsiteX69" fmla="*/ 1670383 w 1920650"/>
                <a:gd name="connsiteY69" fmla="*/ 1438195 h 1691232"/>
                <a:gd name="connsiteX70" fmla="*/ 1714974 w 1920650"/>
                <a:gd name="connsiteY70" fmla="*/ 1407065 h 1691232"/>
                <a:gd name="connsiteX71" fmla="*/ 1743343 w 1920650"/>
                <a:gd name="connsiteY71" fmla="*/ 1410360 h 1691232"/>
                <a:gd name="connsiteX72" fmla="*/ 1833138 w 1920650"/>
                <a:gd name="connsiteY72" fmla="*/ 1402304 h 1691232"/>
                <a:gd name="connsiteX73" fmla="*/ 1816054 w 1920650"/>
                <a:gd name="connsiteY73" fmla="*/ 1453316 h 1691232"/>
                <a:gd name="connsiteX74" fmla="*/ 1886424 w 1920650"/>
                <a:gd name="connsiteY74" fmla="*/ 1446001 h 1691232"/>
                <a:gd name="connsiteX75" fmla="*/ 1919761 w 1920650"/>
                <a:gd name="connsiteY75" fmla="*/ 1441238 h 1691232"/>
                <a:gd name="connsiteX76" fmla="*/ 1853086 w 1920650"/>
                <a:gd name="connsiteY76" fmla="*/ 1398376 h 1691232"/>
                <a:gd name="connsiteX77" fmla="*/ 1853086 w 1920650"/>
                <a:gd name="connsiteY77" fmla="*/ 1303126 h 1691232"/>
                <a:gd name="connsiteX78" fmla="*/ 1853086 w 1920650"/>
                <a:gd name="connsiteY78" fmla="*/ 1245976 h 1691232"/>
                <a:gd name="connsiteX79" fmla="*/ 1810224 w 1920650"/>
                <a:gd name="connsiteY79" fmla="*/ 1236451 h 1691232"/>
                <a:gd name="connsiteX80" fmla="*/ 1734024 w 1920650"/>
                <a:gd name="connsiteY80" fmla="*/ 1155488 h 1691232"/>
                <a:gd name="connsiteX81" fmla="*/ 1695924 w 1920650"/>
                <a:gd name="connsiteY81" fmla="*/ 974513 h 1691232"/>
                <a:gd name="connsiteX82" fmla="*/ 1643536 w 1920650"/>
                <a:gd name="connsiteY82" fmla="*/ 941176 h 1691232"/>
                <a:gd name="connsiteX83" fmla="*/ 1605436 w 1920650"/>
                <a:gd name="connsiteY83" fmla="*/ 884026 h 1691232"/>
                <a:gd name="connsiteX84" fmla="*/ 1557811 w 1920650"/>
                <a:gd name="connsiteY84" fmla="*/ 836401 h 1691232"/>
                <a:gd name="connsiteX85" fmla="*/ 1505424 w 1920650"/>
                <a:gd name="connsiteY85" fmla="*/ 817351 h 1691232"/>
                <a:gd name="connsiteX86" fmla="*/ 1453036 w 1920650"/>
                <a:gd name="connsiteY86" fmla="*/ 812588 h 1691232"/>
                <a:gd name="connsiteX87" fmla="*/ 1510186 w 1920650"/>
                <a:gd name="connsiteY87" fmla="*/ 779251 h 1691232"/>
                <a:gd name="connsiteX88" fmla="*/ 1476849 w 1920650"/>
                <a:gd name="connsiteY88" fmla="*/ 745913 h 1691232"/>
                <a:gd name="connsiteX89" fmla="*/ 1481611 w 1920650"/>
                <a:gd name="connsiteY89" fmla="*/ 722101 h 1691232"/>
                <a:gd name="connsiteX90" fmla="*/ 1572099 w 1920650"/>
                <a:gd name="connsiteY90" fmla="*/ 760201 h 1691232"/>
                <a:gd name="connsiteX91" fmla="*/ 1624486 w 1920650"/>
                <a:gd name="connsiteY91" fmla="*/ 693526 h 1691232"/>
                <a:gd name="connsiteX92" fmla="*/ 1614961 w 1920650"/>
                <a:gd name="connsiteY92" fmla="*/ 550651 h 1691232"/>
                <a:gd name="connsiteX93" fmla="*/ 1610199 w 1920650"/>
                <a:gd name="connsiteY93" fmla="*/ 412538 h 1691232"/>
                <a:gd name="connsiteX0" fmla="*/ 1610199 w 1920031"/>
                <a:gd name="connsiteY0" fmla="*/ 412538 h 1691232"/>
                <a:gd name="connsiteX1" fmla="*/ 1567336 w 1920031"/>
                <a:gd name="connsiteY1" fmla="*/ 369676 h 1691232"/>
                <a:gd name="connsiteX2" fmla="*/ 1467324 w 1920031"/>
                <a:gd name="connsiteY2" fmla="*/ 345863 h 1691232"/>
                <a:gd name="connsiteX3" fmla="*/ 1419699 w 1920031"/>
                <a:gd name="connsiteY3" fmla="*/ 317288 h 1691232"/>
                <a:gd name="connsiteX4" fmla="*/ 1367311 w 1920031"/>
                <a:gd name="connsiteY4" fmla="*/ 160126 h 1691232"/>
                <a:gd name="connsiteX5" fmla="*/ 1338736 w 1920031"/>
                <a:gd name="connsiteY5" fmla="*/ 12488 h 1691232"/>
                <a:gd name="connsiteX6" fmla="*/ 1267299 w 1920031"/>
                <a:gd name="connsiteY6" fmla="*/ 12488 h 1691232"/>
                <a:gd name="connsiteX7" fmla="*/ 1214911 w 1920031"/>
                <a:gd name="connsiteY7" fmla="*/ 50588 h 1691232"/>
                <a:gd name="connsiteX8" fmla="*/ 1214911 w 1920031"/>
                <a:gd name="connsiteY8" fmla="*/ 155363 h 1691232"/>
                <a:gd name="connsiteX9" fmla="*/ 1186336 w 1920031"/>
                <a:gd name="connsiteY9" fmla="*/ 183938 h 1691232"/>
                <a:gd name="connsiteX10" fmla="*/ 1176811 w 1920031"/>
                <a:gd name="connsiteY10" fmla="*/ 255376 h 1691232"/>
                <a:gd name="connsiteX11" fmla="*/ 1114899 w 1920031"/>
                <a:gd name="connsiteY11" fmla="*/ 298238 h 1691232"/>
                <a:gd name="connsiteX12" fmla="*/ 1005361 w 1920031"/>
                <a:gd name="connsiteY12" fmla="*/ 312526 h 1691232"/>
                <a:gd name="connsiteX13" fmla="*/ 962499 w 1920031"/>
                <a:gd name="connsiteY13" fmla="*/ 355388 h 1691232"/>
                <a:gd name="connsiteX14" fmla="*/ 838674 w 1920031"/>
                <a:gd name="connsiteY14" fmla="*/ 355388 h 1691232"/>
                <a:gd name="connsiteX15" fmla="*/ 781524 w 1920031"/>
                <a:gd name="connsiteY15" fmla="*/ 426826 h 1691232"/>
                <a:gd name="connsiteX16" fmla="*/ 781524 w 1920031"/>
                <a:gd name="connsiteY16" fmla="*/ 460163 h 1691232"/>
                <a:gd name="connsiteX17" fmla="*/ 743424 w 1920031"/>
                <a:gd name="connsiteY17" fmla="*/ 483976 h 1691232"/>
                <a:gd name="connsiteX18" fmla="*/ 671986 w 1920031"/>
                <a:gd name="connsiteY18" fmla="*/ 417301 h 1691232"/>
                <a:gd name="connsiteX19" fmla="*/ 519586 w 1920031"/>
                <a:gd name="connsiteY19" fmla="*/ 412538 h 1691232"/>
                <a:gd name="connsiteX20" fmla="*/ 457674 w 1920031"/>
                <a:gd name="connsiteY20" fmla="*/ 431588 h 1691232"/>
                <a:gd name="connsiteX21" fmla="*/ 419574 w 1920031"/>
                <a:gd name="connsiteY21" fmla="*/ 417301 h 1691232"/>
                <a:gd name="connsiteX22" fmla="*/ 400524 w 1920031"/>
                <a:gd name="connsiteY22" fmla="*/ 355388 h 1691232"/>
                <a:gd name="connsiteX23" fmla="*/ 333849 w 1920031"/>
                <a:gd name="connsiteY23" fmla="*/ 303001 h 1691232"/>
                <a:gd name="connsiteX24" fmla="*/ 286224 w 1920031"/>
                <a:gd name="connsiteY24" fmla="*/ 236326 h 1691232"/>
                <a:gd name="connsiteX25" fmla="*/ 143349 w 1920031"/>
                <a:gd name="connsiteY25" fmla="*/ 255376 h 1691232"/>
                <a:gd name="connsiteX26" fmla="*/ 124299 w 1920031"/>
                <a:gd name="connsiteY26" fmla="*/ 331576 h 1691232"/>
                <a:gd name="connsiteX27" fmla="*/ 110011 w 1920031"/>
                <a:gd name="connsiteY27" fmla="*/ 364913 h 1691232"/>
                <a:gd name="connsiteX28" fmla="*/ 133824 w 1920031"/>
                <a:gd name="connsiteY28" fmla="*/ 412538 h 1691232"/>
                <a:gd name="connsiteX29" fmla="*/ 81436 w 1920031"/>
                <a:gd name="connsiteY29" fmla="*/ 450638 h 1691232"/>
                <a:gd name="connsiteX30" fmla="*/ 33811 w 1920031"/>
                <a:gd name="connsiteY30" fmla="*/ 445876 h 1691232"/>
                <a:gd name="connsiteX31" fmla="*/ 33811 w 1920031"/>
                <a:gd name="connsiteY31" fmla="*/ 517313 h 1691232"/>
                <a:gd name="connsiteX32" fmla="*/ 474 w 1920031"/>
                <a:gd name="connsiteY32" fmla="*/ 622088 h 1691232"/>
                <a:gd name="connsiteX33" fmla="*/ 62386 w 1920031"/>
                <a:gd name="connsiteY33" fmla="*/ 698288 h 1691232"/>
                <a:gd name="connsiteX34" fmla="*/ 111977 w 1920031"/>
                <a:gd name="connsiteY34" fmla="*/ 678550 h 1691232"/>
                <a:gd name="connsiteX35" fmla="*/ 112334 w 1920031"/>
                <a:gd name="connsiteY35" fmla="*/ 748809 h 1691232"/>
                <a:gd name="connsiteX36" fmla="*/ 167161 w 1920031"/>
                <a:gd name="connsiteY36" fmla="*/ 779251 h 1691232"/>
                <a:gd name="connsiteX37" fmla="*/ 236159 w 1920031"/>
                <a:gd name="connsiteY37" fmla="*/ 789463 h 1691232"/>
                <a:gd name="connsiteX38" fmla="*/ 271462 w 1920031"/>
                <a:gd name="connsiteY38" fmla="*/ 845434 h 1691232"/>
                <a:gd name="connsiteX39" fmla="*/ 270869 w 1920031"/>
                <a:gd name="connsiteY39" fmla="*/ 890506 h 1691232"/>
                <a:gd name="connsiteX40" fmla="*/ 295393 w 1920031"/>
                <a:gd name="connsiteY40" fmla="*/ 929981 h 1691232"/>
                <a:gd name="connsiteX41" fmla="*/ 341051 w 1920031"/>
                <a:gd name="connsiteY41" fmla="*/ 968573 h 1691232"/>
                <a:gd name="connsiteX42" fmla="*/ 426184 w 1920031"/>
                <a:gd name="connsiteY42" fmla="*/ 1022825 h 1691232"/>
                <a:gd name="connsiteX43" fmla="*/ 461961 w 1920031"/>
                <a:gd name="connsiteY43" fmla="*/ 1093918 h 1691232"/>
                <a:gd name="connsiteX44" fmla="*/ 441064 w 1920031"/>
                <a:gd name="connsiteY44" fmla="*/ 1163491 h 1691232"/>
                <a:gd name="connsiteX45" fmla="*/ 519111 w 1920031"/>
                <a:gd name="connsiteY45" fmla="*/ 1219954 h 1691232"/>
                <a:gd name="connsiteX46" fmla="*/ 591143 w 1920031"/>
                <a:gd name="connsiteY46" fmla="*/ 1252948 h 1691232"/>
                <a:gd name="connsiteX47" fmla="*/ 571974 w 1920031"/>
                <a:gd name="connsiteY47" fmla="*/ 1312651 h 1691232"/>
                <a:gd name="connsiteX48" fmla="*/ 662461 w 1920031"/>
                <a:gd name="connsiteY48" fmla="*/ 1465051 h 1691232"/>
                <a:gd name="connsiteX49" fmla="*/ 755271 w 1920031"/>
                <a:gd name="connsiteY49" fmla="*/ 1538205 h 1691232"/>
                <a:gd name="connsiteX50" fmla="*/ 805336 w 1920031"/>
                <a:gd name="connsiteY50" fmla="*/ 1488863 h 1691232"/>
                <a:gd name="connsiteX51" fmla="*/ 869926 w 1920031"/>
                <a:gd name="connsiteY51" fmla="*/ 1516260 h 1691232"/>
                <a:gd name="connsiteX52" fmla="*/ 924399 w 1920031"/>
                <a:gd name="connsiteY52" fmla="*/ 1484101 h 1691232"/>
                <a:gd name="connsiteX53" fmla="*/ 941246 w 1920031"/>
                <a:gd name="connsiteY53" fmla="*/ 1441925 h 1691232"/>
                <a:gd name="connsiteX54" fmla="*/ 1005123 w 1920031"/>
                <a:gd name="connsiteY54" fmla="*/ 1528337 h 1691232"/>
                <a:gd name="connsiteX55" fmla="*/ 1050190 w 1920031"/>
                <a:gd name="connsiteY55" fmla="*/ 1599431 h 1691232"/>
                <a:gd name="connsiteX56" fmla="*/ 1120136 w 1920031"/>
                <a:gd name="connsiteY56" fmla="*/ 1690950 h 1691232"/>
                <a:gd name="connsiteX57" fmla="*/ 1151034 w 1920031"/>
                <a:gd name="connsiteY57" fmla="*/ 1627859 h 1691232"/>
                <a:gd name="connsiteX58" fmla="*/ 1181693 w 1920031"/>
                <a:gd name="connsiteY58" fmla="*/ 1621379 h 1691232"/>
                <a:gd name="connsiteX59" fmla="*/ 1224792 w 1920031"/>
                <a:gd name="connsiteY59" fmla="*/ 1650642 h 1691232"/>
                <a:gd name="connsiteX60" fmla="*/ 1258367 w 1920031"/>
                <a:gd name="connsiteY60" fmla="*/ 1609988 h 1691232"/>
                <a:gd name="connsiteX61" fmla="*/ 1277188 w 1920031"/>
                <a:gd name="connsiteY61" fmla="*/ 1614605 h 1691232"/>
                <a:gd name="connsiteX62" fmla="*/ 1311230 w 1920031"/>
                <a:gd name="connsiteY62" fmla="*/ 1681082 h 1691232"/>
                <a:gd name="connsiteX63" fmla="*/ 1367786 w 1920031"/>
                <a:gd name="connsiteY63" fmla="*/ 1657613 h 1691232"/>
                <a:gd name="connsiteX64" fmla="*/ 1419818 w 1920031"/>
                <a:gd name="connsiteY64" fmla="*/ 1601492 h 1691232"/>
                <a:gd name="connsiteX65" fmla="*/ 1470595 w 1920031"/>
                <a:gd name="connsiteY65" fmla="*/ 1584949 h 1691232"/>
                <a:gd name="connsiteX66" fmla="*/ 1488274 w 1920031"/>
                <a:gd name="connsiteY66" fmla="*/ 1640771 h 1691232"/>
                <a:gd name="connsiteX67" fmla="*/ 1558169 w 1920031"/>
                <a:gd name="connsiteY67" fmla="*/ 1615093 h 1691232"/>
                <a:gd name="connsiteX68" fmla="*/ 1588947 w 1920031"/>
                <a:gd name="connsiteY68" fmla="*/ 1528337 h 1691232"/>
                <a:gd name="connsiteX69" fmla="*/ 1670383 w 1920031"/>
                <a:gd name="connsiteY69" fmla="*/ 1438195 h 1691232"/>
                <a:gd name="connsiteX70" fmla="*/ 1714974 w 1920031"/>
                <a:gd name="connsiteY70" fmla="*/ 1407065 h 1691232"/>
                <a:gd name="connsiteX71" fmla="*/ 1743343 w 1920031"/>
                <a:gd name="connsiteY71" fmla="*/ 1410360 h 1691232"/>
                <a:gd name="connsiteX72" fmla="*/ 1833138 w 1920031"/>
                <a:gd name="connsiteY72" fmla="*/ 1402304 h 1691232"/>
                <a:gd name="connsiteX73" fmla="*/ 1816054 w 1920031"/>
                <a:gd name="connsiteY73" fmla="*/ 1453316 h 1691232"/>
                <a:gd name="connsiteX74" fmla="*/ 1874221 w 1920031"/>
                <a:gd name="connsiteY74" fmla="*/ 1476637 h 1691232"/>
                <a:gd name="connsiteX75" fmla="*/ 1919761 w 1920031"/>
                <a:gd name="connsiteY75" fmla="*/ 1441238 h 1691232"/>
                <a:gd name="connsiteX76" fmla="*/ 1853086 w 1920031"/>
                <a:gd name="connsiteY76" fmla="*/ 1398376 h 1691232"/>
                <a:gd name="connsiteX77" fmla="*/ 1853086 w 1920031"/>
                <a:gd name="connsiteY77" fmla="*/ 1303126 h 1691232"/>
                <a:gd name="connsiteX78" fmla="*/ 1853086 w 1920031"/>
                <a:gd name="connsiteY78" fmla="*/ 1245976 h 1691232"/>
                <a:gd name="connsiteX79" fmla="*/ 1810224 w 1920031"/>
                <a:gd name="connsiteY79" fmla="*/ 1236451 h 1691232"/>
                <a:gd name="connsiteX80" fmla="*/ 1734024 w 1920031"/>
                <a:gd name="connsiteY80" fmla="*/ 1155488 h 1691232"/>
                <a:gd name="connsiteX81" fmla="*/ 1695924 w 1920031"/>
                <a:gd name="connsiteY81" fmla="*/ 974513 h 1691232"/>
                <a:gd name="connsiteX82" fmla="*/ 1643536 w 1920031"/>
                <a:gd name="connsiteY82" fmla="*/ 941176 h 1691232"/>
                <a:gd name="connsiteX83" fmla="*/ 1605436 w 1920031"/>
                <a:gd name="connsiteY83" fmla="*/ 884026 h 1691232"/>
                <a:gd name="connsiteX84" fmla="*/ 1557811 w 1920031"/>
                <a:gd name="connsiteY84" fmla="*/ 836401 h 1691232"/>
                <a:gd name="connsiteX85" fmla="*/ 1505424 w 1920031"/>
                <a:gd name="connsiteY85" fmla="*/ 817351 h 1691232"/>
                <a:gd name="connsiteX86" fmla="*/ 1453036 w 1920031"/>
                <a:gd name="connsiteY86" fmla="*/ 812588 h 1691232"/>
                <a:gd name="connsiteX87" fmla="*/ 1510186 w 1920031"/>
                <a:gd name="connsiteY87" fmla="*/ 779251 h 1691232"/>
                <a:gd name="connsiteX88" fmla="*/ 1476849 w 1920031"/>
                <a:gd name="connsiteY88" fmla="*/ 745913 h 1691232"/>
                <a:gd name="connsiteX89" fmla="*/ 1481611 w 1920031"/>
                <a:gd name="connsiteY89" fmla="*/ 722101 h 1691232"/>
                <a:gd name="connsiteX90" fmla="*/ 1572099 w 1920031"/>
                <a:gd name="connsiteY90" fmla="*/ 760201 h 1691232"/>
                <a:gd name="connsiteX91" fmla="*/ 1624486 w 1920031"/>
                <a:gd name="connsiteY91" fmla="*/ 693526 h 1691232"/>
                <a:gd name="connsiteX92" fmla="*/ 1614961 w 1920031"/>
                <a:gd name="connsiteY92" fmla="*/ 550651 h 1691232"/>
                <a:gd name="connsiteX93" fmla="*/ 1610199 w 1920031"/>
                <a:gd name="connsiteY93" fmla="*/ 412538 h 1691232"/>
                <a:gd name="connsiteX0" fmla="*/ 1610199 w 1920031"/>
                <a:gd name="connsiteY0" fmla="*/ 412538 h 1691232"/>
                <a:gd name="connsiteX1" fmla="*/ 1567336 w 1920031"/>
                <a:gd name="connsiteY1" fmla="*/ 369676 h 1691232"/>
                <a:gd name="connsiteX2" fmla="*/ 1467324 w 1920031"/>
                <a:gd name="connsiteY2" fmla="*/ 345863 h 1691232"/>
                <a:gd name="connsiteX3" fmla="*/ 1419699 w 1920031"/>
                <a:gd name="connsiteY3" fmla="*/ 317288 h 1691232"/>
                <a:gd name="connsiteX4" fmla="*/ 1367311 w 1920031"/>
                <a:gd name="connsiteY4" fmla="*/ 160126 h 1691232"/>
                <a:gd name="connsiteX5" fmla="*/ 1338736 w 1920031"/>
                <a:gd name="connsiteY5" fmla="*/ 12488 h 1691232"/>
                <a:gd name="connsiteX6" fmla="*/ 1267299 w 1920031"/>
                <a:gd name="connsiteY6" fmla="*/ 12488 h 1691232"/>
                <a:gd name="connsiteX7" fmla="*/ 1214911 w 1920031"/>
                <a:gd name="connsiteY7" fmla="*/ 50588 h 1691232"/>
                <a:gd name="connsiteX8" fmla="*/ 1214911 w 1920031"/>
                <a:gd name="connsiteY8" fmla="*/ 155363 h 1691232"/>
                <a:gd name="connsiteX9" fmla="*/ 1186336 w 1920031"/>
                <a:gd name="connsiteY9" fmla="*/ 183938 h 1691232"/>
                <a:gd name="connsiteX10" fmla="*/ 1176811 w 1920031"/>
                <a:gd name="connsiteY10" fmla="*/ 255376 h 1691232"/>
                <a:gd name="connsiteX11" fmla="*/ 1114899 w 1920031"/>
                <a:gd name="connsiteY11" fmla="*/ 298238 h 1691232"/>
                <a:gd name="connsiteX12" fmla="*/ 1005361 w 1920031"/>
                <a:gd name="connsiteY12" fmla="*/ 312526 h 1691232"/>
                <a:gd name="connsiteX13" fmla="*/ 962499 w 1920031"/>
                <a:gd name="connsiteY13" fmla="*/ 355388 h 1691232"/>
                <a:gd name="connsiteX14" fmla="*/ 838674 w 1920031"/>
                <a:gd name="connsiteY14" fmla="*/ 355388 h 1691232"/>
                <a:gd name="connsiteX15" fmla="*/ 781524 w 1920031"/>
                <a:gd name="connsiteY15" fmla="*/ 426826 h 1691232"/>
                <a:gd name="connsiteX16" fmla="*/ 781524 w 1920031"/>
                <a:gd name="connsiteY16" fmla="*/ 460163 h 1691232"/>
                <a:gd name="connsiteX17" fmla="*/ 743424 w 1920031"/>
                <a:gd name="connsiteY17" fmla="*/ 483976 h 1691232"/>
                <a:gd name="connsiteX18" fmla="*/ 671986 w 1920031"/>
                <a:gd name="connsiteY18" fmla="*/ 417301 h 1691232"/>
                <a:gd name="connsiteX19" fmla="*/ 519586 w 1920031"/>
                <a:gd name="connsiteY19" fmla="*/ 412538 h 1691232"/>
                <a:gd name="connsiteX20" fmla="*/ 457674 w 1920031"/>
                <a:gd name="connsiteY20" fmla="*/ 431588 h 1691232"/>
                <a:gd name="connsiteX21" fmla="*/ 419574 w 1920031"/>
                <a:gd name="connsiteY21" fmla="*/ 417301 h 1691232"/>
                <a:gd name="connsiteX22" fmla="*/ 400524 w 1920031"/>
                <a:gd name="connsiteY22" fmla="*/ 355388 h 1691232"/>
                <a:gd name="connsiteX23" fmla="*/ 333849 w 1920031"/>
                <a:gd name="connsiteY23" fmla="*/ 303001 h 1691232"/>
                <a:gd name="connsiteX24" fmla="*/ 286224 w 1920031"/>
                <a:gd name="connsiteY24" fmla="*/ 236326 h 1691232"/>
                <a:gd name="connsiteX25" fmla="*/ 143349 w 1920031"/>
                <a:gd name="connsiteY25" fmla="*/ 255376 h 1691232"/>
                <a:gd name="connsiteX26" fmla="*/ 124299 w 1920031"/>
                <a:gd name="connsiteY26" fmla="*/ 331576 h 1691232"/>
                <a:gd name="connsiteX27" fmla="*/ 110011 w 1920031"/>
                <a:gd name="connsiteY27" fmla="*/ 364913 h 1691232"/>
                <a:gd name="connsiteX28" fmla="*/ 133824 w 1920031"/>
                <a:gd name="connsiteY28" fmla="*/ 412538 h 1691232"/>
                <a:gd name="connsiteX29" fmla="*/ 81436 w 1920031"/>
                <a:gd name="connsiteY29" fmla="*/ 450638 h 1691232"/>
                <a:gd name="connsiteX30" fmla="*/ 33811 w 1920031"/>
                <a:gd name="connsiteY30" fmla="*/ 445876 h 1691232"/>
                <a:gd name="connsiteX31" fmla="*/ 33811 w 1920031"/>
                <a:gd name="connsiteY31" fmla="*/ 517313 h 1691232"/>
                <a:gd name="connsiteX32" fmla="*/ 474 w 1920031"/>
                <a:gd name="connsiteY32" fmla="*/ 622088 h 1691232"/>
                <a:gd name="connsiteX33" fmla="*/ 62386 w 1920031"/>
                <a:gd name="connsiteY33" fmla="*/ 698288 h 1691232"/>
                <a:gd name="connsiteX34" fmla="*/ 111977 w 1920031"/>
                <a:gd name="connsiteY34" fmla="*/ 678550 h 1691232"/>
                <a:gd name="connsiteX35" fmla="*/ 112334 w 1920031"/>
                <a:gd name="connsiteY35" fmla="*/ 748809 h 1691232"/>
                <a:gd name="connsiteX36" fmla="*/ 167161 w 1920031"/>
                <a:gd name="connsiteY36" fmla="*/ 779251 h 1691232"/>
                <a:gd name="connsiteX37" fmla="*/ 236159 w 1920031"/>
                <a:gd name="connsiteY37" fmla="*/ 789463 h 1691232"/>
                <a:gd name="connsiteX38" fmla="*/ 271462 w 1920031"/>
                <a:gd name="connsiteY38" fmla="*/ 845434 h 1691232"/>
                <a:gd name="connsiteX39" fmla="*/ 270869 w 1920031"/>
                <a:gd name="connsiteY39" fmla="*/ 890506 h 1691232"/>
                <a:gd name="connsiteX40" fmla="*/ 295393 w 1920031"/>
                <a:gd name="connsiteY40" fmla="*/ 929981 h 1691232"/>
                <a:gd name="connsiteX41" fmla="*/ 341051 w 1920031"/>
                <a:gd name="connsiteY41" fmla="*/ 968573 h 1691232"/>
                <a:gd name="connsiteX42" fmla="*/ 426184 w 1920031"/>
                <a:gd name="connsiteY42" fmla="*/ 1022825 h 1691232"/>
                <a:gd name="connsiteX43" fmla="*/ 461961 w 1920031"/>
                <a:gd name="connsiteY43" fmla="*/ 1093918 h 1691232"/>
                <a:gd name="connsiteX44" fmla="*/ 441064 w 1920031"/>
                <a:gd name="connsiteY44" fmla="*/ 1163491 h 1691232"/>
                <a:gd name="connsiteX45" fmla="*/ 519111 w 1920031"/>
                <a:gd name="connsiteY45" fmla="*/ 1219954 h 1691232"/>
                <a:gd name="connsiteX46" fmla="*/ 591143 w 1920031"/>
                <a:gd name="connsiteY46" fmla="*/ 1252948 h 1691232"/>
                <a:gd name="connsiteX47" fmla="*/ 571974 w 1920031"/>
                <a:gd name="connsiteY47" fmla="*/ 1312651 h 1691232"/>
                <a:gd name="connsiteX48" fmla="*/ 662461 w 1920031"/>
                <a:gd name="connsiteY48" fmla="*/ 1465051 h 1691232"/>
                <a:gd name="connsiteX49" fmla="*/ 755271 w 1920031"/>
                <a:gd name="connsiteY49" fmla="*/ 1538205 h 1691232"/>
                <a:gd name="connsiteX50" fmla="*/ 805336 w 1920031"/>
                <a:gd name="connsiteY50" fmla="*/ 1488863 h 1691232"/>
                <a:gd name="connsiteX51" fmla="*/ 869926 w 1920031"/>
                <a:gd name="connsiteY51" fmla="*/ 1516260 h 1691232"/>
                <a:gd name="connsiteX52" fmla="*/ 924399 w 1920031"/>
                <a:gd name="connsiteY52" fmla="*/ 1484101 h 1691232"/>
                <a:gd name="connsiteX53" fmla="*/ 941246 w 1920031"/>
                <a:gd name="connsiteY53" fmla="*/ 1441925 h 1691232"/>
                <a:gd name="connsiteX54" fmla="*/ 1005123 w 1920031"/>
                <a:gd name="connsiteY54" fmla="*/ 1528337 h 1691232"/>
                <a:gd name="connsiteX55" fmla="*/ 1050190 w 1920031"/>
                <a:gd name="connsiteY55" fmla="*/ 1599431 h 1691232"/>
                <a:gd name="connsiteX56" fmla="*/ 1120136 w 1920031"/>
                <a:gd name="connsiteY56" fmla="*/ 1690950 h 1691232"/>
                <a:gd name="connsiteX57" fmla="*/ 1151034 w 1920031"/>
                <a:gd name="connsiteY57" fmla="*/ 1627859 h 1691232"/>
                <a:gd name="connsiteX58" fmla="*/ 1181693 w 1920031"/>
                <a:gd name="connsiteY58" fmla="*/ 1621379 h 1691232"/>
                <a:gd name="connsiteX59" fmla="*/ 1224792 w 1920031"/>
                <a:gd name="connsiteY59" fmla="*/ 1650642 h 1691232"/>
                <a:gd name="connsiteX60" fmla="*/ 1258367 w 1920031"/>
                <a:gd name="connsiteY60" fmla="*/ 1609988 h 1691232"/>
                <a:gd name="connsiteX61" fmla="*/ 1277188 w 1920031"/>
                <a:gd name="connsiteY61" fmla="*/ 1614605 h 1691232"/>
                <a:gd name="connsiteX62" fmla="*/ 1311230 w 1920031"/>
                <a:gd name="connsiteY62" fmla="*/ 1681082 h 1691232"/>
                <a:gd name="connsiteX63" fmla="*/ 1367786 w 1920031"/>
                <a:gd name="connsiteY63" fmla="*/ 1657613 h 1691232"/>
                <a:gd name="connsiteX64" fmla="*/ 1419818 w 1920031"/>
                <a:gd name="connsiteY64" fmla="*/ 1601492 h 1691232"/>
                <a:gd name="connsiteX65" fmla="*/ 1470595 w 1920031"/>
                <a:gd name="connsiteY65" fmla="*/ 1584949 h 1691232"/>
                <a:gd name="connsiteX66" fmla="*/ 1488274 w 1920031"/>
                <a:gd name="connsiteY66" fmla="*/ 1640771 h 1691232"/>
                <a:gd name="connsiteX67" fmla="*/ 1558169 w 1920031"/>
                <a:gd name="connsiteY67" fmla="*/ 1615093 h 1691232"/>
                <a:gd name="connsiteX68" fmla="*/ 1588947 w 1920031"/>
                <a:gd name="connsiteY68" fmla="*/ 1528337 h 1691232"/>
                <a:gd name="connsiteX69" fmla="*/ 1670383 w 1920031"/>
                <a:gd name="connsiteY69" fmla="*/ 1438195 h 1691232"/>
                <a:gd name="connsiteX70" fmla="*/ 1714974 w 1920031"/>
                <a:gd name="connsiteY70" fmla="*/ 1407065 h 1691232"/>
                <a:gd name="connsiteX71" fmla="*/ 1743343 w 1920031"/>
                <a:gd name="connsiteY71" fmla="*/ 1410360 h 1691232"/>
                <a:gd name="connsiteX72" fmla="*/ 1820935 w 1920031"/>
                <a:gd name="connsiteY72" fmla="*/ 1399752 h 1691232"/>
                <a:gd name="connsiteX73" fmla="*/ 1816054 w 1920031"/>
                <a:gd name="connsiteY73" fmla="*/ 1453316 h 1691232"/>
                <a:gd name="connsiteX74" fmla="*/ 1874221 w 1920031"/>
                <a:gd name="connsiteY74" fmla="*/ 1476637 h 1691232"/>
                <a:gd name="connsiteX75" fmla="*/ 1919761 w 1920031"/>
                <a:gd name="connsiteY75" fmla="*/ 1441238 h 1691232"/>
                <a:gd name="connsiteX76" fmla="*/ 1853086 w 1920031"/>
                <a:gd name="connsiteY76" fmla="*/ 1398376 h 1691232"/>
                <a:gd name="connsiteX77" fmla="*/ 1853086 w 1920031"/>
                <a:gd name="connsiteY77" fmla="*/ 1303126 h 1691232"/>
                <a:gd name="connsiteX78" fmla="*/ 1853086 w 1920031"/>
                <a:gd name="connsiteY78" fmla="*/ 1245976 h 1691232"/>
                <a:gd name="connsiteX79" fmla="*/ 1810224 w 1920031"/>
                <a:gd name="connsiteY79" fmla="*/ 1236451 h 1691232"/>
                <a:gd name="connsiteX80" fmla="*/ 1734024 w 1920031"/>
                <a:gd name="connsiteY80" fmla="*/ 1155488 h 1691232"/>
                <a:gd name="connsiteX81" fmla="*/ 1695924 w 1920031"/>
                <a:gd name="connsiteY81" fmla="*/ 974513 h 1691232"/>
                <a:gd name="connsiteX82" fmla="*/ 1643536 w 1920031"/>
                <a:gd name="connsiteY82" fmla="*/ 941176 h 1691232"/>
                <a:gd name="connsiteX83" fmla="*/ 1605436 w 1920031"/>
                <a:gd name="connsiteY83" fmla="*/ 884026 h 1691232"/>
                <a:gd name="connsiteX84" fmla="*/ 1557811 w 1920031"/>
                <a:gd name="connsiteY84" fmla="*/ 836401 h 1691232"/>
                <a:gd name="connsiteX85" fmla="*/ 1505424 w 1920031"/>
                <a:gd name="connsiteY85" fmla="*/ 817351 h 1691232"/>
                <a:gd name="connsiteX86" fmla="*/ 1453036 w 1920031"/>
                <a:gd name="connsiteY86" fmla="*/ 812588 h 1691232"/>
                <a:gd name="connsiteX87" fmla="*/ 1510186 w 1920031"/>
                <a:gd name="connsiteY87" fmla="*/ 779251 h 1691232"/>
                <a:gd name="connsiteX88" fmla="*/ 1476849 w 1920031"/>
                <a:gd name="connsiteY88" fmla="*/ 745913 h 1691232"/>
                <a:gd name="connsiteX89" fmla="*/ 1481611 w 1920031"/>
                <a:gd name="connsiteY89" fmla="*/ 722101 h 1691232"/>
                <a:gd name="connsiteX90" fmla="*/ 1572099 w 1920031"/>
                <a:gd name="connsiteY90" fmla="*/ 760201 h 1691232"/>
                <a:gd name="connsiteX91" fmla="*/ 1624486 w 1920031"/>
                <a:gd name="connsiteY91" fmla="*/ 693526 h 1691232"/>
                <a:gd name="connsiteX92" fmla="*/ 1614961 w 1920031"/>
                <a:gd name="connsiteY92" fmla="*/ 550651 h 1691232"/>
                <a:gd name="connsiteX93" fmla="*/ 1610199 w 1920031"/>
                <a:gd name="connsiteY93" fmla="*/ 412538 h 1691232"/>
                <a:gd name="connsiteX0" fmla="*/ 1610199 w 1880151"/>
                <a:gd name="connsiteY0" fmla="*/ 412538 h 1691232"/>
                <a:gd name="connsiteX1" fmla="*/ 1567336 w 1880151"/>
                <a:gd name="connsiteY1" fmla="*/ 369676 h 1691232"/>
                <a:gd name="connsiteX2" fmla="*/ 1467324 w 1880151"/>
                <a:gd name="connsiteY2" fmla="*/ 345863 h 1691232"/>
                <a:gd name="connsiteX3" fmla="*/ 1419699 w 1880151"/>
                <a:gd name="connsiteY3" fmla="*/ 317288 h 1691232"/>
                <a:gd name="connsiteX4" fmla="*/ 1367311 w 1880151"/>
                <a:gd name="connsiteY4" fmla="*/ 160126 h 1691232"/>
                <a:gd name="connsiteX5" fmla="*/ 1338736 w 1880151"/>
                <a:gd name="connsiteY5" fmla="*/ 12488 h 1691232"/>
                <a:gd name="connsiteX6" fmla="*/ 1267299 w 1880151"/>
                <a:gd name="connsiteY6" fmla="*/ 12488 h 1691232"/>
                <a:gd name="connsiteX7" fmla="*/ 1214911 w 1880151"/>
                <a:gd name="connsiteY7" fmla="*/ 50588 h 1691232"/>
                <a:gd name="connsiteX8" fmla="*/ 1214911 w 1880151"/>
                <a:gd name="connsiteY8" fmla="*/ 155363 h 1691232"/>
                <a:gd name="connsiteX9" fmla="*/ 1186336 w 1880151"/>
                <a:gd name="connsiteY9" fmla="*/ 183938 h 1691232"/>
                <a:gd name="connsiteX10" fmla="*/ 1176811 w 1880151"/>
                <a:gd name="connsiteY10" fmla="*/ 255376 h 1691232"/>
                <a:gd name="connsiteX11" fmla="*/ 1114899 w 1880151"/>
                <a:gd name="connsiteY11" fmla="*/ 298238 h 1691232"/>
                <a:gd name="connsiteX12" fmla="*/ 1005361 w 1880151"/>
                <a:gd name="connsiteY12" fmla="*/ 312526 h 1691232"/>
                <a:gd name="connsiteX13" fmla="*/ 962499 w 1880151"/>
                <a:gd name="connsiteY13" fmla="*/ 355388 h 1691232"/>
                <a:gd name="connsiteX14" fmla="*/ 838674 w 1880151"/>
                <a:gd name="connsiteY14" fmla="*/ 355388 h 1691232"/>
                <a:gd name="connsiteX15" fmla="*/ 781524 w 1880151"/>
                <a:gd name="connsiteY15" fmla="*/ 426826 h 1691232"/>
                <a:gd name="connsiteX16" fmla="*/ 781524 w 1880151"/>
                <a:gd name="connsiteY16" fmla="*/ 460163 h 1691232"/>
                <a:gd name="connsiteX17" fmla="*/ 743424 w 1880151"/>
                <a:gd name="connsiteY17" fmla="*/ 483976 h 1691232"/>
                <a:gd name="connsiteX18" fmla="*/ 671986 w 1880151"/>
                <a:gd name="connsiteY18" fmla="*/ 417301 h 1691232"/>
                <a:gd name="connsiteX19" fmla="*/ 519586 w 1880151"/>
                <a:gd name="connsiteY19" fmla="*/ 412538 h 1691232"/>
                <a:gd name="connsiteX20" fmla="*/ 457674 w 1880151"/>
                <a:gd name="connsiteY20" fmla="*/ 431588 h 1691232"/>
                <a:gd name="connsiteX21" fmla="*/ 419574 w 1880151"/>
                <a:gd name="connsiteY21" fmla="*/ 417301 h 1691232"/>
                <a:gd name="connsiteX22" fmla="*/ 400524 w 1880151"/>
                <a:gd name="connsiteY22" fmla="*/ 355388 h 1691232"/>
                <a:gd name="connsiteX23" fmla="*/ 333849 w 1880151"/>
                <a:gd name="connsiteY23" fmla="*/ 303001 h 1691232"/>
                <a:gd name="connsiteX24" fmla="*/ 286224 w 1880151"/>
                <a:gd name="connsiteY24" fmla="*/ 236326 h 1691232"/>
                <a:gd name="connsiteX25" fmla="*/ 143349 w 1880151"/>
                <a:gd name="connsiteY25" fmla="*/ 255376 h 1691232"/>
                <a:gd name="connsiteX26" fmla="*/ 124299 w 1880151"/>
                <a:gd name="connsiteY26" fmla="*/ 331576 h 1691232"/>
                <a:gd name="connsiteX27" fmla="*/ 110011 w 1880151"/>
                <a:gd name="connsiteY27" fmla="*/ 364913 h 1691232"/>
                <a:gd name="connsiteX28" fmla="*/ 133824 w 1880151"/>
                <a:gd name="connsiteY28" fmla="*/ 412538 h 1691232"/>
                <a:gd name="connsiteX29" fmla="*/ 81436 w 1880151"/>
                <a:gd name="connsiteY29" fmla="*/ 450638 h 1691232"/>
                <a:gd name="connsiteX30" fmla="*/ 33811 w 1880151"/>
                <a:gd name="connsiteY30" fmla="*/ 445876 h 1691232"/>
                <a:gd name="connsiteX31" fmla="*/ 33811 w 1880151"/>
                <a:gd name="connsiteY31" fmla="*/ 517313 h 1691232"/>
                <a:gd name="connsiteX32" fmla="*/ 474 w 1880151"/>
                <a:gd name="connsiteY32" fmla="*/ 622088 h 1691232"/>
                <a:gd name="connsiteX33" fmla="*/ 62386 w 1880151"/>
                <a:gd name="connsiteY33" fmla="*/ 698288 h 1691232"/>
                <a:gd name="connsiteX34" fmla="*/ 111977 w 1880151"/>
                <a:gd name="connsiteY34" fmla="*/ 678550 h 1691232"/>
                <a:gd name="connsiteX35" fmla="*/ 112334 w 1880151"/>
                <a:gd name="connsiteY35" fmla="*/ 748809 h 1691232"/>
                <a:gd name="connsiteX36" fmla="*/ 167161 w 1880151"/>
                <a:gd name="connsiteY36" fmla="*/ 779251 h 1691232"/>
                <a:gd name="connsiteX37" fmla="*/ 236159 w 1880151"/>
                <a:gd name="connsiteY37" fmla="*/ 789463 h 1691232"/>
                <a:gd name="connsiteX38" fmla="*/ 271462 w 1880151"/>
                <a:gd name="connsiteY38" fmla="*/ 845434 h 1691232"/>
                <a:gd name="connsiteX39" fmla="*/ 270869 w 1880151"/>
                <a:gd name="connsiteY39" fmla="*/ 890506 h 1691232"/>
                <a:gd name="connsiteX40" fmla="*/ 295393 w 1880151"/>
                <a:gd name="connsiteY40" fmla="*/ 929981 h 1691232"/>
                <a:gd name="connsiteX41" fmla="*/ 341051 w 1880151"/>
                <a:gd name="connsiteY41" fmla="*/ 968573 h 1691232"/>
                <a:gd name="connsiteX42" fmla="*/ 426184 w 1880151"/>
                <a:gd name="connsiteY42" fmla="*/ 1022825 h 1691232"/>
                <a:gd name="connsiteX43" fmla="*/ 461961 w 1880151"/>
                <a:gd name="connsiteY43" fmla="*/ 1093918 h 1691232"/>
                <a:gd name="connsiteX44" fmla="*/ 441064 w 1880151"/>
                <a:gd name="connsiteY44" fmla="*/ 1163491 h 1691232"/>
                <a:gd name="connsiteX45" fmla="*/ 519111 w 1880151"/>
                <a:gd name="connsiteY45" fmla="*/ 1219954 h 1691232"/>
                <a:gd name="connsiteX46" fmla="*/ 591143 w 1880151"/>
                <a:gd name="connsiteY46" fmla="*/ 1252948 h 1691232"/>
                <a:gd name="connsiteX47" fmla="*/ 571974 w 1880151"/>
                <a:gd name="connsiteY47" fmla="*/ 1312651 h 1691232"/>
                <a:gd name="connsiteX48" fmla="*/ 662461 w 1880151"/>
                <a:gd name="connsiteY48" fmla="*/ 1465051 h 1691232"/>
                <a:gd name="connsiteX49" fmla="*/ 755271 w 1880151"/>
                <a:gd name="connsiteY49" fmla="*/ 1538205 h 1691232"/>
                <a:gd name="connsiteX50" fmla="*/ 805336 w 1880151"/>
                <a:gd name="connsiteY50" fmla="*/ 1488863 h 1691232"/>
                <a:gd name="connsiteX51" fmla="*/ 869926 w 1880151"/>
                <a:gd name="connsiteY51" fmla="*/ 1516260 h 1691232"/>
                <a:gd name="connsiteX52" fmla="*/ 924399 w 1880151"/>
                <a:gd name="connsiteY52" fmla="*/ 1484101 h 1691232"/>
                <a:gd name="connsiteX53" fmla="*/ 941246 w 1880151"/>
                <a:gd name="connsiteY53" fmla="*/ 1441925 h 1691232"/>
                <a:gd name="connsiteX54" fmla="*/ 1005123 w 1880151"/>
                <a:gd name="connsiteY54" fmla="*/ 1528337 h 1691232"/>
                <a:gd name="connsiteX55" fmla="*/ 1050190 w 1880151"/>
                <a:gd name="connsiteY55" fmla="*/ 1599431 h 1691232"/>
                <a:gd name="connsiteX56" fmla="*/ 1120136 w 1880151"/>
                <a:gd name="connsiteY56" fmla="*/ 1690950 h 1691232"/>
                <a:gd name="connsiteX57" fmla="*/ 1151034 w 1880151"/>
                <a:gd name="connsiteY57" fmla="*/ 1627859 h 1691232"/>
                <a:gd name="connsiteX58" fmla="*/ 1181693 w 1880151"/>
                <a:gd name="connsiteY58" fmla="*/ 1621379 h 1691232"/>
                <a:gd name="connsiteX59" fmla="*/ 1224792 w 1880151"/>
                <a:gd name="connsiteY59" fmla="*/ 1650642 h 1691232"/>
                <a:gd name="connsiteX60" fmla="*/ 1258367 w 1880151"/>
                <a:gd name="connsiteY60" fmla="*/ 1609988 h 1691232"/>
                <a:gd name="connsiteX61" fmla="*/ 1277188 w 1880151"/>
                <a:gd name="connsiteY61" fmla="*/ 1614605 h 1691232"/>
                <a:gd name="connsiteX62" fmla="*/ 1311230 w 1880151"/>
                <a:gd name="connsiteY62" fmla="*/ 1681082 h 1691232"/>
                <a:gd name="connsiteX63" fmla="*/ 1367786 w 1880151"/>
                <a:gd name="connsiteY63" fmla="*/ 1657613 h 1691232"/>
                <a:gd name="connsiteX64" fmla="*/ 1419818 w 1880151"/>
                <a:gd name="connsiteY64" fmla="*/ 1601492 h 1691232"/>
                <a:gd name="connsiteX65" fmla="*/ 1470595 w 1880151"/>
                <a:gd name="connsiteY65" fmla="*/ 1584949 h 1691232"/>
                <a:gd name="connsiteX66" fmla="*/ 1488274 w 1880151"/>
                <a:gd name="connsiteY66" fmla="*/ 1640771 h 1691232"/>
                <a:gd name="connsiteX67" fmla="*/ 1558169 w 1880151"/>
                <a:gd name="connsiteY67" fmla="*/ 1615093 h 1691232"/>
                <a:gd name="connsiteX68" fmla="*/ 1588947 w 1880151"/>
                <a:gd name="connsiteY68" fmla="*/ 1528337 h 1691232"/>
                <a:gd name="connsiteX69" fmla="*/ 1670383 w 1880151"/>
                <a:gd name="connsiteY69" fmla="*/ 1438195 h 1691232"/>
                <a:gd name="connsiteX70" fmla="*/ 1714974 w 1880151"/>
                <a:gd name="connsiteY70" fmla="*/ 1407065 h 1691232"/>
                <a:gd name="connsiteX71" fmla="*/ 1743343 w 1880151"/>
                <a:gd name="connsiteY71" fmla="*/ 1410360 h 1691232"/>
                <a:gd name="connsiteX72" fmla="*/ 1820935 w 1880151"/>
                <a:gd name="connsiteY72" fmla="*/ 1399752 h 1691232"/>
                <a:gd name="connsiteX73" fmla="*/ 1816054 w 1880151"/>
                <a:gd name="connsiteY73" fmla="*/ 1453316 h 1691232"/>
                <a:gd name="connsiteX74" fmla="*/ 1874221 w 1880151"/>
                <a:gd name="connsiteY74" fmla="*/ 1476637 h 1691232"/>
                <a:gd name="connsiteX75" fmla="*/ 1875830 w 1880151"/>
                <a:gd name="connsiteY75" fmla="*/ 1451451 h 1691232"/>
                <a:gd name="connsiteX76" fmla="*/ 1853086 w 1880151"/>
                <a:gd name="connsiteY76" fmla="*/ 1398376 h 1691232"/>
                <a:gd name="connsiteX77" fmla="*/ 1853086 w 1880151"/>
                <a:gd name="connsiteY77" fmla="*/ 1303126 h 1691232"/>
                <a:gd name="connsiteX78" fmla="*/ 1853086 w 1880151"/>
                <a:gd name="connsiteY78" fmla="*/ 1245976 h 1691232"/>
                <a:gd name="connsiteX79" fmla="*/ 1810224 w 1880151"/>
                <a:gd name="connsiteY79" fmla="*/ 1236451 h 1691232"/>
                <a:gd name="connsiteX80" fmla="*/ 1734024 w 1880151"/>
                <a:gd name="connsiteY80" fmla="*/ 1155488 h 1691232"/>
                <a:gd name="connsiteX81" fmla="*/ 1695924 w 1880151"/>
                <a:gd name="connsiteY81" fmla="*/ 974513 h 1691232"/>
                <a:gd name="connsiteX82" fmla="*/ 1643536 w 1880151"/>
                <a:gd name="connsiteY82" fmla="*/ 941176 h 1691232"/>
                <a:gd name="connsiteX83" fmla="*/ 1605436 w 1880151"/>
                <a:gd name="connsiteY83" fmla="*/ 884026 h 1691232"/>
                <a:gd name="connsiteX84" fmla="*/ 1557811 w 1880151"/>
                <a:gd name="connsiteY84" fmla="*/ 836401 h 1691232"/>
                <a:gd name="connsiteX85" fmla="*/ 1505424 w 1880151"/>
                <a:gd name="connsiteY85" fmla="*/ 817351 h 1691232"/>
                <a:gd name="connsiteX86" fmla="*/ 1453036 w 1880151"/>
                <a:gd name="connsiteY86" fmla="*/ 812588 h 1691232"/>
                <a:gd name="connsiteX87" fmla="*/ 1510186 w 1880151"/>
                <a:gd name="connsiteY87" fmla="*/ 779251 h 1691232"/>
                <a:gd name="connsiteX88" fmla="*/ 1476849 w 1880151"/>
                <a:gd name="connsiteY88" fmla="*/ 745913 h 1691232"/>
                <a:gd name="connsiteX89" fmla="*/ 1481611 w 1880151"/>
                <a:gd name="connsiteY89" fmla="*/ 722101 h 1691232"/>
                <a:gd name="connsiteX90" fmla="*/ 1572099 w 1880151"/>
                <a:gd name="connsiteY90" fmla="*/ 760201 h 1691232"/>
                <a:gd name="connsiteX91" fmla="*/ 1624486 w 1880151"/>
                <a:gd name="connsiteY91" fmla="*/ 693526 h 1691232"/>
                <a:gd name="connsiteX92" fmla="*/ 1614961 w 1880151"/>
                <a:gd name="connsiteY92" fmla="*/ 550651 h 1691232"/>
                <a:gd name="connsiteX93" fmla="*/ 1610199 w 1880151"/>
                <a:gd name="connsiteY93" fmla="*/ 412538 h 1691232"/>
                <a:gd name="connsiteX0" fmla="*/ 1610199 w 1874950"/>
                <a:gd name="connsiteY0" fmla="*/ 412538 h 1691232"/>
                <a:gd name="connsiteX1" fmla="*/ 1567336 w 1874950"/>
                <a:gd name="connsiteY1" fmla="*/ 369676 h 1691232"/>
                <a:gd name="connsiteX2" fmla="*/ 1467324 w 1874950"/>
                <a:gd name="connsiteY2" fmla="*/ 345863 h 1691232"/>
                <a:gd name="connsiteX3" fmla="*/ 1419699 w 1874950"/>
                <a:gd name="connsiteY3" fmla="*/ 317288 h 1691232"/>
                <a:gd name="connsiteX4" fmla="*/ 1367311 w 1874950"/>
                <a:gd name="connsiteY4" fmla="*/ 160126 h 1691232"/>
                <a:gd name="connsiteX5" fmla="*/ 1338736 w 1874950"/>
                <a:gd name="connsiteY5" fmla="*/ 12488 h 1691232"/>
                <a:gd name="connsiteX6" fmla="*/ 1267299 w 1874950"/>
                <a:gd name="connsiteY6" fmla="*/ 12488 h 1691232"/>
                <a:gd name="connsiteX7" fmla="*/ 1214911 w 1874950"/>
                <a:gd name="connsiteY7" fmla="*/ 50588 h 1691232"/>
                <a:gd name="connsiteX8" fmla="*/ 1214911 w 1874950"/>
                <a:gd name="connsiteY8" fmla="*/ 155363 h 1691232"/>
                <a:gd name="connsiteX9" fmla="*/ 1186336 w 1874950"/>
                <a:gd name="connsiteY9" fmla="*/ 183938 h 1691232"/>
                <a:gd name="connsiteX10" fmla="*/ 1176811 w 1874950"/>
                <a:gd name="connsiteY10" fmla="*/ 255376 h 1691232"/>
                <a:gd name="connsiteX11" fmla="*/ 1114899 w 1874950"/>
                <a:gd name="connsiteY11" fmla="*/ 298238 h 1691232"/>
                <a:gd name="connsiteX12" fmla="*/ 1005361 w 1874950"/>
                <a:gd name="connsiteY12" fmla="*/ 312526 h 1691232"/>
                <a:gd name="connsiteX13" fmla="*/ 962499 w 1874950"/>
                <a:gd name="connsiteY13" fmla="*/ 355388 h 1691232"/>
                <a:gd name="connsiteX14" fmla="*/ 838674 w 1874950"/>
                <a:gd name="connsiteY14" fmla="*/ 355388 h 1691232"/>
                <a:gd name="connsiteX15" fmla="*/ 781524 w 1874950"/>
                <a:gd name="connsiteY15" fmla="*/ 426826 h 1691232"/>
                <a:gd name="connsiteX16" fmla="*/ 781524 w 1874950"/>
                <a:gd name="connsiteY16" fmla="*/ 460163 h 1691232"/>
                <a:gd name="connsiteX17" fmla="*/ 743424 w 1874950"/>
                <a:gd name="connsiteY17" fmla="*/ 483976 h 1691232"/>
                <a:gd name="connsiteX18" fmla="*/ 671986 w 1874950"/>
                <a:gd name="connsiteY18" fmla="*/ 417301 h 1691232"/>
                <a:gd name="connsiteX19" fmla="*/ 519586 w 1874950"/>
                <a:gd name="connsiteY19" fmla="*/ 412538 h 1691232"/>
                <a:gd name="connsiteX20" fmla="*/ 457674 w 1874950"/>
                <a:gd name="connsiteY20" fmla="*/ 431588 h 1691232"/>
                <a:gd name="connsiteX21" fmla="*/ 419574 w 1874950"/>
                <a:gd name="connsiteY21" fmla="*/ 417301 h 1691232"/>
                <a:gd name="connsiteX22" fmla="*/ 400524 w 1874950"/>
                <a:gd name="connsiteY22" fmla="*/ 355388 h 1691232"/>
                <a:gd name="connsiteX23" fmla="*/ 333849 w 1874950"/>
                <a:gd name="connsiteY23" fmla="*/ 303001 h 1691232"/>
                <a:gd name="connsiteX24" fmla="*/ 286224 w 1874950"/>
                <a:gd name="connsiteY24" fmla="*/ 236326 h 1691232"/>
                <a:gd name="connsiteX25" fmla="*/ 143349 w 1874950"/>
                <a:gd name="connsiteY25" fmla="*/ 255376 h 1691232"/>
                <a:gd name="connsiteX26" fmla="*/ 124299 w 1874950"/>
                <a:gd name="connsiteY26" fmla="*/ 331576 h 1691232"/>
                <a:gd name="connsiteX27" fmla="*/ 110011 w 1874950"/>
                <a:gd name="connsiteY27" fmla="*/ 364913 h 1691232"/>
                <a:gd name="connsiteX28" fmla="*/ 133824 w 1874950"/>
                <a:gd name="connsiteY28" fmla="*/ 412538 h 1691232"/>
                <a:gd name="connsiteX29" fmla="*/ 81436 w 1874950"/>
                <a:gd name="connsiteY29" fmla="*/ 450638 h 1691232"/>
                <a:gd name="connsiteX30" fmla="*/ 33811 w 1874950"/>
                <a:gd name="connsiteY30" fmla="*/ 445876 h 1691232"/>
                <a:gd name="connsiteX31" fmla="*/ 33811 w 1874950"/>
                <a:gd name="connsiteY31" fmla="*/ 517313 h 1691232"/>
                <a:gd name="connsiteX32" fmla="*/ 474 w 1874950"/>
                <a:gd name="connsiteY32" fmla="*/ 622088 h 1691232"/>
                <a:gd name="connsiteX33" fmla="*/ 62386 w 1874950"/>
                <a:gd name="connsiteY33" fmla="*/ 698288 h 1691232"/>
                <a:gd name="connsiteX34" fmla="*/ 111977 w 1874950"/>
                <a:gd name="connsiteY34" fmla="*/ 678550 h 1691232"/>
                <a:gd name="connsiteX35" fmla="*/ 112334 w 1874950"/>
                <a:gd name="connsiteY35" fmla="*/ 748809 h 1691232"/>
                <a:gd name="connsiteX36" fmla="*/ 167161 w 1874950"/>
                <a:gd name="connsiteY36" fmla="*/ 779251 h 1691232"/>
                <a:gd name="connsiteX37" fmla="*/ 236159 w 1874950"/>
                <a:gd name="connsiteY37" fmla="*/ 789463 h 1691232"/>
                <a:gd name="connsiteX38" fmla="*/ 271462 w 1874950"/>
                <a:gd name="connsiteY38" fmla="*/ 845434 h 1691232"/>
                <a:gd name="connsiteX39" fmla="*/ 270869 w 1874950"/>
                <a:gd name="connsiteY39" fmla="*/ 890506 h 1691232"/>
                <a:gd name="connsiteX40" fmla="*/ 295393 w 1874950"/>
                <a:gd name="connsiteY40" fmla="*/ 929981 h 1691232"/>
                <a:gd name="connsiteX41" fmla="*/ 341051 w 1874950"/>
                <a:gd name="connsiteY41" fmla="*/ 968573 h 1691232"/>
                <a:gd name="connsiteX42" fmla="*/ 426184 w 1874950"/>
                <a:gd name="connsiteY42" fmla="*/ 1022825 h 1691232"/>
                <a:gd name="connsiteX43" fmla="*/ 461961 w 1874950"/>
                <a:gd name="connsiteY43" fmla="*/ 1093918 h 1691232"/>
                <a:gd name="connsiteX44" fmla="*/ 441064 w 1874950"/>
                <a:gd name="connsiteY44" fmla="*/ 1163491 h 1691232"/>
                <a:gd name="connsiteX45" fmla="*/ 519111 w 1874950"/>
                <a:gd name="connsiteY45" fmla="*/ 1219954 h 1691232"/>
                <a:gd name="connsiteX46" fmla="*/ 591143 w 1874950"/>
                <a:gd name="connsiteY46" fmla="*/ 1252948 h 1691232"/>
                <a:gd name="connsiteX47" fmla="*/ 571974 w 1874950"/>
                <a:gd name="connsiteY47" fmla="*/ 1312651 h 1691232"/>
                <a:gd name="connsiteX48" fmla="*/ 662461 w 1874950"/>
                <a:gd name="connsiteY48" fmla="*/ 1465051 h 1691232"/>
                <a:gd name="connsiteX49" fmla="*/ 755271 w 1874950"/>
                <a:gd name="connsiteY49" fmla="*/ 1538205 h 1691232"/>
                <a:gd name="connsiteX50" fmla="*/ 805336 w 1874950"/>
                <a:gd name="connsiteY50" fmla="*/ 1488863 h 1691232"/>
                <a:gd name="connsiteX51" fmla="*/ 869926 w 1874950"/>
                <a:gd name="connsiteY51" fmla="*/ 1516260 h 1691232"/>
                <a:gd name="connsiteX52" fmla="*/ 924399 w 1874950"/>
                <a:gd name="connsiteY52" fmla="*/ 1484101 h 1691232"/>
                <a:gd name="connsiteX53" fmla="*/ 941246 w 1874950"/>
                <a:gd name="connsiteY53" fmla="*/ 1441925 h 1691232"/>
                <a:gd name="connsiteX54" fmla="*/ 1005123 w 1874950"/>
                <a:gd name="connsiteY54" fmla="*/ 1528337 h 1691232"/>
                <a:gd name="connsiteX55" fmla="*/ 1050190 w 1874950"/>
                <a:gd name="connsiteY55" fmla="*/ 1599431 h 1691232"/>
                <a:gd name="connsiteX56" fmla="*/ 1120136 w 1874950"/>
                <a:gd name="connsiteY56" fmla="*/ 1690950 h 1691232"/>
                <a:gd name="connsiteX57" fmla="*/ 1151034 w 1874950"/>
                <a:gd name="connsiteY57" fmla="*/ 1627859 h 1691232"/>
                <a:gd name="connsiteX58" fmla="*/ 1181693 w 1874950"/>
                <a:gd name="connsiteY58" fmla="*/ 1621379 h 1691232"/>
                <a:gd name="connsiteX59" fmla="*/ 1224792 w 1874950"/>
                <a:gd name="connsiteY59" fmla="*/ 1650642 h 1691232"/>
                <a:gd name="connsiteX60" fmla="*/ 1258367 w 1874950"/>
                <a:gd name="connsiteY60" fmla="*/ 1609988 h 1691232"/>
                <a:gd name="connsiteX61" fmla="*/ 1277188 w 1874950"/>
                <a:gd name="connsiteY61" fmla="*/ 1614605 h 1691232"/>
                <a:gd name="connsiteX62" fmla="*/ 1311230 w 1874950"/>
                <a:gd name="connsiteY62" fmla="*/ 1681082 h 1691232"/>
                <a:gd name="connsiteX63" fmla="*/ 1367786 w 1874950"/>
                <a:gd name="connsiteY63" fmla="*/ 1657613 h 1691232"/>
                <a:gd name="connsiteX64" fmla="*/ 1419818 w 1874950"/>
                <a:gd name="connsiteY64" fmla="*/ 1601492 h 1691232"/>
                <a:gd name="connsiteX65" fmla="*/ 1470595 w 1874950"/>
                <a:gd name="connsiteY65" fmla="*/ 1584949 h 1691232"/>
                <a:gd name="connsiteX66" fmla="*/ 1488274 w 1874950"/>
                <a:gd name="connsiteY66" fmla="*/ 1640771 h 1691232"/>
                <a:gd name="connsiteX67" fmla="*/ 1558169 w 1874950"/>
                <a:gd name="connsiteY67" fmla="*/ 1615093 h 1691232"/>
                <a:gd name="connsiteX68" fmla="*/ 1588947 w 1874950"/>
                <a:gd name="connsiteY68" fmla="*/ 1528337 h 1691232"/>
                <a:gd name="connsiteX69" fmla="*/ 1670383 w 1874950"/>
                <a:gd name="connsiteY69" fmla="*/ 1438195 h 1691232"/>
                <a:gd name="connsiteX70" fmla="*/ 1714974 w 1874950"/>
                <a:gd name="connsiteY70" fmla="*/ 1407065 h 1691232"/>
                <a:gd name="connsiteX71" fmla="*/ 1743343 w 1874950"/>
                <a:gd name="connsiteY71" fmla="*/ 1410360 h 1691232"/>
                <a:gd name="connsiteX72" fmla="*/ 1820935 w 1874950"/>
                <a:gd name="connsiteY72" fmla="*/ 1399752 h 1691232"/>
                <a:gd name="connsiteX73" fmla="*/ 1816054 w 1874950"/>
                <a:gd name="connsiteY73" fmla="*/ 1453316 h 1691232"/>
                <a:gd name="connsiteX74" fmla="*/ 1874221 w 1874950"/>
                <a:gd name="connsiteY74" fmla="*/ 1476637 h 1691232"/>
                <a:gd name="connsiteX75" fmla="*/ 1848983 w 1874950"/>
                <a:gd name="connsiteY75" fmla="*/ 1443791 h 1691232"/>
                <a:gd name="connsiteX76" fmla="*/ 1853086 w 1874950"/>
                <a:gd name="connsiteY76" fmla="*/ 1398376 h 1691232"/>
                <a:gd name="connsiteX77" fmla="*/ 1853086 w 1874950"/>
                <a:gd name="connsiteY77" fmla="*/ 1303126 h 1691232"/>
                <a:gd name="connsiteX78" fmla="*/ 1853086 w 1874950"/>
                <a:gd name="connsiteY78" fmla="*/ 1245976 h 1691232"/>
                <a:gd name="connsiteX79" fmla="*/ 1810224 w 1874950"/>
                <a:gd name="connsiteY79" fmla="*/ 1236451 h 1691232"/>
                <a:gd name="connsiteX80" fmla="*/ 1734024 w 1874950"/>
                <a:gd name="connsiteY80" fmla="*/ 1155488 h 1691232"/>
                <a:gd name="connsiteX81" fmla="*/ 1695924 w 1874950"/>
                <a:gd name="connsiteY81" fmla="*/ 974513 h 1691232"/>
                <a:gd name="connsiteX82" fmla="*/ 1643536 w 1874950"/>
                <a:gd name="connsiteY82" fmla="*/ 941176 h 1691232"/>
                <a:gd name="connsiteX83" fmla="*/ 1605436 w 1874950"/>
                <a:gd name="connsiteY83" fmla="*/ 884026 h 1691232"/>
                <a:gd name="connsiteX84" fmla="*/ 1557811 w 1874950"/>
                <a:gd name="connsiteY84" fmla="*/ 836401 h 1691232"/>
                <a:gd name="connsiteX85" fmla="*/ 1505424 w 1874950"/>
                <a:gd name="connsiteY85" fmla="*/ 817351 h 1691232"/>
                <a:gd name="connsiteX86" fmla="*/ 1453036 w 1874950"/>
                <a:gd name="connsiteY86" fmla="*/ 812588 h 1691232"/>
                <a:gd name="connsiteX87" fmla="*/ 1510186 w 1874950"/>
                <a:gd name="connsiteY87" fmla="*/ 779251 h 1691232"/>
                <a:gd name="connsiteX88" fmla="*/ 1476849 w 1874950"/>
                <a:gd name="connsiteY88" fmla="*/ 745913 h 1691232"/>
                <a:gd name="connsiteX89" fmla="*/ 1481611 w 1874950"/>
                <a:gd name="connsiteY89" fmla="*/ 722101 h 1691232"/>
                <a:gd name="connsiteX90" fmla="*/ 1572099 w 1874950"/>
                <a:gd name="connsiteY90" fmla="*/ 760201 h 1691232"/>
                <a:gd name="connsiteX91" fmla="*/ 1624486 w 1874950"/>
                <a:gd name="connsiteY91" fmla="*/ 693526 h 1691232"/>
                <a:gd name="connsiteX92" fmla="*/ 1614961 w 1874950"/>
                <a:gd name="connsiteY92" fmla="*/ 550651 h 1691232"/>
                <a:gd name="connsiteX93" fmla="*/ 1610199 w 1874950"/>
                <a:gd name="connsiteY93" fmla="*/ 412538 h 1691232"/>
                <a:gd name="connsiteX0" fmla="*/ 1610199 w 1880150"/>
                <a:gd name="connsiteY0" fmla="*/ 412538 h 1691232"/>
                <a:gd name="connsiteX1" fmla="*/ 1567336 w 1880150"/>
                <a:gd name="connsiteY1" fmla="*/ 369676 h 1691232"/>
                <a:gd name="connsiteX2" fmla="*/ 1467324 w 1880150"/>
                <a:gd name="connsiteY2" fmla="*/ 345863 h 1691232"/>
                <a:gd name="connsiteX3" fmla="*/ 1419699 w 1880150"/>
                <a:gd name="connsiteY3" fmla="*/ 317288 h 1691232"/>
                <a:gd name="connsiteX4" fmla="*/ 1367311 w 1880150"/>
                <a:gd name="connsiteY4" fmla="*/ 160126 h 1691232"/>
                <a:gd name="connsiteX5" fmla="*/ 1338736 w 1880150"/>
                <a:gd name="connsiteY5" fmla="*/ 12488 h 1691232"/>
                <a:gd name="connsiteX6" fmla="*/ 1267299 w 1880150"/>
                <a:gd name="connsiteY6" fmla="*/ 12488 h 1691232"/>
                <a:gd name="connsiteX7" fmla="*/ 1214911 w 1880150"/>
                <a:gd name="connsiteY7" fmla="*/ 50588 h 1691232"/>
                <a:gd name="connsiteX8" fmla="*/ 1214911 w 1880150"/>
                <a:gd name="connsiteY8" fmla="*/ 155363 h 1691232"/>
                <a:gd name="connsiteX9" fmla="*/ 1186336 w 1880150"/>
                <a:gd name="connsiteY9" fmla="*/ 183938 h 1691232"/>
                <a:gd name="connsiteX10" fmla="*/ 1176811 w 1880150"/>
                <a:gd name="connsiteY10" fmla="*/ 255376 h 1691232"/>
                <a:gd name="connsiteX11" fmla="*/ 1114899 w 1880150"/>
                <a:gd name="connsiteY11" fmla="*/ 298238 h 1691232"/>
                <a:gd name="connsiteX12" fmla="*/ 1005361 w 1880150"/>
                <a:gd name="connsiteY12" fmla="*/ 312526 h 1691232"/>
                <a:gd name="connsiteX13" fmla="*/ 962499 w 1880150"/>
                <a:gd name="connsiteY13" fmla="*/ 355388 h 1691232"/>
                <a:gd name="connsiteX14" fmla="*/ 838674 w 1880150"/>
                <a:gd name="connsiteY14" fmla="*/ 355388 h 1691232"/>
                <a:gd name="connsiteX15" fmla="*/ 781524 w 1880150"/>
                <a:gd name="connsiteY15" fmla="*/ 426826 h 1691232"/>
                <a:gd name="connsiteX16" fmla="*/ 781524 w 1880150"/>
                <a:gd name="connsiteY16" fmla="*/ 460163 h 1691232"/>
                <a:gd name="connsiteX17" fmla="*/ 743424 w 1880150"/>
                <a:gd name="connsiteY17" fmla="*/ 483976 h 1691232"/>
                <a:gd name="connsiteX18" fmla="*/ 671986 w 1880150"/>
                <a:gd name="connsiteY18" fmla="*/ 417301 h 1691232"/>
                <a:gd name="connsiteX19" fmla="*/ 519586 w 1880150"/>
                <a:gd name="connsiteY19" fmla="*/ 412538 h 1691232"/>
                <a:gd name="connsiteX20" fmla="*/ 457674 w 1880150"/>
                <a:gd name="connsiteY20" fmla="*/ 431588 h 1691232"/>
                <a:gd name="connsiteX21" fmla="*/ 419574 w 1880150"/>
                <a:gd name="connsiteY21" fmla="*/ 417301 h 1691232"/>
                <a:gd name="connsiteX22" fmla="*/ 400524 w 1880150"/>
                <a:gd name="connsiteY22" fmla="*/ 355388 h 1691232"/>
                <a:gd name="connsiteX23" fmla="*/ 333849 w 1880150"/>
                <a:gd name="connsiteY23" fmla="*/ 303001 h 1691232"/>
                <a:gd name="connsiteX24" fmla="*/ 286224 w 1880150"/>
                <a:gd name="connsiteY24" fmla="*/ 236326 h 1691232"/>
                <a:gd name="connsiteX25" fmla="*/ 143349 w 1880150"/>
                <a:gd name="connsiteY25" fmla="*/ 255376 h 1691232"/>
                <a:gd name="connsiteX26" fmla="*/ 124299 w 1880150"/>
                <a:gd name="connsiteY26" fmla="*/ 331576 h 1691232"/>
                <a:gd name="connsiteX27" fmla="*/ 110011 w 1880150"/>
                <a:gd name="connsiteY27" fmla="*/ 364913 h 1691232"/>
                <a:gd name="connsiteX28" fmla="*/ 133824 w 1880150"/>
                <a:gd name="connsiteY28" fmla="*/ 412538 h 1691232"/>
                <a:gd name="connsiteX29" fmla="*/ 81436 w 1880150"/>
                <a:gd name="connsiteY29" fmla="*/ 450638 h 1691232"/>
                <a:gd name="connsiteX30" fmla="*/ 33811 w 1880150"/>
                <a:gd name="connsiteY30" fmla="*/ 445876 h 1691232"/>
                <a:gd name="connsiteX31" fmla="*/ 33811 w 1880150"/>
                <a:gd name="connsiteY31" fmla="*/ 517313 h 1691232"/>
                <a:gd name="connsiteX32" fmla="*/ 474 w 1880150"/>
                <a:gd name="connsiteY32" fmla="*/ 622088 h 1691232"/>
                <a:gd name="connsiteX33" fmla="*/ 62386 w 1880150"/>
                <a:gd name="connsiteY33" fmla="*/ 698288 h 1691232"/>
                <a:gd name="connsiteX34" fmla="*/ 111977 w 1880150"/>
                <a:gd name="connsiteY34" fmla="*/ 678550 h 1691232"/>
                <a:gd name="connsiteX35" fmla="*/ 112334 w 1880150"/>
                <a:gd name="connsiteY35" fmla="*/ 748809 h 1691232"/>
                <a:gd name="connsiteX36" fmla="*/ 167161 w 1880150"/>
                <a:gd name="connsiteY36" fmla="*/ 779251 h 1691232"/>
                <a:gd name="connsiteX37" fmla="*/ 236159 w 1880150"/>
                <a:gd name="connsiteY37" fmla="*/ 789463 h 1691232"/>
                <a:gd name="connsiteX38" fmla="*/ 271462 w 1880150"/>
                <a:gd name="connsiteY38" fmla="*/ 845434 h 1691232"/>
                <a:gd name="connsiteX39" fmla="*/ 270869 w 1880150"/>
                <a:gd name="connsiteY39" fmla="*/ 890506 h 1691232"/>
                <a:gd name="connsiteX40" fmla="*/ 295393 w 1880150"/>
                <a:gd name="connsiteY40" fmla="*/ 929981 h 1691232"/>
                <a:gd name="connsiteX41" fmla="*/ 341051 w 1880150"/>
                <a:gd name="connsiteY41" fmla="*/ 968573 h 1691232"/>
                <a:gd name="connsiteX42" fmla="*/ 426184 w 1880150"/>
                <a:gd name="connsiteY42" fmla="*/ 1022825 h 1691232"/>
                <a:gd name="connsiteX43" fmla="*/ 461961 w 1880150"/>
                <a:gd name="connsiteY43" fmla="*/ 1093918 h 1691232"/>
                <a:gd name="connsiteX44" fmla="*/ 441064 w 1880150"/>
                <a:gd name="connsiteY44" fmla="*/ 1163491 h 1691232"/>
                <a:gd name="connsiteX45" fmla="*/ 519111 w 1880150"/>
                <a:gd name="connsiteY45" fmla="*/ 1219954 h 1691232"/>
                <a:gd name="connsiteX46" fmla="*/ 591143 w 1880150"/>
                <a:gd name="connsiteY46" fmla="*/ 1252948 h 1691232"/>
                <a:gd name="connsiteX47" fmla="*/ 571974 w 1880150"/>
                <a:gd name="connsiteY47" fmla="*/ 1312651 h 1691232"/>
                <a:gd name="connsiteX48" fmla="*/ 662461 w 1880150"/>
                <a:gd name="connsiteY48" fmla="*/ 1465051 h 1691232"/>
                <a:gd name="connsiteX49" fmla="*/ 755271 w 1880150"/>
                <a:gd name="connsiteY49" fmla="*/ 1538205 h 1691232"/>
                <a:gd name="connsiteX50" fmla="*/ 805336 w 1880150"/>
                <a:gd name="connsiteY50" fmla="*/ 1488863 h 1691232"/>
                <a:gd name="connsiteX51" fmla="*/ 869926 w 1880150"/>
                <a:gd name="connsiteY51" fmla="*/ 1516260 h 1691232"/>
                <a:gd name="connsiteX52" fmla="*/ 924399 w 1880150"/>
                <a:gd name="connsiteY52" fmla="*/ 1484101 h 1691232"/>
                <a:gd name="connsiteX53" fmla="*/ 941246 w 1880150"/>
                <a:gd name="connsiteY53" fmla="*/ 1441925 h 1691232"/>
                <a:gd name="connsiteX54" fmla="*/ 1005123 w 1880150"/>
                <a:gd name="connsiteY54" fmla="*/ 1528337 h 1691232"/>
                <a:gd name="connsiteX55" fmla="*/ 1050190 w 1880150"/>
                <a:gd name="connsiteY55" fmla="*/ 1599431 h 1691232"/>
                <a:gd name="connsiteX56" fmla="*/ 1120136 w 1880150"/>
                <a:gd name="connsiteY56" fmla="*/ 1690950 h 1691232"/>
                <a:gd name="connsiteX57" fmla="*/ 1151034 w 1880150"/>
                <a:gd name="connsiteY57" fmla="*/ 1627859 h 1691232"/>
                <a:gd name="connsiteX58" fmla="*/ 1181693 w 1880150"/>
                <a:gd name="connsiteY58" fmla="*/ 1621379 h 1691232"/>
                <a:gd name="connsiteX59" fmla="*/ 1224792 w 1880150"/>
                <a:gd name="connsiteY59" fmla="*/ 1650642 h 1691232"/>
                <a:gd name="connsiteX60" fmla="*/ 1258367 w 1880150"/>
                <a:gd name="connsiteY60" fmla="*/ 1609988 h 1691232"/>
                <a:gd name="connsiteX61" fmla="*/ 1277188 w 1880150"/>
                <a:gd name="connsiteY61" fmla="*/ 1614605 h 1691232"/>
                <a:gd name="connsiteX62" fmla="*/ 1311230 w 1880150"/>
                <a:gd name="connsiteY62" fmla="*/ 1681082 h 1691232"/>
                <a:gd name="connsiteX63" fmla="*/ 1367786 w 1880150"/>
                <a:gd name="connsiteY63" fmla="*/ 1657613 h 1691232"/>
                <a:gd name="connsiteX64" fmla="*/ 1419818 w 1880150"/>
                <a:gd name="connsiteY64" fmla="*/ 1601492 h 1691232"/>
                <a:gd name="connsiteX65" fmla="*/ 1470595 w 1880150"/>
                <a:gd name="connsiteY65" fmla="*/ 1584949 h 1691232"/>
                <a:gd name="connsiteX66" fmla="*/ 1488274 w 1880150"/>
                <a:gd name="connsiteY66" fmla="*/ 1640771 h 1691232"/>
                <a:gd name="connsiteX67" fmla="*/ 1558169 w 1880150"/>
                <a:gd name="connsiteY67" fmla="*/ 1615093 h 1691232"/>
                <a:gd name="connsiteX68" fmla="*/ 1588947 w 1880150"/>
                <a:gd name="connsiteY68" fmla="*/ 1528337 h 1691232"/>
                <a:gd name="connsiteX69" fmla="*/ 1670383 w 1880150"/>
                <a:gd name="connsiteY69" fmla="*/ 1438195 h 1691232"/>
                <a:gd name="connsiteX70" fmla="*/ 1714974 w 1880150"/>
                <a:gd name="connsiteY70" fmla="*/ 1407065 h 1691232"/>
                <a:gd name="connsiteX71" fmla="*/ 1743343 w 1880150"/>
                <a:gd name="connsiteY71" fmla="*/ 1410360 h 1691232"/>
                <a:gd name="connsiteX72" fmla="*/ 1820935 w 1880150"/>
                <a:gd name="connsiteY72" fmla="*/ 1399752 h 1691232"/>
                <a:gd name="connsiteX73" fmla="*/ 1816054 w 1880150"/>
                <a:gd name="connsiteY73" fmla="*/ 1453316 h 1691232"/>
                <a:gd name="connsiteX74" fmla="*/ 1874221 w 1880150"/>
                <a:gd name="connsiteY74" fmla="*/ 1476637 h 1691232"/>
                <a:gd name="connsiteX75" fmla="*/ 1875829 w 1880150"/>
                <a:gd name="connsiteY75" fmla="*/ 1454003 h 1691232"/>
                <a:gd name="connsiteX76" fmla="*/ 1853086 w 1880150"/>
                <a:gd name="connsiteY76" fmla="*/ 1398376 h 1691232"/>
                <a:gd name="connsiteX77" fmla="*/ 1853086 w 1880150"/>
                <a:gd name="connsiteY77" fmla="*/ 1303126 h 1691232"/>
                <a:gd name="connsiteX78" fmla="*/ 1853086 w 1880150"/>
                <a:gd name="connsiteY78" fmla="*/ 1245976 h 1691232"/>
                <a:gd name="connsiteX79" fmla="*/ 1810224 w 1880150"/>
                <a:gd name="connsiteY79" fmla="*/ 1236451 h 1691232"/>
                <a:gd name="connsiteX80" fmla="*/ 1734024 w 1880150"/>
                <a:gd name="connsiteY80" fmla="*/ 1155488 h 1691232"/>
                <a:gd name="connsiteX81" fmla="*/ 1695924 w 1880150"/>
                <a:gd name="connsiteY81" fmla="*/ 974513 h 1691232"/>
                <a:gd name="connsiteX82" fmla="*/ 1643536 w 1880150"/>
                <a:gd name="connsiteY82" fmla="*/ 941176 h 1691232"/>
                <a:gd name="connsiteX83" fmla="*/ 1605436 w 1880150"/>
                <a:gd name="connsiteY83" fmla="*/ 884026 h 1691232"/>
                <a:gd name="connsiteX84" fmla="*/ 1557811 w 1880150"/>
                <a:gd name="connsiteY84" fmla="*/ 836401 h 1691232"/>
                <a:gd name="connsiteX85" fmla="*/ 1505424 w 1880150"/>
                <a:gd name="connsiteY85" fmla="*/ 817351 h 1691232"/>
                <a:gd name="connsiteX86" fmla="*/ 1453036 w 1880150"/>
                <a:gd name="connsiteY86" fmla="*/ 812588 h 1691232"/>
                <a:gd name="connsiteX87" fmla="*/ 1510186 w 1880150"/>
                <a:gd name="connsiteY87" fmla="*/ 779251 h 1691232"/>
                <a:gd name="connsiteX88" fmla="*/ 1476849 w 1880150"/>
                <a:gd name="connsiteY88" fmla="*/ 745913 h 1691232"/>
                <a:gd name="connsiteX89" fmla="*/ 1481611 w 1880150"/>
                <a:gd name="connsiteY89" fmla="*/ 722101 h 1691232"/>
                <a:gd name="connsiteX90" fmla="*/ 1572099 w 1880150"/>
                <a:gd name="connsiteY90" fmla="*/ 760201 h 1691232"/>
                <a:gd name="connsiteX91" fmla="*/ 1624486 w 1880150"/>
                <a:gd name="connsiteY91" fmla="*/ 693526 h 1691232"/>
                <a:gd name="connsiteX92" fmla="*/ 1614961 w 1880150"/>
                <a:gd name="connsiteY92" fmla="*/ 550651 h 1691232"/>
                <a:gd name="connsiteX93" fmla="*/ 1610199 w 1880150"/>
                <a:gd name="connsiteY93" fmla="*/ 412538 h 1691232"/>
                <a:gd name="connsiteX0" fmla="*/ 1610199 w 1879071"/>
                <a:gd name="connsiteY0" fmla="*/ 412538 h 1691232"/>
                <a:gd name="connsiteX1" fmla="*/ 1567336 w 1879071"/>
                <a:gd name="connsiteY1" fmla="*/ 369676 h 1691232"/>
                <a:gd name="connsiteX2" fmla="*/ 1467324 w 1879071"/>
                <a:gd name="connsiteY2" fmla="*/ 345863 h 1691232"/>
                <a:gd name="connsiteX3" fmla="*/ 1419699 w 1879071"/>
                <a:gd name="connsiteY3" fmla="*/ 317288 h 1691232"/>
                <a:gd name="connsiteX4" fmla="*/ 1367311 w 1879071"/>
                <a:gd name="connsiteY4" fmla="*/ 160126 h 1691232"/>
                <a:gd name="connsiteX5" fmla="*/ 1338736 w 1879071"/>
                <a:gd name="connsiteY5" fmla="*/ 12488 h 1691232"/>
                <a:gd name="connsiteX6" fmla="*/ 1267299 w 1879071"/>
                <a:gd name="connsiteY6" fmla="*/ 12488 h 1691232"/>
                <a:gd name="connsiteX7" fmla="*/ 1214911 w 1879071"/>
                <a:gd name="connsiteY7" fmla="*/ 50588 h 1691232"/>
                <a:gd name="connsiteX8" fmla="*/ 1214911 w 1879071"/>
                <a:gd name="connsiteY8" fmla="*/ 155363 h 1691232"/>
                <a:gd name="connsiteX9" fmla="*/ 1186336 w 1879071"/>
                <a:gd name="connsiteY9" fmla="*/ 183938 h 1691232"/>
                <a:gd name="connsiteX10" fmla="*/ 1176811 w 1879071"/>
                <a:gd name="connsiteY10" fmla="*/ 255376 h 1691232"/>
                <a:gd name="connsiteX11" fmla="*/ 1114899 w 1879071"/>
                <a:gd name="connsiteY11" fmla="*/ 298238 h 1691232"/>
                <a:gd name="connsiteX12" fmla="*/ 1005361 w 1879071"/>
                <a:gd name="connsiteY12" fmla="*/ 312526 h 1691232"/>
                <a:gd name="connsiteX13" fmla="*/ 962499 w 1879071"/>
                <a:gd name="connsiteY13" fmla="*/ 355388 h 1691232"/>
                <a:gd name="connsiteX14" fmla="*/ 838674 w 1879071"/>
                <a:gd name="connsiteY14" fmla="*/ 355388 h 1691232"/>
                <a:gd name="connsiteX15" fmla="*/ 781524 w 1879071"/>
                <a:gd name="connsiteY15" fmla="*/ 426826 h 1691232"/>
                <a:gd name="connsiteX16" fmla="*/ 781524 w 1879071"/>
                <a:gd name="connsiteY16" fmla="*/ 460163 h 1691232"/>
                <a:gd name="connsiteX17" fmla="*/ 743424 w 1879071"/>
                <a:gd name="connsiteY17" fmla="*/ 483976 h 1691232"/>
                <a:gd name="connsiteX18" fmla="*/ 671986 w 1879071"/>
                <a:gd name="connsiteY18" fmla="*/ 417301 h 1691232"/>
                <a:gd name="connsiteX19" fmla="*/ 519586 w 1879071"/>
                <a:gd name="connsiteY19" fmla="*/ 412538 h 1691232"/>
                <a:gd name="connsiteX20" fmla="*/ 457674 w 1879071"/>
                <a:gd name="connsiteY20" fmla="*/ 431588 h 1691232"/>
                <a:gd name="connsiteX21" fmla="*/ 419574 w 1879071"/>
                <a:gd name="connsiteY21" fmla="*/ 417301 h 1691232"/>
                <a:gd name="connsiteX22" fmla="*/ 400524 w 1879071"/>
                <a:gd name="connsiteY22" fmla="*/ 355388 h 1691232"/>
                <a:gd name="connsiteX23" fmla="*/ 333849 w 1879071"/>
                <a:gd name="connsiteY23" fmla="*/ 303001 h 1691232"/>
                <a:gd name="connsiteX24" fmla="*/ 286224 w 1879071"/>
                <a:gd name="connsiteY24" fmla="*/ 236326 h 1691232"/>
                <a:gd name="connsiteX25" fmla="*/ 143349 w 1879071"/>
                <a:gd name="connsiteY25" fmla="*/ 255376 h 1691232"/>
                <a:gd name="connsiteX26" fmla="*/ 124299 w 1879071"/>
                <a:gd name="connsiteY26" fmla="*/ 331576 h 1691232"/>
                <a:gd name="connsiteX27" fmla="*/ 110011 w 1879071"/>
                <a:gd name="connsiteY27" fmla="*/ 364913 h 1691232"/>
                <a:gd name="connsiteX28" fmla="*/ 133824 w 1879071"/>
                <a:gd name="connsiteY28" fmla="*/ 412538 h 1691232"/>
                <a:gd name="connsiteX29" fmla="*/ 81436 w 1879071"/>
                <a:gd name="connsiteY29" fmla="*/ 450638 h 1691232"/>
                <a:gd name="connsiteX30" fmla="*/ 33811 w 1879071"/>
                <a:gd name="connsiteY30" fmla="*/ 445876 h 1691232"/>
                <a:gd name="connsiteX31" fmla="*/ 33811 w 1879071"/>
                <a:gd name="connsiteY31" fmla="*/ 517313 h 1691232"/>
                <a:gd name="connsiteX32" fmla="*/ 474 w 1879071"/>
                <a:gd name="connsiteY32" fmla="*/ 622088 h 1691232"/>
                <a:gd name="connsiteX33" fmla="*/ 62386 w 1879071"/>
                <a:gd name="connsiteY33" fmla="*/ 698288 h 1691232"/>
                <a:gd name="connsiteX34" fmla="*/ 111977 w 1879071"/>
                <a:gd name="connsiteY34" fmla="*/ 678550 h 1691232"/>
                <a:gd name="connsiteX35" fmla="*/ 112334 w 1879071"/>
                <a:gd name="connsiteY35" fmla="*/ 748809 h 1691232"/>
                <a:gd name="connsiteX36" fmla="*/ 167161 w 1879071"/>
                <a:gd name="connsiteY36" fmla="*/ 779251 h 1691232"/>
                <a:gd name="connsiteX37" fmla="*/ 236159 w 1879071"/>
                <a:gd name="connsiteY37" fmla="*/ 789463 h 1691232"/>
                <a:gd name="connsiteX38" fmla="*/ 271462 w 1879071"/>
                <a:gd name="connsiteY38" fmla="*/ 845434 h 1691232"/>
                <a:gd name="connsiteX39" fmla="*/ 270869 w 1879071"/>
                <a:gd name="connsiteY39" fmla="*/ 890506 h 1691232"/>
                <a:gd name="connsiteX40" fmla="*/ 295393 w 1879071"/>
                <a:gd name="connsiteY40" fmla="*/ 929981 h 1691232"/>
                <a:gd name="connsiteX41" fmla="*/ 341051 w 1879071"/>
                <a:gd name="connsiteY41" fmla="*/ 968573 h 1691232"/>
                <a:gd name="connsiteX42" fmla="*/ 426184 w 1879071"/>
                <a:gd name="connsiteY42" fmla="*/ 1022825 h 1691232"/>
                <a:gd name="connsiteX43" fmla="*/ 461961 w 1879071"/>
                <a:gd name="connsiteY43" fmla="*/ 1093918 h 1691232"/>
                <a:gd name="connsiteX44" fmla="*/ 441064 w 1879071"/>
                <a:gd name="connsiteY44" fmla="*/ 1163491 h 1691232"/>
                <a:gd name="connsiteX45" fmla="*/ 519111 w 1879071"/>
                <a:gd name="connsiteY45" fmla="*/ 1219954 h 1691232"/>
                <a:gd name="connsiteX46" fmla="*/ 591143 w 1879071"/>
                <a:gd name="connsiteY46" fmla="*/ 1252948 h 1691232"/>
                <a:gd name="connsiteX47" fmla="*/ 571974 w 1879071"/>
                <a:gd name="connsiteY47" fmla="*/ 1312651 h 1691232"/>
                <a:gd name="connsiteX48" fmla="*/ 662461 w 1879071"/>
                <a:gd name="connsiteY48" fmla="*/ 1465051 h 1691232"/>
                <a:gd name="connsiteX49" fmla="*/ 755271 w 1879071"/>
                <a:gd name="connsiteY49" fmla="*/ 1538205 h 1691232"/>
                <a:gd name="connsiteX50" fmla="*/ 805336 w 1879071"/>
                <a:gd name="connsiteY50" fmla="*/ 1488863 h 1691232"/>
                <a:gd name="connsiteX51" fmla="*/ 869926 w 1879071"/>
                <a:gd name="connsiteY51" fmla="*/ 1516260 h 1691232"/>
                <a:gd name="connsiteX52" fmla="*/ 924399 w 1879071"/>
                <a:gd name="connsiteY52" fmla="*/ 1484101 h 1691232"/>
                <a:gd name="connsiteX53" fmla="*/ 941246 w 1879071"/>
                <a:gd name="connsiteY53" fmla="*/ 1441925 h 1691232"/>
                <a:gd name="connsiteX54" fmla="*/ 1005123 w 1879071"/>
                <a:gd name="connsiteY54" fmla="*/ 1528337 h 1691232"/>
                <a:gd name="connsiteX55" fmla="*/ 1050190 w 1879071"/>
                <a:gd name="connsiteY55" fmla="*/ 1599431 h 1691232"/>
                <a:gd name="connsiteX56" fmla="*/ 1120136 w 1879071"/>
                <a:gd name="connsiteY56" fmla="*/ 1690950 h 1691232"/>
                <a:gd name="connsiteX57" fmla="*/ 1151034 w 1879071"/>
                <a:gd name="connsiteY57" fmla="*/ 1627859 h 1691232"/>
                <a:gd name="connsiteX58" fmla="*/ 1181693 w 1879071"/>
                <a:gd name="connsiteY58" fmla="*/ 1621379 h 1691232"/>
                <a:gd name="connsiteX59" fmla="*/ 1224792 w 1879071"/>
                <a:gd name="connsiteY59" fmla="*/ 1650642 h 1691232"/>
                <a:gd name="connsiteX60" fmla="*/ 1258367 w 1879071"/>
                <a:gd name="connsiteY60" fmla="*/ 1609988 h 1691232"/>
                <a:gd name="connsiteX61" fmla="*/ 1277188 w 1879071"/>
                <a:gd name="connsiteY61" fmla="*/ 1614605 h 1691232"/>
                <a:gd name="connsiteX62" fmla="*/ 1311230 w 1879071"/>
                <a:gd name="connsiteY62" fmla="*/ 1681082 h 1691232"/>
                <a:gd name="connsiteX63" fmla="*/ 1367786 w 1879071"/>
                <a:gd name="connsiteY63" fmla="*/ 1657613 h 1691232"/>
                <a:gd name="connsiteX64" fmla="*/ 1419818 w 1879071"/>
                <a:gd name="connsiteY64" fmla="*/ 1601492 h 1691232"/>
                <a:gd name="connsiteX65" fmla="*/ 1470595 w 1879071"/>
                <a:gd name="connsiteY65" fmla="*/ 1584949 h 1691232"/>
                <a:gd name="connsiteX66" fmla="*/ 1488274 w 1879071"/>
                <a:gd name="connsiteY66" fmla="*/ 1640771 h 1691232"/>
                <a:gd name="connsiteX67" fmla="*/ 1558169 w 1879071"/>
                <a:gd name="connsiteY67" fmla="*/ 1615093 h 1691232"/>
                <a:gd name="connsiteX68" fmla="*/ 1588947 w 1879071"/>
                <a:gd name="connsiteY68" fmla="*/ 1528337 h 1691232"/>
                <a:gd name="connsiteX69" fmla="*/ 1670383 w 1879071"/>
                <a:gd name="connsiteY69" fmla="*/ 1438195 h 1691232"/>
                <a:gd name="connsiteX70" fmla="*/ 1714974 w 1879071"/>
                <a:gd name="connsiteY70" fmla="*/ 1407065 h 1691232"/>
                <a:gd name="connsiteX71" fmla="*/ 1743343 w 1879071"/>
                <a:gd name="connsiteY71" fmla="*/ 1410360 h 1691232"/>
                <a:gd name="connsiteX72" fmla="*/ 1820935 w 1879071"/>
                <a:gd name="connsiteY72" fmla="*/ 1399752 h 1691232"/>
                <a:gd name="connsiteX73" fmla="*/ 1816054 w 1879071"/>
                <a:gd name="connsiteY73" fmla="*/ 1453316 h 1691232"/>
                <a:gd name="connsiteX74" fmla="*/ 1874221 w 1879071"/>
                <a:gd name="connsiteY74" fmla="*/ 1476637 h 1691232"/>
                <a:gd name="connsiteX75" fmla="*/ 1875829 w 1879071"/>
                <a:gd name="connsiteY75" fmla="*/ 1454003 h 1691232"/>
                <a:gd name="connsiteX76" fmla="*/ 1875051 w 1879071"/>
                <a:gd name="connsiteY76" fmla="*/ 1393269 h 1691232"/>
                <a:gd name="connsiteX77" fmla="*/ 1853086 w 1879071"/>
                <a:gd name="connsiteY77" fmla="*/ 1303126 h 1691232"/>
                <a:gd name="connsiteX78" fmla="*/ 1853086 w 1879071"/>
                <a:gd name="connsiteY78" fmla="*/ 1245976 h 1691232"/>
                <a:gd name="connsiteX79" fmla="*/ 1810224 w 1879071"/>
                <a:gd name="connsiteY79" fmla="*/ 1236451 h 1691232"/>
                <a:gd name="connsiteX80" fmla="*/ 1734024 w 1879071"/>
                <a:gd name="connsiteY80" fmla="*/ 1155488 h 1691232"/>
                <a:gd name="connsiteX81" fmla="*/ 1695924 w 1879071"/>
                <a:gd name="connsiteY81" fmla="*/ 974513 h 1691232"/>
                <a:gd name="connsiteX82" fmla="*/ 1643536 w 1879071"/>
                <a:gd name="connsiteY82" fmla="*/ 941176 h 1691232"/>
                <a:gd name="connsiteX83" fmla="*/ 1605436 w 1879071"/>
                <a:gd name="connsiteY83" fmla="*/ 884026 h 1691232"/>
                <a:gd name="connsiteX84" fmla="*/ 1557811 w 1879071"/>
                <a:gd name="connsiteY84" fmla="*/ 836401 h 1691232"/>
                <a:gd name="connsiteX85" fmla="*/ 1505424 w 1879071"/>
                <a:gd name="connsiteY85" fmla="*/ 817351 h 1691232"/>
                <a:gd name="connsiteX86" fmla="*/ 1453036 w 1879071"/>
                <a:gd name="connsiteY86" fmla="*/ 812588 h 1691232"/>
                <a:gd name="connsiteX87" fmla="*/ 1510186 w 1879071"/>
                <a:gd name="connsiteY87" fmla="*/ 779251 h 1691232"/>
                <a:gd name="connsiteX88" fmla="*/ 1476849 w 1879071"/>
                <a:gd name="connsiteY88" fmla="*/ 745913 h 1691232"/>
                <a:gd name="connsiteX89" fmla="*/ 1481611 w 1879071"/>
                <a:gd name="connsiteY89" fmla="*/ 722101 h 1691232"/>
                <a:gd name="connsiteX90" fmla="*/ 1572099 w 1879071"/>
                <a:gd name="connsiteY90" fmla="*/ 760201 h 1691232"/>
                <a:gd name="connsiteX91" fmla="*/ 1624486 w 1879071"/>
                <a:gd name="connsiteY91" fmla="*/ 693526 h 1691232"/>
                <a:gd name="connsiteX92" fmla="*/ 1614961 w 1879071"/>
                <a:gd name="connsiteY92" fmla="*/ 550651 h 1691232"/>
                <a:gd name="connsiteX93" fmla="*/ 1610199 w 1879071"/>
                <a:gd name="connsiteY93" fmla="*/ 412538 h 1691232"/>
                <a:gd name="connsiteX0" fmla="*/ 1610199 w 1879071"/>
                <a:gd name="connsiteY0" fmla="*/ 412538 h 1691232"/>
                <a:gd name="connsiteX1" fmla="*/ 1567336 w 1879071"/>
                <a:gd name="connsiteY1" fmla="*/ 369676 h 1691232"/>
                <a:gd name="connsiteX2" fmla="*/ 1467324 w 1879071"/>
                <a:gd name="connsiteY2" fmla="*/ 345863 h 1691232"/>
                <a:gd name="connsiteX3" fmla="*/ 1419699 w 1879071"/>
                <a:gd name="connsiteY3" fmla="*/ 317288 h 1691232"/>
                <a:gd name="connsiteX4" fmla="*/ 1367311 w 1879071"/>
                <a:gd name="connsiteY4" fmla="*/ 160126 h 1691232"/>
                <a:gd name="connsiteX5" fmla="*/ 1338736 w 1879071"/>
                <a:gd name="connsiteY5" fmla="*/ 12488 h 1691232"/>
                <a:gd name="connsiteX6" fmla="*/ 1267299 w 1879071"/>
                <a:gd name="connsiteY6" fmla="*/ 12488 h 1691232"/>
                <a:gd name="connsiteX7" fmla="*/ 1214911 w 1879071"/>
                <a:gd name="connsiteY7" fmla="*/ 50588 h 1691232"/>
                <a:gd name="connsiteX8" fmla="*/ 1214911 w 1879071"/>
                <a:gd name="connsiteY8" fmla="*/ 155363 h 1691232"/>
                <a:gd name="connsiteX9" fmla="*/ 1186336 w 1879071"/>
                <a:gd name="connsiteY9" fmla="*/ 183938 h 1691232"/>
                <a:gd name="connsiteX10" fmla="*/ 1176811 w 1879071"/>
                <a:gd name="connsiteY10" fmla="*/ 255376 h 1691232"/>
                <a:gd name="connsiteX11" fmla="*/ 1114899 w 1879071"/>
                <a:gd name="connsiteY11" fmla="*/ 298238 h 1691232"/>
                <a:gd name="connsiteX12" fmla="*/ 1005361 w 1879071"/>
                <a:gd name="connsiteY12" fmla="*/ 312526 h 1691232"/>
                <a:gd name="connsiteX13" fmla="*/ 962499 w 1879071"/>
                <a:gd name="connsiteY13" fmla="*/ 355388 h 1691232"/>
                <a:gd name="connsiteX14" fmla="*/ 838674 w 1879071"/>
                <a:gd name="connsiteY14" fmla="*/ 355388 h 1691232"/>
                <a:gd name="connsiteX15" fmla="*/ 781524 w 1879071"/>
                <a:gd name="connsiteY15" fmla="*/ 426826 h 1691232"/>
                <a:gd name="connsiteX16" fmla="*/ 781524 w 1879071"/>
                <a:gd name="connsiteY16" fmla="*/ 460163 h 1691232"/>
                <a:gd name="connsiteX17" fmla="*/ 743424 w 1879071"/>
                <a:gd name="connsiteY17" fmla="*/ 483976 h 1691232"/>
                <a:gd name="connsiteX18" fmla="*/ 671986 w 1879071"/>
                <a:gd name="connsiteY18" fmla="*/ 417301 h 1691232"/>
                <a:gd name="connsiteX19" fmla="*/ 519586 w 1879071"/>
                <a:gd name="connsiteY19" fmla="*/ 412538 h 1691232"/>
                <a:gd name="connsiteX20" fmla="*/ 457674 w 1879071"/>
                <a:gd name="connsiteY20" fmla="*/ 431588 h 1691232"/>
                <a:gd name="connsiteX21" fmla="*/ 419574 w 1879071"/>
                <a:gd name="connsiteY21" fmla="*/ 417301 h 1691232"/>
                <a:gd name="connsiteX22" fmla="*/ 400524 w 1879071"/>
                <a:gd name="connsiteY22" fmla="*/ 355388 h 1691232"/>
                <a:gd name="connsiteX23" fmla="*/ 333849 w 1879071"/>
                <a:gd name="connsiteY23" fmla="*/ 303001 h 1691232"/>
                <a:gd name="connsiteX24" fmla="*/ 286224 w 1879071"/>
                <a:gd name="connsiteY24" fmla="*/ 236326 h 1691232"/>
                <a:gd name="connsiteX25" fmla="*/ 143349 w 1879071"/>
                <a:gd name="connsiteY25" fmla="*/ 255376 h 1691232"/>
                <a:gd name="connsiteX26" fmla="*/ 124299 w 1879071"/>
                <a:gd name="connsiteY26" fmla="*/ 331576 h 1691232"/>
                <a:gd name="connsiteX27" fmla="*/ 110011 w 1879071"/>
                <a:gd name="connsiteY27" fmla="*/ 364913 h 1691232"/>
                <a:gd name="connsiteX28" fmla="*/ 133824 w 1879071"/>
                <a:gd name="connsiteY28" fmla="*/ 412538 h 1691232"/>
                <a:gd name="connsiteX29" fmla="*/ 81436 w 1879071"/>
                <a:gd name="connsiteY29" fmla="*/ 450638 h 1691232"/>
                <a:gd name="connsiteX30" fmla="*/ 33811 w 1879071"/>
                <a:gd name="connsiteY30" fmla="*/ 445876 h 1691232"/>
                <a:gd name="connsiteX31" fmla="*/ 33811 w 1879071"/>
                <a:gd name="connsiteY31" fmla="*/ 517313 h 1691232"/>
                <a:gd name="connsiteX32" fmla="*/ 474 w 1879071"/>
                <a:gd name="connsiteY32" fmla="*/ 622088 h 1691232"/>
                <a:gd name="connsiteX33" fmla="*/ 62386 w 1879071"/>
                <a:gd name="connsiteY33" fmla="*/ 698288 h 1691232"/>
                <a:gd name="connsiteX34" fmla="*/ 111977 w 1879071"/>
                <a:gd name="connsiteY34" fmla="*/ 678550 h 1691232"/>
                <a:gd name="connsiteX35" fmla="*/ 112334 w 1879071"/>
                <a:gd name="connsiteY35" fmla="*/ 748809 h 1691232"/>
                <a:gd name="connsiteX36" fmla="*/ 167161 w 1879071"/>
                <a:gd name="connsiteY36" fmla="*/ 779251 h 1691232"/>
                <a:gd name="connsiteX37" fmla="*/ 236159 w 1879071"/>
                <a:gd name="connsiteY37" fmla="*/ 789463 h 1691232"/>
                <a:gd name="connsiteX38" fmla="*/ 271462 w 1879071"/>
                <a:gd name="connsiteY38" fmla="*/ 845434 h 1691232"/>
                <a:gd name="connsiteX39" fmla="*/ 270869 w 1879071"/>
                <a:gd name="connsiteY39" fmla="*/ 890506 h 1691232"/>
                <a:gd name="connsiteX40" fmla="*/ 295393 w 1879071"/>
                <a:gd name="connsiteY40" fmla="*/ 929981 h 1691232"/>
                <a:gd name="connsiteX41" fmla="*/ 341051 w 1879071"/>
                <a:gd name="connsiteY41" fmla="*/ 968573 h 1691232"/>
                <a:gd name="connsiteX42" fmla="*/ 426184 w 1879071"/>
                <a:gd name="connsiteY42" fmla="*/ 1022825 h 1691232"/>
                <a:gd name="connsiteX43" fmla="*/ 461961 w 1879071"/>
                <a:gd name="connsiteY43" fmla="*/ 1093918 h 1691232"/>
                <a:gd name="connsiteX44" fmla="*/ 441064 w 1879071"/>
                <a:gd name="connsiteY44" fmla="*/ 1163491 h 1691232"/>
                <a:gd name="connsiteX45" fmla="*/ 519111 w 1879071"/>
                <a:gd name="connsiteY45" fmla="*/ 1219954 h 1691232"/>
                <a:gd name="connsiteX46" fmla="*/ 591143 w 1879071"/>
                <a:gd name="connsiteY46" fmla="*/ 1252948 h 1691232"/>
                <a:gd name="connsiteX47" fmla="*/ 571974 w 1879071"/>
                <a:gd name="connsiteY47" fmla="*/ 1312651 h 1691232"/>
                <a:gd name="connsiteX48" fmla="*/ 662461 w 1879071"/>
                <a:gd name="connsiteY48" fmla="*/ 1465051 h 1691232"/>
                <a:gd name="connsiteX49" fmla="*/ 755271 w 1879071"/>
                <a:gd name="connsiteY49" fmla="*/ 1538205 h 1691232"/>
                <a:gd name="connsiteX50" fmla="*/ 805336 w 1879071"/>
                <a:gd name="connsiteY50" fmla="*/ 1488863 h 1691232"/>
                <a:gd name="connsiteX51" fmla="*/ 869926 w 1879071"/>
                <a:gd name="connsiteY51" fmla="*/ 1516260 h 1691232"/>
                <a:gd name="connsiteX52" fmla="*/ 924399 w 1879071"/>
                <a:gd name="connsiteY52" fmla="*/ 1484101 h 1691232"/>
                <a:gd name="connsiteX53" fmla="*/ 941246 w 1879071"/>
                <a:gd name="connsiteY53" fmla="*/ 1441925 h 1691232"/>
                <a:gd name="connsiteX54" fmla="*/ 1005123 w 1879071"/>
                <a:gd name="connsiteY54" fmla="*/ 1528337 h 1691232"/>
                <a:gd name="connsiteX55" fmla="*/ 1050190 w 1879071"/>
                <a:gd name="connsiteY55" fmla="*/ 1599431 h 1691232"/>
                <a:gd name="connsiteX56" fmla="*/ 1120136 w 1879071"/>
                <a:gd name="connsiteY56" fmla="*/ 1690950 h 1691232"/>
                <a:gd name="connsiteX57" fmla="*/ 1151034 w 1879071"/>
                <a:gd name="connsiteY57" fmla="*/ 1627859 h 1691232"/>
                <a:gd name="connsiteX58" fmla="*/ 1181693 w 1879071"/>
                <a:gd name="connsiteY58" fmla="*/ 1621379 h 1691232"/>
                <a:gd name="connsiteX59" fmla="*/ 1224792 w 1879071"/>
                <a:gd name="connsiteY59" fmla="*/ 1650642 h 1691232"/>
                <a:gd name="connsiteX60" fmla="*/ 1258367 w 1879071"/>
                <a:gd name="connsiteY60" fmla="*/ 1609988 h 1691232"/>
                <a:gd name="connsiteX61" fmla="*/ 1277188 w 1879071"/>
                <a:gd name="connsiteY61" fmla="*/ 1614605 h 1691232"/>
                <a:gd name="connsiteX62" fmla="*/ 1311230 w 1879071"/>
                <a:gd name="connsiteY62" fmla="*/ 1681082 h 1691232"/>
                <a:gd name="connsiteX63" fmla="*/ 1367786 w 1879071"/>
                <a:gd name="connsiteY63" fmla="*/ 1657613 h 1691232"/>
                <a:gd name="connsiteX64" fmla="*/ 1419818 w 1879071"/>
                <a:gd name="connsiteY64" fmla="*/ 1601492 h 1691232"/>
                <a:gd name="connsiteX65" fmla="*/ 1470595 w 1879071"/>
                <a:gd name="connsiteY65" fmla="*/ 1584949 h 1691232"/>
                <a:gd name="connsiteX66" fmla="*/ 1488274 w 1879071"/>
                <a:gd name="connsiteY66" fmla="*/ 1640771 h 1691232"/>
                <a:gd name="connsiteX67" fmla="*/ 1558169 w 1879071"/>
                <a:gd name="connsiteY67" fmla="*/ 1615093 h 1691232"/>
                <a:gd name="connsiteX68" fmla="*/ 1588947 w 1879071"/>
                <a:gd name="connsiteY68" fmla="*/ 1528337 h 1691232"/>
                <a:gd name="connsiteX69" fmla="*/ 1670383 w 1879071"/>
                <a:gd name="connsiteY69" fmla="*/ 1438195 h 1691232"/>
                <a:gd name="connsiteX70" fmla="*/ 1714974 w 1879071"/>
                <a:gd name="connsiteY70" fmla="*/ 1407065 h 1691232"/>
                <a:gd name="connsiteX71" fmla="*/ 1743343 w 1879071"/>
                <a:gd name="connsiteY71" fmla="*/ 1410360 h 1691232"/>
                <a:gd name="connsiteX72" fmla="*/ 1820935 w 1879071"/>
                <a:gd name="connsiteY72" fmla="*/ 1399752 h 1691232"/>
                <a:gd name="connsiteX73" fmla="*/ 1816054 w 1879071"/>
                <a:gd name="connsiteY73" fmla="*/ 1453316 h 1691232"/>
                <a:gd name="connsiteX74" fmla="*/ 1874221 w 1879071"/>
                <a:gd name="connsiteY74" fmla="*/ 1476637 h 1691232"/>
                <a:gd name="connsiteX75" fmla="*/ 1875829 w 1879071"/>
                <a:gd name="connsiteY75" fmla="*/ 1454003 h 1691232"/>
                <a:gd name="connsiteX76" fmla="*/ 1875051 w 1879071"/>
                <a:gd name="connsiteY76" fmla="*/ 1393269 h 1691232"/>
                <a:gd name="connsiteX77" fmla="*/ 1853086 w 1879071"/>
                <a:gd name="connsiteY77" fmla="*/ 1303126 h 1691232"/>
                <a:gd name="connsiteX78" fmla="*/ 1853086 w 1879071"/>
                <a:gd name="connsiteY78" fmla="*/ 1245976 h 1691232"/>
                <a:gd name="connsiteX79" fmla="*/ 1810224 w 1879071"/>
                <a:gd name="connsiteY79" fmla="*/ 1236451 h 1691232"/>
                <a:gd name="connsiteX80" fmla="*/ 1734024 w 1879071"/>
                <a:gd name="connsiteY80" fmla="*/ 1155488 h 1691232"/>
                <a:gd name="connsiteX81" fmla="*/ 1695924 w 1879071"/>
                <a:gd name="connsiteY81" fmla="*/ 974513 h 1691232"/>
                <a:gd name="connsiteX82" fmla="*/ 1643536 w 1879071"/>
                <a:gd name="connsiteY82" fmla="*/ 941176 h 1691232"/>
                <a:gd name="connsiteX83" fmla="*/ 1605436 w 1879071"/>
                <a:gd name="connsiteY83" fmla="*/ 884026 h 1691232"/>
                <a:gd name="connsiteX84" fmla="*/ 1557811 w 1879071"/>
                <a:gd name="connsiteY84" fmla="*/ 836401 h 1691232"/>
                <a:gd name="connsiteX85" fmla="*/ 1505424 w 1879071"/>
                <a:gd name="connsiteY85" fmla="*/ 817351 h 1691232"/>
                <a:gd name="connsiteX86" fmla="*/ 1453036 w 1879071"/>
                <a:gd name="connsiteY86" fmla="*/ 812588 h 1691232"/>
                <a:gd name="connsiteX87" fmla="*/ 1510186 w 1879071"/>
                <a:gd name="connsiteY87" fmla="*/ 779251 h 1691232"/>
                <a:gd name="connsiteX88" fmla="*/ 1476849 w 1879071"/>
                <a:gd name="connsiteY88" fmla="*/ 745913 h 1691232"/>
                <a:gd name="connsiteX89" fmla="*/ 1481611 w 1879071"/>
                <a:gd name="connsiteY89" fmla="*/ 722101 h 1691232"/>
                <a:gd name="connsiteX90" fmla="*/ 1572099 w 1879071"/>
                <a:gd name="connsiteY90" fmla="*/ 760201 h 1691232"/>
                <a:gd name="connsiteX91" fmla="*/ 1624486 w 1879071"/>
                <a:gd name="connsiteY91" fmla="*/ 693526 h 1691232"/>
                <a:gd name="connsiteX92" fmla="*/ 1614961 w 1879071"/>
                <a:gd name="connsiteY92" fmla="*/ 550651 h 1691232"/>
                <a:gd name="connsiteX93" fmla="*/ 1610199 w 1879071"/>
                <a:gd name="connsiteY93" fmla="*/ 412538 h 1691232"/>
                <a:gd name="connsiteX0" fmla="*/ 1610199 w 1881147"/>
                <a:gd name="connsiteY0" fmla="*/ 412538 h 1691232"/>
                <a:gd name="connsiteX1" fmla="*/ 1567336 w 1881147"/>
                <a:gd name="connsiteY1" fmla="*/ 369676 h 1691232"/>
                <a:gd name="connsiteX2" fmla="*/ 1467324 w 1881147"/>
                <a:gd name="connsiteY2" fmla="*/ 345863 h 1691232"/>
                <a:gd name="connsiteX3" fmla="*/ 1419699 w 1881147"/>
                <a:gd name="connsiteY3" fmla="*/ 317288 h 1691232"/>
                <a:gd name="connsiteX4" fmla="*/ 1367311 w 1881147"/>
                <a:gd name="connsiteY4" fmla="*/ 160126 h 1691232"/>
                <a:gd name="connsiteX5" fmla="*/ 1338736 w 1881147"/>
                <a:gd name="connsiteY5" fmla="*/ 12488 h 1691232"/>
                <a:gd name="connsiteX6" fmla="*/ 1267299 w 1881147"/>
                <a:gd name="connsiteY6" fmla="*/ 12488 h 1691232"/>
                <a:gd name="connsiteX7" fmla="*/ 1214911 w 1881147"/>
                <a:gd name="connsiteY7" fmla="*/ 50588 h 1691232"/>
                <a:gd name="connsiteX8" fmla="*/ 1214911 w 1881147"/>
                <a:gd name="connsiteY8" fmla="*/ 155363 h 1691232"/>
                <a:gd name="connsiteX9" fmla="*/ 1186336 w 1881147"/>
                <a:gd name="connsiteY9" fmla="*/ 183938 h 1691232"/>
                <a:gd name="connsiteX10" fmla="*/ 1176811 w 1881147"/>
                <a:gd name="connsiteY10" fmla="*/ 255376 h 1691232"/>
                <a:gd name="connsiteX11" fmla="*/ 1114899 w 1881147"/>
                <a:gd name="connsiteY11" fmla="*/ 298238 h 1691232"/>
                <a:gd name="connsiteX12" fmla="*/ 1005361 w 1881147"/>
                <a:gd name="connsiteY12" fmla="*/ 312526 h 1691232"/>
                <a:gd name="connsiteX13" fmla="*/ 962499 w 1881147"/>
                <a:gd name="connsiteY13" fmla="*/ 355388 h 1691232"/>
                <a:gd name="connsiteX14" fmla="*/ 838674 w 1881147"/>
                <a:gd name="connsiteY14" fmla="*/ 355388 h 1691232"/>
                <a:gd name="connsiteX15" fmla="*/ 781524 w 1881147"/>
                <a:gd name="connsiteY15" fmla="*/ 426826 h 1691232"/>
                <a:gd name="connsiteX16" fmla="*/ 781524 w 1881147"/>
                <a:gd name="connsiteY16" fmla="*/ 460163 h 1691232"/>
                <a:gd name="connsiteX17" fmla="*/ 743424 w 1881147"/>
                <a:gd name="connsiteY17" fmla="*/ 483976 h 1691232"/>
                <a:gd name="connsiteX18" fmla="*/ 671986 w 1881147"/>
                <a:gd name="connsiteY18" fmla="*/ 417301 h 1691232"/>
                <a:gd name="connsiteX19" fmla="*/ 519586 w 1881147"/>
                <a:gd name="connsiteY19" fmla="*/ 412538 h 1691232"/>
                <a:gd name="connsiteX20" fmla="*/ 457674 w 1881147"/>
                <a:gd name="connsiteY20" fmla="*/ 431588 h 1691232"/>
                <a:gd name="connsiteX21" fmla="*/ 419574 w 1881147"/>
                <a:gd name="connsiteY21" fmla="*/ 417301 h 1691232"/>
                <a:gd name="connsiteX22" fmla="*/ 400524 w 1881147"/>
                <a:gd name="connsiteY22" fmla="*/ 355388 h 1691232"/>
                <a:gd name="connsiteX23" fmla="*/ 333849 w 1881147"/>
                <a:gd name="connsiteY23" fmla="*/ 303001 h 1691232"/>
                <a:gd name="connsiteX24" fmla="*/ 286224 w 1881147"/>
                <a:gd name="connsiteY24" fmla="*/ 236326 h 1691232"/>
                <a:gd name="connsiteX25" fmla="*/ 143349 w 1881147"/>
                <a:gd name="connsiteY25" fmla="*/ 255376 h 1691232"/>
                <a:gd name="connsiteX26" fmla="*/ 124299 w 1881147"/>
                <a:gd name="connsiteY26" fmla="*/ 331576 h 1691232"/>
                <a:gd name="connsiteX27" fmla="*/ 110011 w 1881147"/>
                <a:gd name="connsiteY27" fmla="*/ 364913 h 1691232"/>
                <a:gd name="connsiteX28" fmla="*/ 133824 w 1881147"/>
                <a:gd name="connsiteY28" fmla="*/ 412538 h 1691232"/>
                <a:gd name="connsiteX29" fmla="*/ 81436 w 1881147"/>
                <a:gd name="connsiteY29" fmla="*/ 450638 h 1691232"/>
                <a:gd name="connsiteX30" fmla="*/ 33811 w 1881147"/>
                <a:gd name="connsiteY30" fmla="*/ 445876 h 1691232"/>
                <a:gd name="connsiteX31" fmla="*/ 33811 w 1881147"/>
                <a:gd name="connsiteY31" fmla="*/ 517313 h 1691232"/>
                <a:gd name="connsiteX32" fmla="*/ 474 w 1881147"/>
                <a:gd name="connsiteY32" fmla="*/ 622088 h 1691232"/>
                <a:gd name="connsiteX33" fmla="*/ 62386 w 1881147"/>
                <a:gd name="connsiteY33" fmla="*/ 698288 h 1691232"/>
                <a:gd name="connsiteX34" fmla="*/ 111977 w 1881147"/>
                <a:gd name="connsiteY34" fmla="*/ 678550 h 1691232"/>
                <a:gd name="connsiteX35" fmla="*/ 112334 w 1881147"/>
                <a:gd name="connsiteY35" fmla="*/ 748809 h 1691232"/>
                <a:gd name="connsiteX36" fmla="*/ 167161 w 1881147"/>
                <a:gd name="connsiteY36" fmla="*/ 779251 h 1691232"/>
                <a:gd name="connsiteX37" fmla="*/ 236159 w 1881147"/>
                <a:gd name="connsiteY37" fmla="*/ 789463 h 1691232"/>
                <a:gd name="connsiteX38" fmla="*/ 271462 w 1881147"/>
                <a:gd name="connsiteY38" fmla="*/ 845434 h 1691232"/>
                <a:gd name="connsiteX39" fmla="*/ 270869 w 1881147"/>
                <a:gd name="connsiteY39" fmla="*/ 890506 h 1691232"/>
                <a:gd name="connsiteX40" fmla="*/ 295393 w 1881147"/>
                <a:gd name="connsiteY40" fmla="*/ 929981 h 1691232"/>
                <a:gd name="connsiteX41" fmla="*/ 341051 w 1881147"/>
                <a:gd name="connsiteY41" fmla="*/ 968573 h 1691232"/>
                <a:gd name="connsiteX42" fmla="*/ 426184 w 1881147"/>
                <a:gd name="connsiteY42" fmla="*/ 1022825 h 1691232"/>
                <a:gd name="connsiteX43" fmla="*/ 461961 w 1881147"/>
                <a:gd name="connsiteY43" fmla="*/ 1093918 h 1691232"/>
                <a:gd name="connsiteX44" fmla="*/ 441064 w 1881147"/>
                <a:gd name="connsiteY44" fmla="*/ 1163491 h 1691232"/>
                <a:gd name="connsiteX45" fmla="*/ 519111 w 1881147"/>
                <a:gd name="connsiteY45" fmla="*/ 1219954 h 1691232"/>
                <a:gd name="connsiteX46" fmla="*/ 591143 w 1881147"/>
                <a:gd name="connsiteY46" fmla="*/ 1252948 h 1691232"/>
                <a:gd name="connsiteX47" fmla="*/ 571974 w 1881147"/>
                <a:gd name="connsiteY47" fmla="*/ 1312651 h 1691232"/>
                <a:gd name="connsiteX48" fmla="*/ 662461 w 1881147"/>
                <a:gd name="connsiteY48" fmla="*/ 1465051 h 1691232"/>
                <a:gd name="connsiteX49" fmla="*/ 755271 w 1881147"/>
                <a:gd name="connsiteY49" fmla="*/ 1538205 h 1691232"/>
                <a:gd name="connsiteX50" fmla="*/ 805336 w 1881147"/>
                <a:gd name="connsiteY50" fmla="*/ 1488863 h 1691232"/>
                <a:gd name="connsiteX51" fmla="*/ 869926 w 1881147"/>
                <a:gd name="connsiteY51" fmla="*/ 1516260 h 1691232"/>
                <a:gd name="connsiteX52" fmla="*/ 924399 w 1881147"/>
                <a:gd name="connsiteY52" fmla="*/ 1484101 h 1691232"/>
                <a:gd name="connsiteX53" fmla="*/ 941246 w 1881147"/>
                <a:gd name="connsiteY53" fmla="*/ 1441925 h 1691232"/>
                <a:gd name="connsiteX54" fmla="*/ 1005123 w 1881147"/>
                <a:gd name="connsiteY54" fmla="*/ 1528337 h 1691232"/>
                <a:gd name="connsiteX55" fmla="*/ 1050190 w 1881147"/>
                <a:gd name="connsiteY55" fmla="*/ 1599431 h 1691232"/>
                <a:gd name="connsiteX56" fmla="*/ 1120136 w 1881147"/>
                <a:gd name="connsiteY56" fmla="*/ 1690950 h 1691232"/>
                <a:gd name="connsiteX57" fmla="*/ 1151034 w 1881147"/>
                <a:gd name="connsiteY57" fmla="*/ 1627859 h 1691232"/>
                <a:gd name="connsiteX58" fmla="*/ 1181693 w 1881147"/>
                <a:gd name="connsiteY58" fmla="*/ 1621379 h 1691232"/>
                <a:gd name="connsiteX59" fmla="*/ 1224792 w 1881147"/>
                <a:gd name="connsiteY59" fmla="*/ 1650642 h 1691232"/>
                <a:gd name="connsiteX60" fmla="*/ 1258367 w 1881147"/>
                <a:gd name="connsiteY60" fmla="*/ 1609988 h 1691232"/>
                <a:gd name="connsiteX61" fmla="*/ 1277188 w 1881147"/>
                <a:gd name="connsiteY61" fmla="*/ 1614605 h 1691232"/>
                <a:gd name="connsiteX62" fmla="*/ 1311230 w 1881147"/>
                <a:gd name="connsiteY62" fmla="*/ 1681082 h 1691232"/>
                <a:gd name="connsiteX63" fmla="*/ 1367786 w 1881147"/>
                <a:gd name="connsiteY63" fmla="*/ 1657613 h 1691232"/>
                <a:gd name="connsiteX64" fmla="*/ 1419818 w 1881147"/>
                <a:gd name="connsiteY64" fmla="*/ 1601492 h 1691232"/>
                <a:gd name="connsiteX65" fmla="*/ 1470595 w 1881147"/>
                <a:gd name="connsiteY65" fmla="*/ 1584949 h 1691232"/>
                <a:gd name="connsiteX66" fmla="*/ 1488274 w 1881147"/>
                <a:gd name="connsiteY66" fmla="*/ 1640771 h 1691232"/>
                <a:gd name="connsiteX67" fmla="*/ 1558169 w 1881147"/>
                <a:gd name="connsiteY67" fmla="*/ 1615093 h 1691232"/>
                <a:gd name="connsiteX68" fmla="*/ 1588947 w 1881147"/>
                <a:gd name="connsiteY68" fmla="*/ 1528337 h 1691232"/>
                <a:gd name="connsiteX69" fmla="*/ 1670383 w 1881147"/>
                <a:gd name="connsiteY69" fmla="*/ 1438195 h 1691232"/>
                <a:gd name="connsiteX70" fmla="*/ 1714974 w 1881147"/>
                <a:gd name="connsiteY70" fmla="*/ 1407065 h 1691232"/>
                <a:gd name="connsiteX71" fmla="*/ 1743343 w 1881147"/>
                <a:gd name="connsiteY71" fmla="*/ 1410360 h 1691232"/>
                <a:gd name="connsiteX72" fmla="*/ 1820935 w 1881147"/>
                <a:gd name="connsiteY72" fmla="*/ 1399752 h 1691232"/>
                <a:gd name="connsiteX73" fmla="*/ 1816054 w 1881147"/>
                <a:gd name="connsiteY73" fmla="*/ 1453316 h 1691232"/>
                <a:gd name="connsiteX74" fmla="*/ 1874221 w 1881147"/>
                <a:gd name="connsiteY74" fmla="*/ 1476637 h 1691232"/>
                <a:gd name="connsiteX75" fmla="*/ 1875829 w 1881147"/>
                <a:gd name="connsiteY75" fmla="*/ 1454003 h 1691232"/>
                <a:gd name="connsiteX76" fmla="*/ 1875051 w 1881147"/>
                <a:gd name="connsiteY76" fmla="*/ 1393269 h 1691232"/>
                <a:gd name="connsiteX77" fmla="*/ 1853086 w 1881147"/>
                <a:gd name="connsiteY77" fmla="*/ 1303126 h 1691232"/>
                <a:gd name="connsiteX78" fmla="*/ 1853086 w 1881147"/>
                <a:gd name="connsiteY78" fmla="*/ 1245976 h 1691232"/>
                <a:gd name="connsiteX79" fmla="*/ 1810224 w 1881147"/>
                <a:gd name="connsiteY79" fmla="*/ 1236451 h 1691232"/>
                <a:gd name="connsiteX80" fmla="*/ 1734024 w 1881147"/>
                <a:gd name="connsiteY80" fmla="*/ 1155488 h 1691232"/>
                <a:gd name="connsiteX81" fmla="*/ 1695924 w 1881147"/>
                <a:gd name="connsiteY81" fmla="*/ 974513 h 1691232"/>
                <a:gd name="connsiteX82" fmla="*/ 1643536 w 1881147"/>
                <a:gd name="connsiteY82" fmla="*/ 941176 h 1691232"/>
                <a:gd name="connsiteX83" fmla="*/ 1605436 w 1881147"/>
                <a:gd name="connsiteY83" fmla="*/ 884026 h 1691232"/>
                <a:gd name="connsiteX84" fmla="*/ 1557811 w 1881147"/>
                <a:gd name="connsiteY84" fmla="*/ 836401 h 1691232"/>
                <a:gd name="connsiteX85" fmla="*/ 1505424 w 1881147"/>
                <a:gd name="connsiteY85" fmla="*/ 817351 h 1691232"/>
                <a:gd name="connsiteX86" fmla="*/ 1453036 w 1881147"/>
                <a:gd name="connsiteY86" fmla="*/ 812588 h 1691232"/>
                <a:gd name="connsiteX87" fmla="*/ 1510186 w 1881147"/>
                <a:gd name="connsiteY87" fmla="*/ 779251 h 1691232"/>
                <a:gd name="connsiteX88" fmla="*/ 1476849 w 1881147"/>
                <a:gd name="connsiteY88" fmla="*/ 745913 h 1691232"/>
                <a:gd name="connsiteX89" fmla="*/ 1481611 w 1881147"/>
                <a:gd name="connsiteY89" fmla="*/ 722101 h 1691232"/>
                <a:gd name="connsiteX90" fmla="*/ 1572099 w 1881147"/>
                <a:gd name="connsiteY90" fmla="*/ 760201 h 1691232"/>
                <a:gd name="connsiteX91" fmla="*/ 1624486 w 1881147"/>
                <a:gd name="connsiteY91" fmla="*/ 693526 h 1691232"/>
                <a:gd name="connsiteX92" fmla="*/ 1614961 w 1881147"/>
                <a:gd name="connsiteY92" fmla="*/ 550651 h 1691232"/>
                <a:gd name="connsiteX93" fmla="*/ 1610199 w 1881147"/>
                <a:gd name="connsiteY93" fmla="*/ 412538 h 1691232"/>
                <a:gd name="connsiteX0" fmla="*/ 1639486 w 1881147"/>
                <a:gd name="connsiteY0" fmla="*/ 402325 h 1691232"/>
                <a:gd name="connsiteX1" fmla="*/ 1567336 w 1881147"/>
                <a:gd name="connsiteY1" fmla="*/ 369676 h 1691232"/>
                <a:gd name="connsiteX2" fmla="*/ 1467324 w 1881147"/>
                <a:gd name="connsiteY2" fmla="*/ 345863 h 1691232"/>
                <a:gd name="connsiteX3" fmla="*/ 1419699 w 1881147"/>
                <a:gd name="connsiteY3" fmla="*/ 317288 h 1691232"/>
                <a:gd name="connsiteX4" fmla="*/ 1367311 w 1881147"/>
                <a:gd name="connsiteY4" fmla="*/ 160126 h 1691232"/>
                <a:gd name="connsiteX5" fmla="*/ 1338736 w 1881147"/>
                <a:gd name="connsiteY5" fmla="*/ 12488 h 1691232"/>
                <a:gd name="connsiteX6" fmla="*/ 1267299 w 1881147"/>
                <a:gd name="connsiteY6" fmla="*/ 12488 h 1691232"/>
                <a:gd name="connsiteX7" fmla="*/ 1214911 w 1881147"/>
                <a:gd name="connsiteY7" fmla="*/ 50588 h 1691232"/>
                <a:gd name="connsiteX8" fmla="*/ 1214911 w 1881147"/>
                <a:gd name="connsiteY8" fmla="*/ 155363 h 1691232"/>
                <a:gd name="connsiteX9" fmla="*/ 1186336 w 1881147"/>
                <a:gd name="connsiteY9" fmla="*/ 183938 h 1691232"/>
                <a:gd name="connsiteX10" fmla="*/ 1176811 w 1881147"/>
                <a:gd name="connsiteY10" fmla="*/ 255376 h 1691232"/>
                <a:gd name="connsiteX11" fmla="*/ 1114899 w 1881147"/>
                <a:gd name="connsiteY11" fmla="*/ 298238 h 1691232"/>
                <a:gd name="connsiteX12" fmla="*/ 1005361 w 1881147"/>
                <a:gd name="connsiteY12" fmla="*/ 312526 h 1691232"/>
                <a:gd name="connsiteX13" fmla="*/ 962499 w 1881147"/>
                <a:gd name="connsiteY13" fmla="*/ 355388 h 1691232"/>
                <a:gd name="connsiteX14" fmla="*/ 838674 w 1881147"/>
                <a:gd name="connsiteY14" fmla="*/ 355388 h 1691232"/>
                <a:gd name="connsiteX15" fmla="*/ 781524 w 1881147"/>
                <a:gd name="connsiteY15" fmla="*/ 426826 h 1691232"/>
                <a:gd name="connsiteX16" fmla="*/ 781524 w 1881147"/>
                <a:gd name="connsiteY16" fmla="*/ 460163 h 1691232"/>
                <a:gd name="connsiteX17" fmla="*/ 743424 w 1881147"/>
                <a:gd name="connsiteY17" fmla="*/ 483976 h 1691232"/>
                <a:gd name="connsiteX18" fmla="*/ 671986 w 1881147"/>
                <a:gd name="connsiteY18" fmla="*/ 417301 h 1691232"/>
                <a:gd name="connsiteX19" fmla="*/ 519586 w 1881147"/>
                <a:gd name="connsiteY19" fmla="*/ 412538 h 1691232"/>
                <a:gd name="connsiteX20" fmla="*/ 457674 w 1881147"/>
                <a:gd name="connsiteY20" fmla="*/ 431588 h 1691232"/>
                <a:gd name="connsiteX21" fmla="*/ 419574 w 1881147"/>
                <a:gd name="connsiteY21" fmla="*/ 417301 h 1691232"/>
                <a:gd name="connsiteX22" fmla="*/ 400524 w 1881147"/>
                <a:gd name="connsiteY22" fmla="*/ 355388 h 1691232"/>
                <a:gd name="connsiteX23" fmla="*/ 333849 w 1881147"/>
                <a:gd name="connsiteY23" fmla="*/ 303001 h 1691232"/>
                <a:gd name="connsiteX24" fmla="*/ 286224 w 1881147"/>
                <a:gd name="connsiteY24" fmla="*/ 236326 h 1691232"/>
                <a:gd name="connsiteX25" fmla="*/ 143349 w 1881147"/>
                <a:gd name="connsiteY25" fmla="*/ 255376 h 1691232"/>
                <a:gd name="connsiteX26" fmla="*/ 124299 w 1881147"/>
                <a:gd name="connsiteY26" fmla="*/ 331576 h 1691232"/>
                <a:gd name="connsiteX27" fmla="*/ 110011 w 1881147"/>
                <a:gd name="connsiteY27" fmla="*/ 364913 h 1691232"/>
                <a:gd name="connsiteX28" fmla="*/ 133824 w 1881147"/>
                <a:gd name="connsiteY28" fmla="*/ 412538 h 1691232"/>
                <a:gd name="connsiteX29" fmla="*/ 81436 w 1881147"/>
                <a:gd name="connsiteY29" fmla="*/ 450638 h 1691232"/>
                <a:gd name="connsiteX30" fmla="*/ 33811 w 1881147"/>
                <a:gd name="connsiteY30" fmla="*/ 445876 h 1691232"/>
                <a:gd name="connsiteX31" fmla="*/ 33811 w 1881147"/>
                <a:gd name="connsiteY31" fmla="*/ 517313 h 1691232"/>
                <a:gd name="connsiteX32" fmla="*/ 474 w 1881147"/>
                <a:gd name="connsiteY32" fmla="*/ 622088 h 1691232"/>
                <a:gd name="connsiteX33" fmla="*/ 62386 w 1881147"/>
                <a:gd name="connsiteY33" fmla="*/ 698288 h 1691232"/>
                <a:gd name="connsiteX34" fmla="*/ 111977 w 1881147"/>
                <a:gd name="connsiteY34" fmla="*/ 678550 h 1691232"/>
                <a:gd name="connsiteX35" fmla="*/ 112334 w 1881147"/>
                <a:gd name="connsiteY35" fmla="*/ 748809 h 1691232"/>
                <a:gd name="connsiteX36" fmla="*/ 167161 w 1881147"/>
                <a:gd name="connsiteY36" fmla="*/ 779251 h 1691232"/>
                <a:gd name="connsiteX37" fmla="*/ 236159 w 1881147"/>
                <a:gd name="connsiteY37" fmla="*/ 789463 h 1691232"/>
                <a:gd name="connsiteX38" fmla="*/ 271462 w 1881147"/>
                <a:gd name="connsiteY38" fmla="*/ 845434 h 1691232"/>
                <a:gd name="connsiteX39" fmla="*/ 270869 w 1881147"/>
                <a:gd name="connsiteY39" fmla="*/ 890506 h 1691232"/>
                <a:gd name="connsiteX40" fmla="*/ 295393 w 1881147"/>
                <a:gd name="connsiteY40" fmla="*/ 929981 h 1691232"/>
                <a:gd name="connsiteX41" fmla="*/ 341051 w 1881147"/>
                <a:gd name="connsiteY41" fmla="*/ 968573 h 1691232"/>
                <a:gd name="connsiteX42" fmla="*/ 426184 w 1881147"/>
                <a:gd name="connsiteY42" fmla="*/ 1022825 h 1691232"/>
                <a:gd name="connsiteX43" fmla="*/ 461961 w 1881147"/>
                <a:gd name="connsiteY43" fmla="*/ 1093918 h 1691232"/>
                <a:gd name="connsiteX44" fmla="*/ 441064 w 1881147"/>
                <a:gd name="connsiteY44" fmla="*/ 1163491 h 1691232"/>
                <a:gd name="connsiteX45" fmla="*/ 519111 w 1881147"/>
                <a:gd name="connsiteY45" fmla="*/ 1219954 h 1691232"/>
                <a:gd name="connsiteX46" fmla="*/ 591143 w 1881147"/>
                <a:gd name="connsiteY46" fmla="*/ 1252948 h 1691232"/>
                <a:gd name="connsiteX47" fmla="*/ 571974 w 1881147"/>
                <a:gd name="connsiteY47" fmla="*/ 1312651 h 1691232"/>
                <a:gd name="connsiteX48" fmla="*/ 662461 w 1881147"/>
                <a:gd name="connsiteY48" fmla="*/ 1465051 h 1691232"/>
                <a:gd name="connsiteX49" fmla="*/ 755271 w 1881147"/>
                <a:gd name="connsiteY49" fmla="*/ 1538205 h 1691232"/>
                <a:gd name="connsiteX50" fmla="*/ 805336 w 1881147"/>
                <a:gd name="connsiteY50" fmla="*/ 1488863 h 1691232"/>
                <a:gd name="connsiteX51" fmla="*/ 869926 w 1881147"/>
                <a:gd name="connsiteY51" fmla="*/ 1516260 h 1691232"/>
                <a:gd name="connsiteX52" fmla="*/ 924399 w 1881147"/>
                <a:gd name="connsiteY52" fmla="*/ 1484101 h 1691232"/>
                <a:gd name="connsiteX53" fmla="*/ 941246 w 1881147"/>
                <a:gd name="connsiteY53" fmla="*/ 1441925 h 1691232"/>
                <a:gd name="connsiteX54" fmla="*/ 1005123 w 1881147"/>
                <a:gd name="connsiteY54" fmla="*/ 1528337 h 1691232"/>
                <a:gd name="connsiteX55" fmla="*/ 1050190 w 1881147"/>
                <a:gd name="connsiteY55" fmla="*/ 1599431 h 1691232"/>
                <a:gd name="connsiteX56" fmla="*/ 1120136 w 1881147"/>
                <a:gd name="connsiteY56" fmla="*/ 1690950 h 1691232"/>
                <a:gd name="connsiteX57" fmla="*/ 1151034 w 1881147"/>
                <a:gd name="connsiteY57" fmla="*/ 1627859 h 1691232"/>
                <a:gd name="connsiteX58" fmla="*/ 1181693 w 1881147"/>
                <a:gd name="connsiteY58" fmla="*/ 1621379 h 1691232"/>
                <a:gd name="connsiteX59" fmla="*/ 1224792 w 1881147"/>
                <a:gd name="connsiteY59" fmla="*/ 1650642 h 1691232"/>
                <a:gd name="connsiteX60" fmla="*/ 1258367 w 1881147"/>
                <a:gd name="connsiteY60" fmla="*/ 1609988 h 1691232"/>
                <a:gd name="connsiteX61" fmla="*/ 1277188 w 1881147"/>
                <a:gd name="connsiteY61" fmla="*/ 1614605 h 1691232"/>
                <a:gd name="connsiteX62" fmla="*/ 1311230 w 1881147"/>
                <a:gd name="connsiteY62" fmla="*/ 1681082 h 1691232"/>
                <a:gd name="connsiteX63" fmla="*/ 1367786 w 1881147"/>
                <a:gd name="connsiteY63" fmla="*/ 1657613 h 1691232"/>
                <a:gd name="connsiteX64" fmla="*/ 1419818 w 1881147"/>
                <a:gd name="connsiteY64" fmla="*/ 1601492 h 1691232"/>
                <a:gd name="connsiteX65" fmla="*/ 1470595 w 1881147"/>
                <a:gd name="connsiteY65" fmla="*/ 1584949 h 1691232"/>
                <a:gd name="connsiteX66" fmla="*/ 1488274 w 1881147"/>
                <a:gd name="connsiteY66" fmla="*/ 1640771 h 1691232"/>
                <a:gd name="connsiteX67" fmla="*/ 1558169 w 1881147"/>
                <a:gd name="connsiteY67" fmla="*/ 1615093 h 1691232"/>
                <a:gd name="connsiteX68" fmla="*/ 1588947 w 1881147"/>
                <a:gd name="connsiteY68" fmla="*/ 1528337 h 1691232"/>
                <a:gd name="connsiteX69" fmla="*/ 1670383 w 1881147"/>
                <a:gd name="connsiteY69" fmla="*/ 1438195 h 1691232"/>
                <a:gd name="connsiteX70" fmla="*/ 1714974 w 1881147"/>
                <a:gd name="connsiteY70" fmla="*/ 1407065 h 1691232"/>
                <a:gd name="connsiteX71" fmla="*/ 1743343 w 1881147"/>
                <a:gd name="connsiteY71" fmla="*/ 1410360 h 1691232"/>
                <a:gd name="connsiteX72" fmla="*/ 1820935 w 1881147"/>
                <a:gd name="connsiteY72" fmla="*/ 1399752 h 1691232"/>
                <a:gd name="connsiteX73" fmla="*/ 1816054 w 1881147"/>
                <a:gd name="connsiteY73" fmla="*/ 1453316 h 1691232"/>
                <a:gd name="connsiteX74" fmla="*/ 1874221 w 1881147"/>
                <a:gd name="connsiteY74" fmla="*/ 1476637 h 1691232"/>
                <a:gd name="connsiteX75" fmla="*/ 1875829 w 1881147"/>
                <a:gd name="connsiteY75" fmla="*/ 1454003 h 1691232"/>
                <a:gd name="connsiteX76" fmla="*/ 1875051 w 1881147"/>
                <a:gd name="connsiteY76" fmla="*/ 1393269 h 1691232"/>
                <a:gd name="connsiteX77" fmla="*/ 1853086 w 1881147"/>
                <a:gd name="connsiteY77" fmla="*/ 1303126 h 1691232"/>
                <a:gd name="connsiteX78" fmla="*/ 1853086 w 1881147"/>
                <a:gd name="connsiteY78" fmla="*/ 1245976 h 1691232"/>
                <a:gd name="connsiteX79" fmla="*/ 1810224 w 1881147"/>
                <a:gd name="connsiteY79" fmla="*/ 1236451 h 1691232"/>
                <a:gd name="connsiteX80" fmla="*/ 1734024 w 1881147"/>
                <a:gd name="connsiteY80" fmla="*/ 1155488 h 1691232"/>
                <a:gd name="connsiteX81" fmla="*/ 1695924 w 1881147"/>
                <a:gd name="connsiteY81" fmla="*/ 974513 h 1691232"/>
                <a:gd name="connsiteX82" fmla="*/ 1643536 w 1881147"/>
                <a:gd name="connsiteY82" fmla="*/ 941176 h 1691232"/>
                <a:gd name="connsiteX83" fmla="*/ 1605436 w 1881147"/>
                <a:gd name="connsiteY83" fmla="*/ 884026 h 1691232"/>
                <a:gd name="connsiteX84" fmla="*/ 1557811 w 1881147"/>
                <a:gd name="connsiteY84" fmla="*/ 836401 h 1691232"/>
                <a:gd name="connsiteX85" fmla="*/ 1505424 w 1881147"/>
                <a:gd name="connsiteY85" fmla="*/ 817351 h 1691232"/>
                <a:gd name="connsiteX86" fmla="*/ 1453036 w 1881147"/>
                <a:gd name="connsiteY86" fmla="*/ 812588 h 1691232"/>
                <a:gd name="connsiteX87" fmla="*/ 1510186 w 1881147"/>
                <a:gd name="connsiteY87" fmla="*/ 779251 h 1691232"/>
                <a:gd name="connsiteX88" fmla="*/ 1476849 w 1881147"/>
                <a:gd name="connsiteY88" fmla="*/ 745913 h 1691232"/>
                <a:gd name="connsiteX89" fmla="*/ 1481611 w 1881147"/>
                <a:gd name="connsiteY89" fmla="*/ 722101 h 1691232"/>
                <a:gd name="connsiteX90" fmla="*/ 1572099 w 1881147"/>
                <a:gd name="connsiteY90" fmla="*/ 760201 h 1691232"/>
                <a:gd name="connsiteX91" fmla="*/ 1624486 w 1881147"/>
                <a:gd name="connsiteY91" fmla="*/ 693526 h 1691232"/>
                <a:gd name="connsiteX92" fmla="*/ 1614961 w 1881147"/>
                <a:gd name="connsiteY92" fmla="*/ 550651 h 1691232"/>
                <a:gd name="connsiteX93" fmla="*/ 1639486 w 1881147"/>
                <a:gd name="connsiteY93" fmla="*/ 402325 h 1691232"/>
                <a:gd name="connsiteX0" fmla="*/ 1639486 w 1881147"/>
                <a:gd name="connsiteY0" fmla="*/ 402325 h 1691232"/>
                <a:gd name="connsiteX1" fmla="*/ 1567336 w 1881147"/>
                <a:gd name="connsiteY1" fmla="*/ 369676 h 1691232"/>
                <a:gd name="connsiteX2" fmla="*/ 1467324 w 1881147"/>
                <a:gd name="connsiteY2" fmla="*/ 345863 h 1691232"/>
                <a:gd name="connsiteX3" fmla="*/ 1419699 w 1881147"/>
                <a:gd name="connsiteY3" fmla="*/ 317288 h 1691232"/>
                <a:gd name="connsiteX4" fmla="*/ 1367311 w 1881147"/>
                <a:gd name="connsiteY4" fmla="*/ 160126 h 1691232"/>
                <a:gd name="connsiteX5" fmla="*/ 1338736 w 1881147"/>
                <a:gd name="connsiteY5" fmla="*/ 12488 h 1691232"/>
                <a:gd name="connsiteX6" fmla="*/ 1267299 w 1881147"/>
                <a:gd name="connsiteY6" fmla="*/ 12488 h 1691232"/>
                <a:gd name="connsiteX7" fmla="*/ 1214911 w 1881147"/>
                <a:gd name="connsiteY7" fmla="*/ 50588 h 1691232"/>
                <a:gd name="connsiteX8" fmla="*/ 1214911 w 1881147"/>
                <a:gd name="connsiteY8" fmla="*/ 155363 h 1691232"/>
                <a:gd name="connsiteX9" fmla="*/ 1186336 w 1881147"/>
                <a:gd name="connsiteY9" fmla="*/ 183938 h 1691232"/>
                <a:gd name="connsiteX10" fmla="*/ 1176811 w 1881147"/>
                <a:gd name="connsiteY10" fmla="*/ 255376 h 1691232"/>
                <a:gd name="connsiteX11" fmla="*/ 1114899 w 1881147"/>
                <a:gd name="connsiteY11" fmla="*/ 298238 h 1691232"/>
                <a:gd name="connsiteX12" fmla="*/ 1005361 w 1881147"/>
                <a:gd name="connsiteY12" fmla="*/ 312526 h 1691232"/>
                <a:gd name="connsiteX13" fmla="*/ 962499 w 1881147"/>
                <a:gd name="connsiteY13" fmla="*/ 355388 h 1691232"/>
                <a:gd name="connsiteX14" fmla="*/ 838674 w 1881147"/>
                <a:gd name="connsiteY14" fmla="*/ 355388 h 1691232"/>
                <a:gd name="connsiteX15" fmla="*/ 781524 w 1881147"/>
                <a:gd name="connsiteY15" fmla="*/ 426826 h 1691232"/>
                <a:gd name="connsiteX16" fmla="*/ 781524 w 1881147"/>
                <a:gd name="connsiteY16" fmla="*/ 460163 h 1691232"/>
                <a:gd name="connsiteX17" fmla="*/ 743424 w 1881147"/>
                <a:gd name="connsiteY17" fmla="*/ 483976 h 1691232"/>
                <a:gd name="connsiteX18" fmla="*/ 671986 w 1881147"/>
                <a:gd name="connsiteY18" fmla="*/ 417301 h 1691232"/>
                <a:gd name="connsiteX19" fmla="*/ 519586 w 1881147"/>
                <a:gd name="connsiteY19" fmla="*/ 412538 h 1691232"/>
                <a:gd name="connsiteX20" fmla="*/ 457674 w 1881147"/>
                <a:gd name="connsiteY20" fmla="*/ 431588 h 1691232"/>
                <a:gd name="connsiteX21" fmla="*/ 419574 w 1881147"/>
                <a:gd name="connsiteY21" fmla="*/ 417301 h 1691232"/>
                <a:gd name="connsiteX22" fmla="*/ 400524 w 1881147"/>
                <a:gd name="connsiteY22" fmla="*/ 355388 h 1691232"/>
                <a:gd name="connsiteX23" fmla="*/ 333849 w 1881147"/>
                <a:gd name="connsiteY23" fmla="*/ 303001 h 1691232"/>
                <a:gd name="connsiteX24" fmla="*/ 286224 w 1881147"/>
                <a:gd name="connsiteY24" fmla="*/ 236326 h 1691232"/>
                <a:gd name="connsiteX25" fmla="*/ 143349 w 1881147"/>
                <a:gd name="connsiteY25" fmla="*/ 255376 h 1691232"/>
                <a:gd name="connsiteX26" fmla="*/ 124299 w 1881147"/>
                <a:gd name="connsiteY26" fmla="*/ 331576 h 1691232"/>
                <a:gd name="connsiteX27" fmla="*/ 110011 w 1881147"/>
                <a:gd name="connsiteY27" fmla="*/ 364913 h 1691232"/>
                <a:gd name="connsiteX28" fmla="*/ 133824 w 1881147"/>
                <a:gd name="connsiteY28" fmla="*/ 412538 h 1691232"/>
                <a:gd name="connsiteX29" fmla="*/ 81436 w 1881147"/>
                <a:gd name="connsiteY29" fmla="*/ 450638 h 1691232"/>
                <a:gd name="connsiteX30" fmla="*/ 33811 w 1881147"/>
                <a:gd name="connsiteY30" fmla="*/ 445876 h 1691232"/>
                <a:gd name="connsiteX31" fmla="*/ 33811 w 1881147"/>
                <a:gd name="connsiteY31" fmla="*/ 517313 h 1691232"/>
                <a:gd name="connsiteX32" fmla="*/ 474 w 1881147"/>
                <a:gd name="connsiteY32" fmla="*/ 622088 h 1691232"/>
                <a:gd name="connsiteX33" fmla="*/ 62386 w 1881147"/>
                <a:gd name="connsiteY33" fmla="*/ 698288 h 1691232"/>
                <a:gd name="connsiteX34" fmla="*/ 111977 w 1881147"/>
                <a:gd name="connsiteY34" fmla="*/ 678550 h 1691232"/>
                <a:gd name="connsiteX35" fmla="*/ 112334 w 1881147"/>
                <a:gd name="connsiteY35" fmla="*/ 748809 h 1691232"/>
                <a:gd name="connsiteX36" fmla="*/ 167161 w 1881147"/>
                <a:gd name="connsiteY36" fmla="*/ 779251 h 1691232"/>
                <a:gd name="connsiteX37" fmla="*/ 236159 w 1881147"/>
                <a:gd name="connsiteY37" fmla="*/ 789463 h 1691232"/>
                <a:gd name="connsiteX38" fmla="*/ 271462 w 1881147"/>
                <a:gd name="connsiteY38" fmla="*/ 845434 h 1691232"/>
                <a:gd name="connsiteX39" fmla="*/ 270869 w 1881147"/>
                <a:gd name="connsiteY39" fmla="*/ 890506 h 1691232"/>
                <a:gd name="connsiteX40" fmla="*/ 295393 w 1881147"/>
                <a:gd name="connsiteY40" fmla="*/ 929981 h 1691232"/>
                <a:gd name="connsiteX41" fmla="*/ 341051 w 1881147"/>
                <a:gd name="connsiteY41" fmla="*/ 968573 h 1691232"/>
                <a:gd name="connsiteX42" fmla="*/ 426184 w 1881147"/>
                <a:gd name="connsiteY42" fmla="*/ 1022825 h 1691232"/>
                <a:gd name="connsiteX43" fmla="*/ 461961 w 1881147"/>
                <a:gd name="connsiteY43" fmla="*/ 1093918 h 1691232"/>
                <a:gd name="connsiteX44" fmla="*/ 441064 w 1881147"/>
                <a:gd name="connsiteY44" fmla="*/ 1163491 h 1691232"/>
                <a:gd name="connsiteX45" fmla="*/ 519111 w 1881147"/>
                <a:gd name="connsiteY45" fmla="*/ 1219954 h 1691232"/>
                <a:gd name="connsiteX46" fmla="*/ 591143 w 1881147"/>
                <a:gd name="connsiteY46" fmla="*/ 1252948 h 1691232"/>
                <a:gd name="connsiteX47" fmla="*/ 571974 w 1881147"/>
                <a:gd name="connsiteY47" fmla="*/ 1312651 h 1691232"/>
                <a:gd name="connsiteX48" fmla="*/ 662461 w 1881147"/>
                <a:gd name="connsiteY48" fmla="*/ 1465051 h 1691232"/>
                <a:gd name="connsiteX49" fmla="*/ 755271 w 1881147"/>
                <a:gd name="connsiteY49" fmla="*/ 1538205 h 1691232"/>
                <a:gd name="connsiteX50" fmla="*/ 805336 w 1881147"/>
                <a:gd name="connsiteY50" fmla="*/ 1488863 h 1691232"/>
                <a:gd name="connsiteX51" fmla="*/ 869926 w 1881147"/>
                <a:gd name="connsiteY51" fmla="*/ 1516260 h 1691232"/>
                <a:gd name="connsiteX52" fmla="*/ 924399 w 1881147"/>
                <a:gd name="connsiteY52" fmla="*/ 1484101 h 1691232"/>
                <a:gd name="connsiteX53" fmla="*/ 941246 w 1881147"/>
                <a:gd name="connsiteY53" fmla="*/ 1441925 h 1691232"/>
                <a:gd name="connsiteX54" fmla="*/ 1005123 w 1881147"/>
                <a:gd name="connsiteY54" fmla="*/ 1528337 h 1691232"/>
                <a:gd name="connsiteX55" fmla="*/ 1050190 w 1881147"/>
                <a:gd name="connsiteY55" fmla="*/ 1599431 h 1691232"/>
                <a:gd name="connsiteX56" fmla="*/ 1120136 w 1881147"/>
                <a:gd name="connsiteY56" fmla="*/ 1690950 h 1691232"/>
                <a:gd name="connsiteX57" fmla="*/ 1151034 w 1881147"/>
                <a:gd name="connsiteY57" fmla="*/ 1627859 h 1691232"/>
                <a:gd name="connsiteX58" fmla="*/ 1181693 w 1881147"/>
                <a:gd name="connsiteY58" fmla="*/ 1621379 h 1691232"/>
                <a:gd name="connsiteX59" fmla="*/ 1224792 w 1881147"/>
                <a:gd name="connsiteY59" fmla="*/ 1650642 h 1691232"/>
                <a:gd name="connsiteX60" fmla="*/ 1258367 w 1881147"/>
                <a:gd name="connsiteY60" fmla="*/ 1609988 h 1691232"/>
                <a:gd name="connsiteX61" fmla="*/ 1277188 w 1881147"/>
                <a:gd name="connsiteY61" fmla="*/ 1614605 h 1691232"/>
                <a:gd name="connsiteX62" fmla="*/ 1311230 w 1881147"/>
                <a:gd name="connsiteY62" fmla="*/ 1681082 h 1691232"/>
                <a:gd name="connsiteX63" fmla="*/ 1367786 w 1881147"/>
                <a:gd name="connsiteY63" fmla="*/ 1657613 h 1691232"/>
                <a:gd name="connsiteX64" fmla="*/ 1419818 w 1881147"/>
                <a:gd name="connsiteY64" fmla="*/ 1601492 h 1691232"/>
                <a:gd name="connsiteX65" fmla="*/ 1470595 w 1881147"/>
                <a:gd name="connsiteY65" fmla="*/ 1584949 h 1691232"/>
                <a:gd name="connsiteX66" fmla="*/ 1488274 w 1881147"/>
                <a:gd name="connsiteY66" fmla="*/ 1640771 h 1691232"/>
                <a:gd name="connsiteX67" fmla="*/ 1558169 w 1881147"/>
                <a:gd name="connsiteY67" fmla="*/ 1615093 h 1691232"/>
                <a:gd name="connsiteX68" fmla="*/ 1588947 w 1881147"/>
                <a:gd name="connsiteY68" fmla="*/ 1528337 h 1691232"/>
                <a:gd name="connsiteX69" fmla="*/ 1670383 w 1881147"/>
                <a:gd name="connsiteY69" fmla="*/ 1438195 h 1691232"/>
                <a:gd name="connsiteX70" fmla="*/ 1714974 w 1881147"/>
                <a:gd name="connsiteY70" fmla="*/ 1407065 h 1691232"/>
                <a:gd name="connsiteX71" fmla="*/ 1743343 w 1881147"/>
                <a:gd name="connsiteY71" fmla="*/ 1410360 h 1691232"/>
                <a:gd name="connsiteX72" fmla="*/ 1820935 w 1881147"/>
                <a:gd name="connsiteY72" fmla="*/ 1399752 h 1691232"/>
                <a:gd name="connsiteX73" fmla="*/ 1816054 w 1881147"/>
                <a:gd name="connsiteY73" fmla="*/ 1453316 h 1691232"/>
                <a:gd name="connsiteX74" fmla="*/ 1874221 w 1881147"/>
                <a:gd name="connsiteY74" fmla="*/ 1476637 h 1691232"/>
                <a:gd name="connsiteX75" fmla="*/ 1875829 w 1881147"/>
                <a:gd name="connsiteY75" fmla="*/ 1454003 h 1691232"/>
                <a:gd name="connsiteX76" fmla="*/ 1875051 w 1881147"/>
                <a:gd name="connsiteY76" fmla="*/ 1393269 h 1691232"/>
                <a:gd name="connsiteX77" fmla="*/ 1853086 w 1881147"/>
                <a:gd name="connsiteY77" fmla="*/ 1303126 h 1691232"/>
                <a:gd name="connsiteX78" fmla="*/ 1853086 w 1881147"/>
                <a:gd name="connsiteY78" fmla="*/ 1245976 h 1691232"/>
                <a:gd name="connsiteX79" fmla="*/ 1810224 w 1881147"/>
                <a:gd name="connsiteY79" fmla="*/ 1236451 h 1691232"/>
                <a:gd name="connsiteX80" fmla="*/ 1734024 w 1881147"/>
                <a:gd name="connsiteY80" fmla="*/ 1155488 h 1691232"/>
                <a:gd name="connsiteX81" fmla="*/ 1695924 w 1881147"/>
                <a:gd name="connsiteY81" fmla="*/ 974513 h 1691232"/>
                <a:gd name="connsiteX82" fmla="*/ 1643536 w 1881147"/>
                <a:gd name="connsiteY82" fmla="*/ 941176 h 1691232"/>
                <a:gd name="connsiteX83" fmla="*/ 1605436 w 1881147"/>
                <a:gd name="connsiteY83" fmla="*/ 884026 h 1691232"/>
                <a:gd name="connsiteX84" fmla="*/ 1557811 w 1881147"/>
                <a:gd name="connsiteY84" fmla="*/ 836401 h 1691232"/>
                <a:gd name="connsiteX85" fmla="*/ 1505424 w 1881147"/>
                <a:gd name="connsiteY85" fmla="*/ 817351 h 1691232"/>
                <a:gd name="connsiteX86" fmla="*/ 1453036 w 1881147"/>
                <a:gd name="connsiteY86" fmla="*/ 812588 h 1691232"/>
                <a:gd name="connsiteX87" fmla="*/ 1510186 w 1881147"/>
                <a:gd name="connsiteY87" fmla="*/ 779251 h 1691232"/>
                <a:gd name="connsiteX88" fmla="*/ 1476849 w 1881147"/>
                <a:gd name="connsiteY88" fmla="*/ 745913 h 1691232"/>
                <a:gd name="connsiteX89" fmla="*/ 1481611 w 1881147"/>
                <a:gd name="connsiteY89" fmla="*/ 722101 h 1691232"/>
                <a:gd name="connsiteX90" fmla="*/ 1572099 w 1881147"/>
                <a:gd name="connsiteY90" fmla="*/ 760201 h 1691232"/>
                <a:gd name="connsiteX91" fmla="*/ 1624486 w 1881147"/>
                <a:gd name="connsiteY91" fmla="*/ 693526 h 1691232"/>
                <a:gd name="connsiteX92" fmla="*/ 1622283 w 1881147"/>
                <a:gd name="connsiteY92" fmla="*/ 550651 h 1691232"/>
                <a:gd name="connsiteX93" fmla="*/ 1639486 w 1881147"/>
                <a:gd name="connsiteY93" fmla="*/ 402325 h 1691232"/>
                <a:gd name="connsiteX0" fmla="*/ 1639486 w 1881147"/>
                <a:gd name="connsiteY0" fmla="*/ 402325 h 1691232"/>
                <a:gd name="connsiteX1" fmla="*/ 1567336 w 1881147"/>
                <a:gd name="connsiteY1" fmla="*/ 369676 h 1691232"/>
                <a:gd name="connsiteX2" fmla="*/ 1467324 w 1881147"/>
                <a:gd name="connsiteY2" fmla="*/ 345863 h 1691232"/>
                <a:gd name="connsiteX3" fmla="*/ 1427021 w 1881147"/>
                <a:gd name="connsiteY3" fmla="*/ 289204 h 1691232"/>
                <a:gd name="connsiteX4" fmla="*/ 1367311 w 1881147"/>
                <a:gd name="connsiteY4" fmla="*/ 160126 h 1691232"/>
                <a:gd name="connsiteX5" fmla="*/ 1338736 w 1881147"/>
                <a:gd name="connsiteY5" fmla="*/ 12488 h 1691232"/>
                <a:gd name="connsiteX6" fmla="*/ 1267299 w 1881147"/>
                <a:gd name="connsiteY6" fmla="*/ 12488 h 1691232"/>
                <a:gd name="connsiteX7" fmla="*/ 1214911 w 1881147"/>
                <a:gd name="connsiteY7" fmla="*/ 50588 h 1691232"/>
                <a:gd name="connsiteX8" fmla="*/ 1214911 w 1881147"/>
                <a:gd name="connsiteY8" fmla="*/ 155363 h 1691232"/>
                <a:gd name="connsiteX9" fmla="*/ 1186336 w 1881147"/>
                <a:gd name="connsiteY9" fmla="*/ 183938 h 1691232"/>
                <a:gd name="connsiteX10" fmla="*/ 1176811 w 1881147"/>
                <a:gd name="connsiteY10" fmla="*/ 255376 h 1691232"/>
                <a:gd name="connsiteX11" fmla="*/ 1114899 w 1881147"/>
                <a:gd name="connsiteY11" fmla="*/ 298238 h 1691232"/>
                <a:gd name="connsiteX12" fmla="*/ 1005361 w 1881147"/>
                <a:gd name="connsiteY12" fmla="*/ 312526 h 1691232"/>
                <a:gd name="connsiteX13" fmla="*/ 962499 w 1881147"/>
                <a:gd name="connsiteY13" fmla="*/ 355388 h 1691232"/>
                <a:gd name="connsiteX14" fmla="*/ 838674 w 1881147"/>
                <a:gd name="connsiteY14" fmla="*/ 355388 h 1691232"/>
                <a:gd name="connsiteX15" fmla="*/ 781524 w 1881147"/>
                <a:gd name="connsiteY15" fmla="*/ 426826 h 1691232"/>
                <a:gd name="connsiteX16" fmla="*/ 781524 w 1881147"/>
                <a:gd name="connsiteY16" fmla="*/ 460163 h 1691232"/>
                <a:gd name="connsiteX17" fmla="*/ 743424 w 1881147"/>
                <a:gd name="connsiteY17" fmla="*/ 483976 h 1691232"/>
                <a:gd name="connsiteX18" fmla="*/ 671986 w 1881147"/>
                <a:gd name="connsiteY18" fmla="*/ 417301 h 1691232"/>
                <a:gd name="connsiteX19" fmla="*/ 519586 w 1881147"/>
                <a:gd name="connsiteY19" fmla="*/ 412538 h 1691232"/>
                <a:gd name="connsiteX20" fmla="*/ 457674 w 1881147"/>
                <a:gd name="connsiteY20" fmla="*/ 431588 h 1691232"/>
                <a:gd name="connsiteX21" fmla="*/ 419574 w 1881147"/>
                <a:gd name="connsiteY21" fmla="*/ 417301 h 1691232"/>
                <a:gd name="connsiteX22" fmla="*/ 400524 w 1881147"/>
                <a:gd name="connsiteY22" fmla="*/ 355388 h 1691232"/>
                <a:gd name="connsiteX23" fmla="*/ 333849 w 1881147"/>
                <a:gd name="connsiteY23" fmla="*/ 303001 h 1691232"/>
                <a:gd name="connsiteX24" fmla="*/ 286224 w 1881147"/>
                <a:gd name="connsiteY24" fmla="*/ 236326 h 1691232"/>
                <a:gd name="connsiteX25" fmla="*/ 143349 w 1881147"/>
                <a:gd name="connsiteY25" fmla="*/ 255376 h 1691232"/>
                <a:gd name="connsiteX26" fmla="*/ 124299 w 1881147"/>
                <a:gd name="connsiteY26" fmla="*/ 331576 h 1691232"/>
                <a:gd name="connsiteX27" fmla="*/ 110011 w 1881147"/>
                <a:gd name="connsiteY27" fmla="*/ 364913 h 1691232"/>
                <a:gd name="connsiteX28" fmla="*/ 133824 w 1881147"/>
                <a:gd name="connsiteY28" fmla="*/ 412538 h 1691232"/>
                <a:gd name="connsiteX29" fmla="*/ 81436 w 1881147"/>
                <a:gd name="connsiteY29" fmla="*/ 450638 h 1691232"/>
                <a:gd name="connsiteX30" fmla="*/ 33811 w 1881147"/>
                <a:gd name="connsiteY30" fmla="*/ 445876 h 1691232"/>
                <a:gd name="connsiteX31" fmla="*/ 33811 w 1881147"/>
                <a:gd name="connsiteY31" fmla="*/ 517313 h 1691232"/>
                <a:gd name="connsiteX32" fmla="*/ 474 w 1881147"/>
                <a:gd name="connsiteY32" fmla="*/ 622088 h 1691232"/>
                <a:gd name="connsiteX33" fmla="*/ 62386 w 1881147"/>
                <a:gd name="connsiteY33" fmla="*/ 698288 h 1691232"/>
                <a:gd name="connsiteX34" fmla="*/ 111977 w 1881147"/>
                <a:gd name="connsiteY34" fmla="*/ 678550 h 1691232"/>
                <a:gd name="connsiteX35" fmla="*/ 112334 w 1881147"/>
                <a:gd name="connsiteY35" fmla="*/ 748809 h 1691232"/>
                <a:gd name="connsiteX36" fmla="*/ 167161 w 1881147"/>
                <a:gd name="connsiteY36" fmla="*/ 779251 h 1691232"/>
                <a:gd name="connsiteX37" fmla="*/ 236159 w 1881147"/>
                <a:gd name="connsiteY37" fmla="*/ 789463 h 1691232"/>
                <a:gd name="connsiteX38" fmla="*/ 271462 w 1881147"/>
                <a:gd name="connsiteY38" fmla="*/ 845434 h 1691232"/>
                <a:gd name="connsiteX39" fmla="*/ 270869 w 1881147"/>
                <a:gd name="connsiteY39" fmla="*/ 890506 h 1691232"/>
                <a:gd name="connsiteX40" fmla="*/ 295393 w 1881147"/>
                <a:gd name="connsiteY40" fmla="*/ 929981 h 1691232"/>
                <a:gd name="connsiteX41" fmla="*/ 341051 w 1881147"/>
                <a:gd name="connsiteY41" fmla="*/ 968573 h 1691232"/>
                <a:gd name="connsiteX42" fmla="*/ 426184 w 1881147"/>
                <a:gd name="connsiteY42" fmla="*/ 1022825 h 1691232"/>
                <a:gd name="connsiteX43" fmla="*/ 461961 w 1881147"/>
                <a:gd name="connsiteY43" fmla="*/ 1093918 h 1691232"/>
                <a:gd name="connsiteX44" fmla="*/ 441064 w 1881147"/>
                <a:gd name="connsiteY44" fmla="*/ 1163491 h 1691232"/>
                <a:gd name="connsiteX45" fmla="*/ 519111 w 1881147"/>
                <a:gd name="connsiteY45" fmla="*/ 1219954 h 1691232"/>
                <a:gd name="connsiteX46" fmla="*/ 591143 w 1881147"/>
                <a:gd name="connsiteY46" fmla="*/ 1252948 h 1691232"/>
                <a:gd name="connsiteX47" fmla="*/ 571974 w 1881147"/>
                <a:gd name="connsiteY47" fmla="*/ 1312651 h 1691232"/>
                <a:gd name="connsiteX48" fmla="*/ 662461 w 1881147"/>
                <a:gd name="connsiteY48" fmla="*/ 1465051 h 1691232"/>
                <a:gd name="connsiteX49" fmla="*/ 755271 w 1881147"/>
                <a:gd name="connsiteY49" fmla="*/ 1538205 h 1691232"/>
                <a:gd name="connsiteX50" fmla="*/ 805336 w 1881147"/>
                <a:gd name="connsiteY50" fmla="*/ 1488863 h 1691232"/>
                <a:gd name="connsiteX51" fmla="*/ 869926 w 1881147"/>
                <a:gd name="connsiteY51" fmla="*/ 1516260 h 1691232"/>
                <a:gd name="connsiteX52" fmla="*/ 924399 w 1881147"/>
                <a:gd name="connsiteY52" fmla="*/ 1484101 h 1691232"/>
                <a:gd name="connsiteX53" fmla="*/ 941246 w 1881147"/>
                <a:gd name="connsiteY53" fmla="*/ 1441925 h 1691232"/>
                <a:gd name="connsiteX54" fmla="*/ 1005123 w 1881147"/>
                <a:gd name="connsiteY54" fmla="*/ 1528337 h 1691232"/>
                <a:gd name="connsiteX55" fmla="*/ 1050190 w 1881147"/>
                <a:gd name="connsiteY55" fmla="*/ 1599431 h 1691232"/>
                <a:gd name="connsiteX56" fmla="*/ 1120136 w 1881147"/>
                <a:gd name="connsiteY56" fmla="*/ 1690950 h 1691232"/>
                <a:gd name="connsiteX57" fmla="*/ 1151034 w 1881147"/>
                <a:gd name="connsiteY57" fmla="*/ 1627859 h 1691232"/>
                <a:gd name="connsiteX58" fmla="*/ 1181693 w 1881147"/>
                <a:gd name="connsiteY58" fmla="*/ 1621379 h 1691232"/>
                <a:gd name="connsiteX59" fmla="*/ 1224792 w 1881147"/>
                <a:gd name="connsiteY59" fmla="*/ 1650642 h 1691232"/>
                <a:gd name="connsiteX60" fmla="*/ 1258367 w 1881147"/>
                <a:gd name="connsiteY60" fmla="*/ 1609988 h 1691232"/>
                <a:gd name="connsiteX61" fmla="*/ 1277188 w 1881147"/>
                <a:gd name="connsiteY61" fmla="*/ 1614605 h 1691232"/>
                <a:gd name="connsiteX62" fmla="*/ 1311230 w 1881147"/>
                <a:gd name="connsiteY62" fmla="*/ 1681082 h 1691232"/>
                <a:gd name="connsiteX63" fmla="*/ 1367786 w 1881147"/>
                <a:gd name="connsiteY63" fmla="*/ 1657613 h 1691232"/>
                <a:gd name="connsiteX64" fmla="*/ 1419818 w 1881147"/>
                <a:gd name="connsiteY64" fmla="*/ 1601492 h 1691232"/>
                <a:gd name="connsiteX65" fmla="*/ 1470595 w 1881147"/>
                <a:gd name="connsiteY65" fmla="*/ 1584949 h 1691232"/>
                <a:gd name="connsiteX66" fmla="*/ 1488274 w 1881147"/>
                <a:gd name="connsiteY66" fmla="*/ 1640771 h 1691232"/>
                <a:gd name="connsiteX67" fmla="*/ 1558169 w 1881147"/>
                <a:gd name="connsiteY67" fmla="*/ 1615093 h 1691232"/>
                <a:gd name="connsiteX68" fmla="*/ 1588947 w 1881147"/>
                <a:gd name="connsiteY68" fmla="*/ 1528337 h 1691232"/>
                <a:gd name="connsiteX69" fmla="*/ 1670383 w 1881147"/>
                <a:gd name="connsiteY69" fmla="*/ 1438195 h 1691232"/>
                <a:gd name="connsiteX70" fmla="*/ 1714974 w 1881147"/>
                <a:gd name="connsiteY70" fmla="*/ 1407065 h 1691232"/>
                <a:gd name="connsiteX71" fmla="*/ 1743343 w 1881147"/>
                <a:gd name="connsiteY71" fmla="*/ 1410360 h 1691232"/>
                <a:gd name="connsiteX72" fmla="*/ 1820935 w 1881147"/>
                <a:gd name="connsiteY72" fmla="*/ 1399752 h 1691232"/>
                <a:gd name="connsiteX73" fmla="*/ 1816054 w 1881147"/>
                <a:gd name="connsiteY73" fmla="*/ 1453316 h 1691232"/>
                <a:gd name="connsiteX74" fmla="*/ 1874221 w 1881147"/>
                <a:gd name="connsiteY74" fmla="*/ 1476637 h 1691232"/>
                <a:gd name="connsiteX75" fmla="*/ 1875829 w 1881147"/>
                <a:gd name="connsiteY75" fmla="*/ 1454003 h 1691232"/>
                <a:gd name="connsiteX76" fmla="*/ 1875051 w 1881147"/>
                <a:gd name="connsiteY76" fmla="*/ 1393269 h 1691232"/>
                <a:gd name="connsiteX77" fmla="*/ 1853086 w 1881147"/>
                <a:gd name="connsiteY77" fmla="*/ 1303126 h 1691232"/>
                <a:gd name="connsiteX78" fmla="*/ 1853086 w 1881147"/>
                <a:gd name="connsiteY78" fmla="*/ 1245976 h 1691232"/>
                <a:gd name="connsiteX79" fmla="*/ 1810224 w 1881147"/>
                <a:gd name="connsiteY79" fmla="*/ 1236451 h 1691232"/>
                <a:gd name="connsiteX80" fmla="*/ 1734024 w 1881147"/>
                <a:gd name="connsiteY80" fmla="*/ 1155488 h 1691232"/>
                <a:gd name="connsiteX81" fmla="*/ 1695924 w 1881147"/>
                <a:gd name="connsiteY81" fmla="*/ 974513 h 1691232"/>
                <a:gd name="connsiteX82" fmla="*/ 1643536 w 1881147"/>
                <a:gd name="connsiteY82" fmla="*/ 941176 h 1691232"/>
                <a:gd name="connsiteX83" fmla="*/ 1605436 w 1881147"/>
                <a:gd name="connsiteY83" fmla="*/ 884026 h 1691232"/>
                <a:gd name="connsiteX84" fmla="*/ 1557811 w 1881147"/>
                <a:gd name="connsiteY84" fmla="*/ 836401 h 1691232"/>
                <a:gd name="connsiteX85" fmla="*/ 1505424 w 1881147"/>
                <a:gd name="connsiteY85" fmla="*/ 817351 h 1691232"/>
                <a:gd name="connsiteX86" fmla="*/ 1453036 w 1881147"/>
                <a:gd name="connsiteY86" fmla="*/ 812588 h 1691232"/>
                <a:gd name="connsiteX87" fmla="*/ 1510186 w 1881147"/>
                <a:gd name="connsiteY87" fmla="*/ 779251 h 1691232"/>
                <a:gd name="connsiteX88" fmla="*/ 1476849 w 1881147"/>
                <a:gd name="connsiteY88" fmla="*/ 745913 h 1691232"/>
                <a:gd name="connsiteX89" fmla="*/ 1481611 w 1881147"/>
                <a:gd name="connsiteY89" fmla="*/ 722101 h 1691232"/>
                <a:gd name="connsiteX90" fmla="*/ 1572099 w 1881147"/>
                <a:gd name="connsiteY90" fmla="*/ 760201 h 1691232"/>
                <a:gd name="connsiteX91" fmla="*/ 1624486 w 1881147"/>
                <a:gd name="connsiteY91" fmla="*/ 693526 h 1691232"/>
                <a:gd name="connsiteX92" fmla="*/ 1622283 w 1881147"/>
                <a:gd name="connsiteY92" fmla="*/ 550651 h 1691232"/>
                <a:gd name="connsiteX93" fmla="*/ 1639486 w 1881147"/>
                <a:gd name="connsiteY93" fmla="*/ 402325 h 1691232"/>
                <a:gd name="connsiteX0" fmla="*/ 1639486 w 1881147"/>
                <a:gd name="connsiteY0" fmla="*/ 402325 h 1691232"/>
                <a:gd name="connsiteX1" fmla="*/ 1567336 w 1881147"/>
                <a:gd name="connsiteY1" fmla="*/ 369676 h 1691232"/>
                <a:gd name="connsiteX2" fmla="*/ 1467324 w 1881147"/>
                <a:gd name="connsiteY2" fmla="*/ 345863 h 1691232"/>
                <a:gd name="connsiteX3" fmla="*/ 1427021 w 1881147"/>
                <a:gd name="connsiteY3" fmla="*/ 289204 h 1691232"/>
                <a:gd name="connsiteX4" fmla="*/ 1379514 w 1881147"/>
                <a:gd name="connsiteY4" fmla="*/ 160126 h 1691232"/>
                <a:gd name="connsiteX5" fmla="*/ 1338736 w 1881147"/>
                <a:gd name="connsiteY5" fmla="*/ 12488 h 1691232"/>
                <a:gd name="connsiteX6" fmla="*/ 1267299 w 1881147"/>
                <a:gd name="connsiteY6" fmla="*/ 12488 h 1691232"/>
                <a:gd name="connsiteX7" fmla="*/ 1214911 w 1881147"/>
                <a:gd name="connsiteY7" fmla="*/ 50588 h 1691232"/>
                <a:gd name="connsiteX8" fmla="*/ 1214911 w 1881147"/>
                <a:gd name="connsiteY8" fmla="*/ 155363 h 1691232"/>
                <a:gd name="connsiteX9" fmla="*/ 1186336 w 1881147"/>
                <a:gd name="connsiteY9" fmla="*/ 183938 h 1691232"/>
                <a:gd name="connsiteX10" fmla="*/ 1176811 w 1881147"/>
                <a:gd name="connsiteY10" fmla="*/ 255376 h 1691232"/>
                <a:gd name="connsiteX11" fmla="*/ 1114899 w 1881147"/>
                <a:gd name="connsiteY11" fmla="*/ 298238 h 1691232"/>
                <a:gd name="connsiteX12" fmla="*/ 1005361 w 1881147"/>
                <a:gd name="connsiteY12" fmla="*/ 312526 h 1691232"/>
                <a:gd name="connsiteX13" fmla="*/ 962499 w 1881147"/>
                <a:gd name="connsiteY13" fmla="*/ 355388 h 1691232"/>
                <a:gd name="connsiteX14" fmla="*/ 838674 w 1881147"/>
                <a:gd name="connsiteY14" fmla="*/ 355388 h 1691232"/>
                <a:gd name="connsiteX15" fmla="*/ 781524 w 1881147"/>
                <a:gd name="connsiteY15" fmla="*/ 426826 h 1691232"/>
                <a:gd name="connsiteX16" fmla="*/ 781524 w 1881147"/>
                <a:gd name="connsiteY16" fmla="*/ 460163 h 1691232"/>
                <a:gd name="connsiteX17" fmla="*/ 743424 w 1881147"/>
                <a:gd name="connsiteY17" fmla="*/ 483976 h 1691232"/>
                <a:gd name="connsiteX18" fmla="*/ 671986 w 1881147"/>
                <a:gd name="connsiteY18" fmla="*/ 417301 h 1691232"/>
                <a:gd name="connsiteX19" fmla="*/ 519586 w 1881147"/>
                <a:gd name="connsiteY19" fmla="*/ 412538 h 1691232"/>
                <a:gd name="connsiteX20" fmla="*/ 457674 w 1881147"/>
                <a:gd name="connsiteY20" fmla="*/ 431588 h 1691232"/>
                <a:gd name="connsiteX21" fmla="*/ 419574 w 1881147"/>
                <a:gd name="connsiteY21" fmla="*/ 417301 h 1691232"/>
                <a:gd name="connsiteX22" fmla="*/ 400524 w 1881147"/>
                <a:gd name="connsiteY22" fmla="*/ 355388 h 1691232"/>
                <a:gd name="connsiteX23" fmla="*/ 333849 w 1881147"/>
                <a:gd name="connsiteY23" fmla="*/ 303001 h 1691232"/>
                <a:gd name="connsiteX24" fmla="*/ 286224 w 1881147"/>
                <a:gd name="connsiteY24" fmla="*/ 236326 h 1691232"/>
                <a:gd name="connsiteX25" fmla="*/ 143349 w 1881147"/>
                <a:gd name="connsiteY25" fmla="*/ 255376 h 1691232"/>
                <a:gd name="connsiteX26" fmla="*/ 124299 w 1881147"/>
                <a:gd name="connsiteY26" fmla="*/ 331576 h 1691232"/>
                <a:gd name="connsiteX27" fmla="*/ 110011 w 1881147"/>
                <a:gd name="connsiteY27" fmla="*/ 364913 h 1691232"/>
                <a:gd name="connsiteX28" fmla="*/ 133824 w 1881147"/>
                <a:gd name="connsiteY28" fmla="*/ 412538 h 1691232"/>
                <a:gd name="connsiteX29" fmla="*/ 81436 w 1881147"/>
                <a:gd name="connsiteY29" fmla="*/ 450638 h 1691232"/>
                <a:gd name="connsiteX30" fmla="*/ 33811 w 1881147"/>
                <a:gd name="connsiteY30" fmla="*/ 445876 h 1691232"/>
                <a:gd name="connsiteX31" fmla="*/ 33811 w 1881147"/>
                <a:gd name="connsiteY31" fmla="*/ 517313 h 1691232"/>
                <a:gd name="connsiteX32" fmla="*/ 474 w 1881147"/>
                <a:gd name="connsiteY32" fmla="*/ 622088 h 1691232"/>
                <a:gd name="connsiteX33" fmla="*/ 62386 w 1881147"/>
                <a:gd name="connsiteY33" fmla="*/ 698288 h 1691232"/>
                <a:gd name="connsiteX34" fmla="*/ 111977 w 1881147"/>
                <a:gd name="connsiteY34" fmla="*/ 678550 h 1691232"/>
                <a:gd name="connsiteX35" fmla="*/ 112334 w 1881147"/>
                <a:gd name="connsiteY35" fmla="*/ 748809 h 1691232"/>
                <a:gd name="connsiteX36" fmla="*/ 167161 w 1881147"/>
                <a:gd name="connsiteY36" fmla="*/ 779251 h 1691232"/>
                <a:gd name="connsiteX37" fmla="*/ 236159 w 1881147"/>
                <a:gd name="connsiteY37" fmla="*/ 789463 h 1691232"/>
                <a:gd name="connsiteX38" fmla="*/ 271462 w 1881147"/>
                <a:gd name="connsiteY38" fmla="*/ 845434 h 1691232"/>
                <a:gd name="connsiteX39" fmla="*/ 270869 w 1881147"/>
                <a:gd name="connsiteY39" fmla="*/ 890506 h 1691232"/>
                <a:gd name="connsiteX40" fmla="*/ 295393 w 1881147"/>
                <a:gd name="connsiteY40" fmla="*/ 929981 h 1691232"/>
                <a:gd name="connsiteX41" fmla="*/ 341051 w 1881147"/>
                <a:gd name="connsiteY41" fmla="*/ 968573 h 1691232"/>
                <a:gd name="connsiteX42" fmla="*/ 426184 w 1881147"/>
                <a:gd name="connsiteY42" fmla="*/ 1022825 h 1691232"/>
                <a:gd name="connsiteX43" fmla="*/ 461961 w 1881147"/>
                <a:gd name="connsiteY43" fmla="*/ 1093918 h 1691232"/>
                <a:gd name="connsiteX44" fmla="*/ 441064 w 1881147"/>
                <a:gd name="connsiteY44" fmla="*/ 1163491 h 1691232"/>
                <a:gd name="connsiteX45" fmla="*/ 519111 w 1881147"/>
                <a:gd name="connsiteY45" fmla="*/ 1219954 h 1691232"/>
                <a:gd name="connsiteX46" fmla="*/ 591143 w 1881147"/>
                <a:gd name="connsiteY46" fmla="*/ 1252948 h 1691232"/>
                <a:gd name="connsiteX47" fmla="*/ 571974 w 1881147"/>
                <a:gd name="connsiteY47" fmla="*/ 1312651 h 1691232"/>
                <a:gd name="connsiteX48" fmla="*/ 662461 w 1881147"/>
                <a:gd name="connsiteY48" fmla="*/ 1465051 h 1691232"/>
                <a:gd name="connsiteX49" fmla="*/ 755271 w 1881147"/>
                <a:gd name="connsiteY49" fmla="*/ 1538205 h 1691232"/>
                <a:gd name="connsiteX50" fmla="*/ 805336 w 1881147"/>
                <a:gd name="connsiteY50" fmla="*/ 1488863 h 1691232"/>
                <a:gd name="connsiteX51" fmla="*/ 869926 w 1881147"/>
                <a:gd name="connsiteY51" fmla="*/ 1516260 h 1691232"/>
                <a:gd name="connsiteX52" fmla="*/ 924399 w 1881147"/>
                <a:gd name="connsiteY52" fmla="*/ 1484101 h 1691232"/>
                <a:gd name="connsiteX53" fmla="*/ 941246 w 1881147"/>
                <a:gd name="connsiteY53" fmla="*/ 1441925 h 1691232"/>
                <a:gd name="connsiteX54" fmla="*/ 1005123 w 1881147"/>
                <a:gd name="connsiteY54" fmla="*/ 1528337 h 1691232"/>
                <a:gd name="connsiteX55" fmla="*/ 1050190 w 1881147"/>
                <a:gd name="connsiteY55" fmla="*/ 1599431 h 1691232"/>
                <a:gd name="connsiteX56" fmla="*/ 1120136 w 1881147"/>
                <a:gd name="connsiteY56" fmla="*/ 1690950 h 1691232"/>
                <a:gd name="connsiteX57" fmla="*/ 1151034 w 1881147"/>
                <a:gd name="connsiteY57" fmla="*/ 1627859 h 1691232"/>
                <a:gd name="connsiteX58" fmla="*/ 1181693 w 1881147"/>
                <a:gd name="connsiteY58" fmla="*/ 1621379 h 1691232"/>
                <a:gd name="connsiteX59" fmla="*/ 1224792 w 1881147"/>
                <a:gd name="connsiteY59" fmla="*/ 1650642 h 1691232"/>
                <a:gd name="connsiteX60" fmla="*/ 1258367 w 1881147"/>
                <a:gd name="connsiteY60" fmla="*/ 1609988 h 1691232"/>
                <a:gd name="connsiteX61" fmla="*/ 1277188 w 1881147"/>
                <a:gd name="connsiteY61" fmla="*/ 1614605 h 1691232"/>
                <a:gd name="connsiteX62" fmla="*/ 1311230 w 1881147"/>
                <a:gd name="connsiteY62" fmla="*/ 1681082 h 1691232"/>
                <a:gd name="connsiteX63" fmla="*/ 1367786 w 1881147"/>
                <a:gd name="connsiteY63" fmla="*/ 1657613 h 1691232"/>
                <a:gd name="connsiteX64" fmla="*/ 1419818 w 1881147"/>
                <a:gd name="connsiteY64" fmla="*/ 1601492 h 1691232"/>
                <a:gd name="connsiteX65" fmla="*/ 1470595 w 1881147"/>
                <a:gd name="connsiteY65" fmla="*/ 1584949 h 1691232"/>
                <a:gd name="connsiteX66" fmla="*/ 1488274 w 1881147"/>
                <a:gd name="connsiteY66" fmla="*/ 1640771 h 1691232"/>
                <a:gd name="connsiteX67" fmla="*/ 1558169 w 1881147"/>
                <a:gd name="connsiteY67" fmla="*/ 1615093 h 1691232"/>
                <a:gd name="connsiteX68" fmla="*/ 1588947 w 1881147"/>
                <a:gd name="connsiteY68" fmla="*/ 1528337 h 1691232"/>
                <a:gd name="connsiteX69" fmla="*/ 1670383 w 1881147"/>
                <a:gd name="connsiteY69" fmla="*/ 1438195 h 1691232"/>
                <a:gd name="connsiteX70" fmla="*/ 1714974 w 1881147"/>
                <a:gd name="connsiteY70" fmla="*/ 1407065 h 1691232"/>
                <a:gd name="connsiteX71" fmla="*/ 1743343 w 1881147"/>
                <a:gd name="connsiteY71" fmla="*/ 1410360 h 1691232"/>
                <a:gd name="connsiteX72" fmla="*/ 1820935 w 1881147"/>
                <a:gd name="connsiteY72" fmla="*/ 1399752 h 1691232"/>
                <a:gd name="connsiteX73" fmla="*/ 1816054 w 1881147"/>
                <a:gd name="connsiteY73" fmla="*/ 1453316 h 1691232"/>
                <a:gd name="connsiteX74" fmla="*/ 1874221 w 1881147"/>
                <a:gd name="connsiteY74" fmla="*/ 1476637 h 1691232"/>
                <a:gd name="connsiteX75" fmla="*/ 1875829 w 1881147"/>
                <a:gd name="connsiteY75" fmla="*/ 1454003 h 1691232"/>
                <a:gd name="connsiteX76" fmla="*/ 1875051 w 1881147"/>
                <a:gd name="connsiteY76" fmla="*/ 1393269 h 1691232"/>
                <a:gd name="connsiteX77" fmla="*/ 1853086 w 1881147"/>
                <a:gd name="connsiteY77" fmla="*/ 1303126 h 1691232"/>
                <a:gd name="connsiteX78" fmla="*/ 1853086 w 1881147"/>
                <a:gd name="connsiteY78" fmla="*/ 1245976 h 1691232"/>
                <a:gd name="connsiteX79" fmla="*/ 1810224 w 1881147"/>
                <a:gd name="connsiteY79" fmla="*/ 1236451 h 1691232"/>
                <a:gd name="connsiteX80" fmla="*/ 1734024 w 1881147"/>
                <a:gd name="connsiteY80" fmla="*/ 1155488 h 1691232"/>
                <a:gd name="connsiteX81" fmla="*/ 1695924 w 1881147"/>
                <a:gd name="connsiteY81" fmla="*/ 974513 h 1691232"/>
                <a:gd name="connsiteX82" fmla="*/ 1643536 w 1881147"/>
                <a:gd name="connsiteY82" fmla="*/ 941176 h 1691232"/>
                <a:gd name="connsiteX83" fmla="*/ 1605436 w 1881147"/>
                <a:gd name="connsiteY83" fmla="*/ 884026 h 1691232"/>
                <a:gd name="connsiteX84" fmla="*/ 1557811 w 1881147"/>
                <a:gd name="connsiteY84" fmla="*/ 836401 h 1691232"/>
                <a:gd name="connsiteX85" fmla="*/ 1505424 w 1881147"/>
                <a:gd name="connsiteY85" fmla="*/ 817351 h 1691232"/>
                <a:gd name="connsiteX86" fmla="*/ 1453036 w 1881147"/>
                <a:gd name="connsiteY86" fmla="*/ 812588 h 1691232"/>
                <a:gd name="connsiteX87" fmla="*/ 1510186 w 1881147"/>
                <a:gd name="connsiteY87" fmla="*/ 779251 h 1691232"/>
                <a:gd name="connsiteX88" fmla="*/ 1476849 w 1881147"/>
                <a:gd name="connsiteY88" fmla="*/ 745913 h 1691232"/>
                <a:gd name="connsiteX89" fmla="*/ 1481611 w 1881147"/>
                <a:gd name="connsiteY89" fmla="*/ 722101 h 1691232"/>
                <a:gd name="connsiteX90" fmla="*/ 1572099 w 1881147"/>
                <a:gd name="connsiteY90" fmla="*/ 760201 h 1691232"/>
                <a:gd name="connsiteX91" fmla="*/ 1624486 w 1881147"/>
                <a:gd name="connsiteY91" fmla="*/ 693526 h 1691232"/>
                <a:gd name="connsiteX92" fmla="*/ 1622283 w 1881147"/>
                <a:gd name="connsiteY92" fmla="*/ 550651 h 1691232"/>
                <a:gd name="connsiteX93" fmla="*/ 1639486 w 1881147"/>
                <a:gd name="connsiteY93" fmla="*/ 402325 h 1691232"/>
                <a:gd name="connsiteX0" fmla="*/ 1639486 w 1881147"/>
                <a:gd name="connsiteY0" fmla="*/ 402325 h 1691232"/>
                <a:gd name="connsiteX1" fmla="*/ 1567336 w 1881147"/>
                <a:gd name="connsiteY1" fmla="*/ 369676 h 1691232"/>
                <a:gd name="connsiteX2" fmla="*/ 1467324 w 1881147"/>
                <a:gd name="connsiteY2" fmla="*/ 345863 h 1691232"/>
                <a:gd name="connsiteX3" fmla="*/ 1427021 w 1881147"/>
                <a:gd name="connsiteY3" fmla="*/ 289204 h 1691232"/>
                <a:gd name="connsiteX4" fmla="*/ 1379514 w 1881147"/>
                <a:gd name="connsiteY4" fmla="*/ 160126 h 1691232"/>
                <a:gd name="connsiteX5" fmla="*/ 1351753 w 1881147"/>
                <a:gd name="connsiteY5" fmla="*/ 12488 h 1691232"/>
                <a:gd name="connsiteX6" fmla="*/ 1267299 w 1881147"/>
                <a:gd name="connsiteY6" fmla="*/ 12488 h 1691232"/>
                <a:gd name="connsiteX7" fmla="*/ 1214911 w 1881147"/>
                <a:gd name="connsiteY7" fmla="*/ 50588 h 1691232"/>
                <a:gd name="connsiteX8" fmla="*/ 1214911 w 1881147"/>
                <a:gd name="connsiteY8" fmla="*/ 155363 h 1691232"/>
                <a:gd name="connsiteX9" fmla="*/ 1186336 w 1881147"/>
                <a:gd name="connsiteY9" fmla="*/ 183938 h 1691232"/>
                <a:gd name="connsiteX10" fmla="*/ 1176811 w 1881147"/>
                <a:gd name="connsiteY10" fmla="*/ 255376 h 1691232"/>
                <a:gd name="connsiteX11" fmla="*/ 1114899 w 1881147"/>
                <a:gd name="connsiteY11" fmla="*/ 298238 h 1691232"/>
                <a:gd name="connsiteX12" fmla="*/ 1005361 w 1881147"/>
                <a:gd name="connsiteY12" fmla="*/ 312526 h 1691232"/>
                <a:gd name="connsiteX13" fmla="*/ 962499 w 1881147"/>
                <a:gd name="connsiteY13" fmla="*/ 355388 h 1691232"/>
                <a:gd name="connsiteX14" fmla="*/ 838674 w 1881147"/>
                <a:gd name="connsiteY14" fmla="*/ 355388 h 1691232"/>
                <a:gd name="connsiteX15" fmla="*/ 781524 w 1881147"/>
                <a:gd name="connsiteY15" fmla="*/ 426826 h 1691232"/>
                <a:gd name="connsiteX16" fmla="*/ 781524 w 1881147"/>
                <a:gd name="connsiteY16" fmla="*/ 460163 h 1691232"/>
                <a:gd name="connsiteX17" fmla="*/ 743424 w 1881147"/>
                <a:gd name="connsiteY17" fmla="*/ 483976 h 1691232"/>
                <a:gd name="connsiteX18" fmla="*/ 671986 w 1881147"/>
                <a:gd name="connsiteY18" fmla="*/ 417301 h 1691232"/>
                <a:gd name="connsiteX19" fmla="*/ 519586 w 1881147"/>
                <a:gd name="connsiteY19" fmla="*/ 412538 h 1691232"/>
                <a:gd name="connsiteX20" fmla="*/ 457674 w 1881147"/>
                <a:gd name="connsiteY20" fmla="*/ 431588 h 1691232"/>
                <a:gd name="connsiteX21" fmla="*/ 419574 w 1881147"/>
                <a:gd name="connsiteY21" fmla="*/ 417301 h 1691232"/>
                <a:gd name="connsiteX22" fmla="*/ 400524 w 1881147"/>
                <a:gd name="connsiteY22" fmla="*/ 355388 h 1691232"/>
                <a:gd name="connsiteX23" fmla="*/ 333849 w 1881147"/>
                <a:gd name="connsiteY23" fmla="*/ 303001 h 1691232"/>
                <a:gd name="connsiteX24" fmla="*/ 286224 w 1881147"/>
                <a:gd name="connsiteY24" fmla="*/ 236326 h 1691232"/>
                <a:gd name="connsiteX25" fmla="*/ 143349 w 1881147"/>
                <a:gd name="connsiteY25" fmla="*/ 255376 h 1691232"/>
                <a:gd name="connsiteX26" fmla="*/ 124299 w 1881147"/>
                <a:gd name="connsiteY26" fmla="*/ 331576 h 1691232"/>
                <a:gd name="connsiteX27" fmla="*/ 110011 w 1881147"/>
                <a:gd name="connsiteY27" fmla="*/ 364913 h 1691232"/>
                <a:gd name="connsiteX28" fmla="*/ 133824 w 1881147"/>
                <a:gd name="connsiteY28" fmla="*/ 412538 h 1691232"/>
                <a:gd name="connsiteX29" fmla="*/ 81436 w 1881147"/>
                <a:gd name="connsiteY29" fmla="*/ 450638 h 1691232"/>
                <a:gd name="connsiteX30" fmla="*/ 33811 w 1881147"/>
                <a:gd name="connsiteY30" fmla="*/ 445876 h 1691232"/>
                <a:gd name="connsiteX31" fmla="*/ 33811 w 1881147"/>
                <a:gd name="connsiteY31" fmla="*/ 517313 h 1691232"/>
                <a:gd name="connsiteX32" fmla="*/ 474 w 1881147"/>
                <a:gd name="connsiteY32" fmla="*/ 622088 h 1691232"/>
                <a:gd name="connsiteX33" fmla="*/ 62386 w 1881147"/>
                <a:gd name="connsiteY33" fmla="*/ 698288 h 1691232"/>
                <a:gd name="connsiteX34" fmla="*/ 111977 w 1881147"/>
                <a:gd name="connsiteY34" fmla="*/ 678550 h 1691232"/>
                <a:gd name="connsiteX35" fmla="*/ 112334 w 1881147"/>
                <a:gd name="connsiteY35" fmla="*/ 748809 h 1691232"/>
                <a:gd name="connsiteX36" fmla="*/ 167161 w 1881147"/>
                <a:gd name="connsiteY36" fmla="*/ 779251 h 1691232"/>
                <a:gd name="connsiteX37" fmla="*/ 236159 w 1881147"/>
                <a:gd name="connsiteY37" fmla="*/ 789463 h 1691232"/>
                <a:gd name="connsiteX38" fmla="*/ 271462 w 1881147"/>
                <a:gd name="connsiteY38" fmla="*/ 845434 h 1691232"/>
                <a:gd name="connsiteX39" fmla="*/ 270869 w 1881147"/>
                <a:gd name="connsiteY39" fmla="*/ 890506 h 1691232"/>
                <a:gd name="connsiteX40" fmla="*/ 295393 w 1881147"/>
                <a:gd name="connsiteY40" fmla="*/ 929981 h 1691232"/>
                <a:gd name="connsiteX41" fmla="*/ 341051 w 1881147"/>
                <a:gd name="connsiteY41" fmla="*/ 968573 h 1691232"/>
                <a:gd name="connsiteX42" fmla="*/ 426184 w 1881147"/>
                <a:gd name="connsiteY42" fmla="*/ 1022825 h 1691232"/>
                <a:gd name="connsiteX43" fmla="*/ 461961 w 1881147"/>
                <a:gd name="connsiteY43" fmla="*/ 1093918 h 1691232"/>
                <a:gd name="connsiteX44" fmla="*/ 441064 w 1881147"/>
                <a:gd name="connsiteY44" fmla="*/ 1163491 h 1691232"/>
                <a:gd name="connsiteX45" fmla="*/ 519111 w 1881147"/>
                <a:gd name="connsiteY45" fmla="*/ 1219954 h 1691232"/>
                <a:gd name="connsiteX46" fmla="*/ 591143 w 1881147"/>
                <a:gd name="connsiteY46" fmla="*/ 1252948 h 1691232"/>
                <a:gd name="connsiteX47" fmla="*/ 571974 w 1881147"/>
                <a:gd name="connsiteY47" fmla="*/ 1312651 h 1691232"/>
                <a:gd name="connsiteX48" fmla="*/ 662461 w 1881147"/>
                <a:gd name="connsiteY48" fmla="*/ 1465051 h 1691232"/>
                <a:gd name="connsiteX49" fmla="*/ 755271 w 1881147"/>
                <a:gd name="connsiteY49" fmla="*/ 1538205 h 1691232"/>
                <a:gd name="connsiteX50" fmla="*/ 805336 w 1881147"/>
                <a:gd name="connsiteY50" fmla="*/ 1488863 h 1691232"/>
                <a:gd name="connsiteX51" fmla="*/ 869926 w 1881147"/>
                <a:gd name="connsiteY51" fmla="*/ 1516260 h 1691232"/>
                <a:gd name="connsiteX52" fmla="*/ 924399 w 1881147"/>
                <a:gd name="connsiteY52" fmla="*/ 1484101 h 1691232"/>
                <a:gd name="connsiteX53" fmla="*/ 941246 w 1881147"/>
                <a:gd name="connsiteY53" fmla="*/ 1441925 h 1691232"/>
                <a:gd name="connsiteX54" fmla="*/ 1005123 w 1881147"/>
                <a:gd name="connsiteY54" fmla="*/ 1528337 h 1691232"/>
                <a:gd name="connsiteX55" fmla="*/ 1050190 w 1881147"/>
                <a:gd name="connsiteY55" fmla="*/ 1599431 h 1691232"/>
                <a:gd name="connsiteX56" fmla="*/ 1120136 w 1881147"/>
                <a:gd name="connsiteY56" fmla="*/ 1690950 h 1691232"/>
                <a:gd name="connsiteX57" fmla="*/ 1151034 w 1881147"/>
                <a:gd name="connsiteY57" fmla="*/ 1627859 h 1691232"/>
                <a:gd name="connsiteX58" fmla="*/ 1181693 w 1881147"/>
                <a:gd name="connsiteY58" fmla="*/ 1621379 h 1691232"/>
                <a:gd name="connsiteX59" fmla="*/ 1224792 w 1881147"/>
                <a:gd name="connsiteY59" fmla="*/ 1650642 h 1691232"/>
                <a:gd name="connsiteX60" fmla="*/ 1258367 w 1881147"/>
                <a:gd name="connsiteY60" fmla="*/ 1609988 h 1691232"/>
                <a:gd name="connsiteX61" fmla="*/ 1277188 w 1881147"/>
                <a:gd name="connsiteY61" fmla="*/ 1614605 h 1691232"/>
                <a:gd name="connsiteX62" fmla="*/ 1311230 w 1881147"/>
                <a:gd name="connsiteY62" fmla="*/ 1681082 h 1691232"/>
                <a:gd name="connsiteX63" fmla="*/ 1367786 w 1881147"/>
                <a:gd name="connsiteY63" fmla="*/ 1657613 h 1691232"/>
                <a:gd name="connsiteX64" fmla="*/ 1419818 w 1881147"/>
                <a:gd name="connsiteY64" fmla="*/ 1601492 h 1691232"/>
                <a:gd name="connsiteX65" fmla="*/ 1470595 w 1881147"/>
                <a:gd name="connsiteY65" fmla="*/ 1584949 h 1691232"/>
                <a:gd name="connsiteX66" fmla="*/ 1488274 w 1881147"/>
                <a:gd name="connsiteY66" fmla="*/ 1640771 h 1691232"/>
                <a:gd name="connsiteX67" fmla="*/ 1558169 w 1881147"/>
                <a:gd name="connsiteY67" fmla="*/ 1615093 h 1691232"/>
                <a:gd name="connsiteX68" fmla="*/ 1588947 w 1881147"/>
                <a:gd name="connsiteY68" fmla="*/ 1528337 h 1691232"/>
                <a:gd name="connsiteX69" fmla="*/ 1670383 w 1881147"/>
                <a:gd name="connsiteY69" fmla="*/ 1438195 h 1691232"/>
                <a:gd name="connsiteX70" fmla="*/ 1714974 w 1881147"/>
                <a:gd name="connsiteY70" fmla="*/ 1407065 h 1691232"/>
                <a:gd name="connsiteX71" fmla="*/ 1743343 w 1881147"/>
                <a:gd name="connsiteY71" fmla="*/ 1410360 h 1691232"/>
                <a:gd name="connsiteX72" fmla="*/ 1820935 w 1881147"/>
                <a:gd name="connsiteY72" fmla="*/ 1399752 h 1691232"/>
                <a:gd name="connsiteX73" fmla="*/ 1816054 w 1881147"/>
                <a:gd name="connsiteY73" fmla="*/ 1453316 h 1691232"/>
                <a:gd name="connsiteX74" fmla="*/ 1874221 w 1881147"/>
                <a:gd name="connsiteY74" fmla="*/ 1476637 h 1691232"/>
                <a:gd name="connsiteX75" fmla="*/ 1875829 w 1881147"/>
                <a:gd name="connsiteY75" fmla="*/ 1454003 h 1691232"/>
                <a:gd name="connsiteX76" fmla="*/ 1875051 w 1881147"/>
                <a:gd name="connsiteY76" fmla="*/ 1393269 h 1691232"/>
                <a:gd name="connsiteX77" fmla="*/ 1853086 w 1881147"/>
                <a:gd name="connsiteY77" fmla="*/ 1303126 h 1691232"/>
                <a:gd name="connsiteX78" fmla="*/ 1853086 w 1881147"/>
                <a:gd name="connsiteY78" fmla="*/ 1245976 h 1691232"/>
                <a:gd name="connsiteX79" fmla="*/ 1810224 w 1881147"/>
                <a:gd name="connsiteY79" fmla="*/ 1236451 h 1691232"/>
                <a:gd name="connsiteX80" fmla="*/ 1734024 w 1881147"/>
                <a:gd name="connsiteY80" fmla="*/ 1155488 h 1691232"/>
                <a:gd name="connsiteX81" fmla="*/ 1695924 w 1881147"/>
                <a:gd name="connsiteY81" fmla="*/ 974513 h 1691232"/>
                <a:gd name="connsiteX82" fmla="*/ 1643536 w 1881147"/>
                <a:gd name="connsiteY82" fmla="*/ 941176 h 1691232"/>
                <a:gd name="connsiteX83" fmla="*/ 1605436 w 1881147"/>
                <a:gd name="connsiteY83" fmla="*/ 884026 h 1691232"/>
                <a:gd name="connsiteX84" fmla="*/ 1557811 w 1881147"/>
                <a:gd name="connsiteY84" fmla="*/ 836401 h 1691232"/>
                <a:gd name="connsiteX85" fmla="*/ 1505424 w 1881147"/>
                <a:gd name="connsiteY85" fmla="*/ 817351 h 1691232"/>
                <a:gd name="connsiteX86" fmla="*/ 1453036 w 1881147"/>
                <a:gd name="connsiteY86" fmla="*/ 812588 h 1691232"/>
                <a:gd name="connsiteX87" fmla="*/ 1510186 w 1881147"/>
                <a:gd name="connsiteY87" fmla="*/ 779251 h 1691232"/>
                <a:gd name="connsiteX88" fmla="*/ 1476849 w 1881147"/>
                <a:gd name="connsiteY88" fmla="*/ 745913 h 1691232"/>
                <a:gd name="connsiteX89" fmla="*/ 1481611 w 1881147"/>
                <a:gd name="connsiteY89" fmla="*/ 722101 h 1691232"/>
                <a:gd name="connsiteX90" fmla="*/ 1572099 w 1881147"/>
                <a:gd name="connsiteY90" fmla="*/ 760201 h 1691232"/>
                <a:gd name="connsiteX91" fmla="*/ 1624486 w 1881147"/>
                <a:gd name="connsiteY91" fmla="*/ 693526 h 1691232"/>
                <a:gd name="connsiteX92" fmla="*/ 1622283 w 1881147"/>
                <a:gd name="connsiteY92" fmla="*/ 550651 h 1691232"/>
                <a:gd name="connsiteX93" fmla="*/ 1639486 w 1881147"/>
                <a:gd name="connsiteY93" fmla="*/ 402325 h 1691232"/>
                <a:gd name="connsiteX0" fmla="*/ 1639486 w 1881147"/>
                <a:gd name="connsiteY0" fmla="*/ 402822 h 1691729"/>
                <a:gd name="connsiteX1" fmla="*/ 1567336 w 1881147"/>
                <a:gd name="connsiteY1" fmla="*/ 370173 h 1691729"/>
                <a:gd name="connsiteX2" fmla="*/ 1467324 w 1881147"/>
                <a:gd name="connsiteY2" fmla="*/ 346360 h 1691729"/>
                <a:gd name="connsiteX3" fmla="*/ 1427021 w 1881147"/>
                <a:gd name="connsiteY3" fmla="*/ 289701 h 1691729"/>
                <a:gd name="connsiteX4" fmla="*/ 1395785 w 1881147"/>
                <a:gd name="connsiteY4" fmla="*/ 167431 h 1691729"/>
                <a:gd name="connsiteX5" fmla="*/ 1351753 w 1881147"/>
                <a:gd name="connsiteY5" fmla="*/ 12985 h 1691729"/>
                <a:gd name="connsiteX6" fmla="*/ 1267299 w 1881147"/>
                <a:gd name="connsiteY6" fmla="*/ 12985 h 1691729"/>
                <a:gd name="connsiteX7" fmla="*/ 1214911 w 1881147"/>
                <a:gd name="connsiteY7" fmla="*/ 51085 h 1691729"/>
                <a:gd name="connsiteX8" fmla="*/ 1214911 w 1881147"/>
                <a:gd name="connsiteY8" fmla="*/ 155860 h 1691729"/>
                <a:gd name="connsiteX9" fmla="*/ 1186336 w 1881147"/>
                <a:gd name="connsiteY9" fmla="*/ 184435 h 1691729"/>
                <a:gd name="connsiteX10" fmla="*/ 1176811 w 1881147"/>
                <a:gd name="connsiteY10" fmla="*/ 255873 h 1691729"/>
                <a:gd name="connsiteX11" fmla="*/ 1114899 w 1881147"/>
                <a:gd name="connsiteY11" fmla="*/ 298735 h 1691729"/>
                <a:gd name="connsiteX12" fmla="*/ 1005361 w 1881147"/>
                <a:gd name="connsiteY12" fmla="*/ 313023 h 1691729"/>
                <a:gd name="connsiteX13" fmla="*/ 962499 w 1881147"/>
                <a:gd name="connsiteY13" fmla="*/ 355885 h 1691729"/>
                <a:gd name="connsiteX14" fmla="*/ 838674 w 1881147"/>
                <a:gd name="connsiteY14" fmla="*/ 355885 h 1691729"/>
                <a:gd name="connsiteX15" fmla="*/ 781524 w 1881147"/>
                <a:gd name="connsiteY15" fmla="*/ 427323 h 1691729"/>
                <a:gd name="connsiteX16" fmla="*/ 781524 w 1881147"/>
                <a:gd name="connsiteY16" fmla="*/ 460660 h 1691729"/>
                <a:gd name="connsiteX17" fmla="*/ 743424 w 1881147"/>
                <a:gd name="connsiteY17" fmla="*/ 484473 h 1691729"/>
                <a:gd name="connsiteX18" fmla="*/ 671986 w 1881147"/>
                <a:gd name="connsiteY18" fmla="*/ 417798 h 1691729"/>
                <a:gd name="connsiteX19" fmla="*/ 519586 w 1881147"/>
                <a:gd name="connsiteY19" fmla="*/ 413035 h 1691729"/>
                <a:gd name="connsiteX20" fmla="*/ 457674 w 1881147"/>
                <a:gd name="connsiteY20" fmla="*/ 432085 h 1691729"/>
                <a:gd name="connsiteX21" fmla="*/ 419574 w 1881147"/>
                <a:gd name="connsiteY21" fmla="*/ 417798 h 1691729"/>
                <a:gd name="connsiteX22" fmla="*/ 400524 w 1881147"/>
                <a:gd name="connsiteY22" fmla="*/ 355885 h 1691729"/>
                <a:gd name="connsiteX23" fmla="*/ 333849 w 1881147"/>
                <a:gd name="connsiteY23" fmla="*/ 303498 h 1691729"/>
                <a:gd name="connsiteX24" fmla="*/ 286224 w 1881147"/>
                <a:gd name="connsiteY24" fmla="*/ 236823 h 1691729"/>
                <a:gd name="connsiteX25" fmla="*/ 143349 w 1881147"/>
                <a:gd name="connsiteY25" fmla="*/ 255873 h 1691729"/>
                <a:gd name="connsiteX26" fmla="*/ 124299 w 1881147"/>
                <a:gd name="connsiteY26" fmla="*/ 332073 h 1691729"/>
                <a:gd name="connsiteX27" fmla="*/ 110011 w 1881147"/>
                <a:gd name="connsiteY27" fmla="*/ 365410 h 1691729"/>
                <a:gd name="connsiteX28" fmla="*/ 133824 w 1881147"/>
                <a:gd name="connsiteY28" fmla="*/ 413035 h 1691729"/>
                <a:gd name="connsiteX29" fmla="*/ 81436 w 1881147"/>
                <a:gd name="connsiteY29" fmla="*/ 451135 h 1691729"/>
                <a:gd name="connsiteX30" fmla="*/ 33811 w 1881147"/>
                <a:gd name="connsiteY30" fmla="*/ 446373 h 1691729"/>
                <a:gd name="connsiteX31" fmla="*/ 33811 w 1881147"/>
                <a:gd name="connsiteY31" fmla="*/ 517810 h 1691729"/>
                <a:gd name="connsiteX32" fmla="*/ 474 w 1881147"/>
                <a:gd name="connsiteY32" fmla="*/ 622585 h 1691729"/>
                <a:gd name="connsiteX33" fmla="*/ 62386 w 1881147"/>
                <a:gd name="connsiteY33" fmla="*/ 698785 h 1691729"/>
                <a:gd name="connsiteX34" fmla="*/ 111977 w 1881147"/>
                <a:gd name="connsiteY34" fmla="*/ 679047 h 1691729"/>
                <a:gd name="connsiteX35" fmla="*/ 112334 w 1881147"/>
                <a:gd name="connsiteY35" fmla="*/ 749306 h 1691729"/>
                <a:gd name="connsiteX36" fmla="*/ 167161 w 1881147"/>
                <a:gd name="connsiteY36" fmla="*/ 779748 h 1691729"/>
                <a:gd name="connsiteX37" fmla="*/ 236159 w 1881147"/>
                <a:gd name="connsiteY37" fmla="*/ 789960 h 1691729"/>
                <a:gd name="connsiteX38" fmla="*/ 271462 w 1881147"/>
                <a:gd name="connsiteY38" fmla="*/ 845931 h 1691729"/>
                <a:gd name="connsiteX39" fmla="*/ 270869 w 1881147"/>
                <a:gd name="connsiteY39" fmla="*/ 891003 h 1691729"/>
                <a:gd name="connsiteX40" fmla="*/ 295393 w 1881147"/>
                <a:gd name="connsiteY40" fmla="*/ 930478 h 1691729"/>
                <a:gd name="connsiteX41" fmla="*/ 341051 w 1881147"/>
                <a:gd name="connsiteY41" fmla="*/ 969070 h 1691729"/>
                <a:gd name="connsiteX42" fmla="*/ 426184 w 1881147"/>
                <a:gd name="connsiteY42" fmla="*/ 1023322 h 1691729"/>
                <a:gd name="connsiteX43" fmla="*/ 461961 w 1881147"/>
                <a:gd name="connsiteY43" fmla="*/ 1094415 h 1691729"/>
                <a:gd name="connsiteX44" fmla="*/ 441064 w 1881147"/>
                <a:gd name="connsiteY44" fmla="*/ 1163988 h 1691729"/>
                <a:gd name="connsiteX45" fmla="*/ 519111 w 1881147"/>
                <a:gd name="connsiteY45" fmla="*/ 1220451 h 1691729"/>
                <a:gd name="connsiteX46" fmla="*/ 591143 w 1881147"/>
                <a:gd name="connsiteY46" fmla="*/ 1253445 h 1691729"/>
                <a:gd name="connsiteX47" fmla="*/ 571974 w 1881147"/>
                <a:gd name="connsiteY47" fmla="*/ 1313148 h 1691729"/>
                <a:gd name="connsiteX48" fmla="*/ 662461 w 1881147"/>
                <a:gd name="connsiteY48" fmla="*/ 1465548 h 1691729"/>
                <a:gd name="connsiteX49" fmla="*/ 755271 w 1881147"/>
                <a:gd name="connsiteY49" fmla="*/ 1538702 h 1691729"/>
                <a:gd name="connsiteX50" fmla="*/ 805336 w 1881147"/>
                <a:gd name="connsiteY50" fmla="*/ 1489360 h 1691729"/>
                <a:gd name="connsiteX51" fmla="*/ 869926 w 1881147"/>
                <a:gd name="connsiteY51" fmla="*/ 1516757 h 1691729"/>
                <a:gd name="connsiteX52" fmla="*/ 924399 w 1881147"/>
                <a:gd name="connsiteY52" fmla="*/ 1484598 h 1691729"/>
                <a:gd name="connsiteX53" fmla="*/ 941246 w 1881147"/>
                <a:gd name="connsiteY53" fmla="*/ 1442422 h 1691729"/>
                <a:gd name="connsiteX54" fmla="*/ 1005123 w 1881147"/>
                <a:gd name="connsiteY54" fmla="*/ 1528834 h 1691729"/>
                <a:gd name="connsiteX55" fmla="*/ 1050190 w 1881147"/>
                <a:gd name="connsiteY55" fmla="*/ 1599928 h 1691729"/>
                <a:gd name="connsiteX56" fmla="*/ 1120136 w 1881147"/>
                <a:gd name="connsiteY56" fmla="*/ 1691447 h 1691729"/>
                <a:gd name="connsiteX57" fmla="*/ 1151034 w 1881147"/>
                <a:gd name="connsiteY57" fmla="*/ 1628356 h 1691729"/>
                <a:gd name="connsiteX58" fmla="*/ 1181693 w 1881147"/>
                <a:gd name="connsiteY58" fmla="*/ 1621876 h 1691729"/>
                <a:gd name="connsiteX59" fmla="*/ 1224792 w 1881147"/>
                <a:gd name="connsiteY59" fmla="*/ 1651139 h 1691729"/>
                <a:gd name="connsiteX60" fmla="*/ 1258367 w 1881147"/>
                <a:gd name="connsiteY60" fmla="*/ 1610485 h 1691729"/>
                <a:gd name="connsiteX61" fmla="*/ 1277188 w 1881147"/>
                <a:gd name="connsiteY61" fmla="*/ 1615102 h 1691729"/>
                <a:gd name="connsiteX62" fmla="*/ 1311230 w 1881147"/>
                <a:gd name="connsiteY62" fmla="*/ 1681579 h 1691729"/>
                <a:gd name="connsiteX63" fmla="*/ 1367786 w 1881147"/>
                <a:gd name="connsiteY63" fmla="*/ 1658110 h 1691729"/>
                <a:gd name="connsiteX64" fmla="*/ 1419818 w 1881147"/>
                <a:gd name="connsiteY64" fmla="*/ 1601989 h 1691729"/>
                <a:gd name="connsiteX65" fmla="*/ 1470595 w 1881147"/>
                <a:gd name="connsiteY65" fmla="*/ 1585446 h 1691729"/>
                <a:gd name="connsiteX66" fmla="*/ 1488274 w 1881147"/>
                <a:gd name="connsiteY66" fmla="*/ 1641268 h 1691729"/>
                <a:gd name="connsiteX67" fmla="*/ 1558169 w 1881147"/>
                <a:gd name="connsiteY67" fmla="*/ 1615590 h 1691729"/>
                <a:gd name="connsiteX68" fmla="*/ 1588947 w 1881147"/>
                <a:gd name="connsiteY68" fmla="*/ 1528834 h 1691729"/>
                <a:gd name="connsiteX69" fmla="*/ 1670383 w 1881147"/>
                <a:gd name="connsiteY69" fmla="*/ 1438692 h 1691729"/>
                <a:gd name="connsiteX70" fmla="*/ 1714974 w 1881147"/>
                <a:gd name="connsiteY70" fmla="*/ 1407562 h 1691729"/>
                <a:gd name="connsiteX71" fmla="*/ 1743343 w 1881147"/>
                <a:gd name="connsiteY71" fmla="*/ 1410857 h 1691729"/>
                <a:gd name="connsiteX72" fmla="*/ 1820935 w 1881147"/>
                <a:gd name="connsiteY72" fmla="*/ 1400249 h 1691729"/>
                <a:gd name="connsiteX73" fmla="*/ 1816054 w 1881147"/>
                <a:gd name="connsiteY73" fmla="*/ 1453813 h 1691729"/>
                <a:gd name="connsiteX74" fmla="*/ 1874221 w 1881147"/>
                <a:gd name="connsiteY74" fmla="*/ 1477134 h 1691729"/>
                <a:gd name="connsiteX75" fmla="*/ 1875829 w 1881147"/>
                <a:gd name="connsiteY75" fmla="*/ 1454500 h 1691729"/>
                <a:gd name="connsiteX76" fmla="*/ 1875051 w 1881147"/>
                <a:gd name="connsiteY76" fmla="*/ 1393766 h 1691729"/>
                <a:gd name="connsiteX77" fmla="*/ 1853086 w 1881147"/>
                <a:gd name="connsiteY77" fmla="*/ 1303623 h 1691729"/>
                <a:gd name="connsiteX78" fmla="*/ 1853086 w 1881147"/>
                <a:gd name="connsiteY78" fmla="*/ 1246473 h 1691729"/>
                <a:gd name="connsiteX79" fmla="*/ 1810224 w 1881147"/>
                <a:gd name="connsiteY79" fmla="*/ 1236948 h 1691729"/>
                <a:gd name="connsiteX80" fmla="*/ 1734024 w 1881147"/>
                <a:gd name="connsiteY80" fmla="*/ 1155985 h 1691729"/>
                <a:gd name="connsiteX81" fmla="*/ 1695924 w 1881147"/>
                <a:gd name="connsiteY81" fmla="*/ 975010 h 1691729"/>
                <a:gd name="connsiteX82" fmla="*/ 1643536 w 1881147"/>
                <a:gd name="connsiteY82" fmla="*/ 941673 h 1691729"/>
                <a:gd name="connsiteX83" fmla="*/ 1605436 w 1881147"/>
                <a:gd name="connsiteY83" fmla="*/ 884523 h 1691729"/>
                <a:gd name="connsiteX84" fmla="*/ 1557811 w 1881147"/>
                <a:gd name="connsiteY84" fmla="*/ 836898 h 1691729"/>
                <a:gd name="connsiteX85" fmla="*/ 1505424 w 1881147"/>
                <a:gd name="connsiteY85" fmla="*/ 817848 h 1691729"/>
                <a:gd name="connsiteX86" fmla="*/ 1453036 w 1881147"/>
                <a:gd name="connsiteY86" fmla="*/ 813085 h 1691729"/>
                <a:gd name="connsiteX87" fmla="*/ 1510186 w 1881147"/>
                <a:gd name="connsiteY87" fmla="*/ 779748 h 1691729"/>
                <a:gd name="connsiteX88" fmla="*/ 1476849 w 1881147"/>
                <a:gd name="connsiteY88" fmla="*/ 746410 h 1691729"/>
                <a:gd name="connsiteX89" fmla="*/ 1481611 w 1881147"/>
                <a:gd name="connsiteY89" fmla="*/ 722598 h 1691729"/>
                <a:gd name="connsiteX90" fmla="*/ 1572099 w 1881147"/>
                <a:gd name="connsiteY90" fmla="*/ 760698 h 1691729"/>
                <a:gd name="connsiteX91" fmla="*/ 1624486 w 1881147"/>
                <a:gd name="connsiteY91" fmla="*/ 694023 h 1691729"/>
                <a:gd name="connsiteX92" fmla="*/ 1622283 w 1881147"/>
                <a:gd name="connsiteY92" fmla="*/ 551148 h 1691729"/>
                <a:gd name="connsiteX93" fmla="*/ 1639486 w 1881147"/>
                <a:gd name="connsiteY93" fmla="*/ 402822 h 1691729"/>
                <a:gd name="connsiteX0" fmla="*/ 1639486 w 1881147"/>
                <a:gd name="connsiteY0" fmla="*/ 402823 h 1691730"/>
                <a:gd name="connsiteX1" fmla="*/ 1567336 w 1881147"/>
                <a:gd name="connsiteY1" fmla="*/ 370174 h 1691730"/>
                <a:gd name="connsiteX2" fmla="*/ 1467324 w 1881147"/>
                <a:gd name="connsiteY2" fmla="*/ 346361 h 1691730"/>
                <a:gd name="connsiteX3" fmla="*/ 1436784 w 1881147"/>
                <a:gd name="connsiteY3" fmla="*/ 279489 h 1691730"/>
                <a:gd name="connsiteX4" fmla="*/ 1395785 w 1881147"/>
                <a:gd name="connsiteY4" fmla="*/ 167432 h 1691730"/>
                <a:gd name="connsiteX5" fmla="*/ 1351753 w 1881147"/>
                <a:gd name="connsiteY5" fmla="*/ 12986 h 1691730"/>
                <a:gd name="connsiteX6" fmla="*/ 1267299 w 1881147"/>
                <a:gd name="connsiteY6" fmla="*/ 12986 h 1691730"/>
                <a:gd name="connsiteX7" fmla="*/ 1214911 w 1881147"/>
                <a:gd name="connsiteY7" fmla="*/ 51086 h 1691730"/>
                <a:gd name="connsiteX8" fmla="*/ 1214911 w 1881147"/>
                <a:gd name="connsiteY8" fmla="*/ 155861 h 1691730"/>
                <a:gd name="connsiteX9" fmla="*/ 1186336 w 1881147"/>
                <a:gd name="connsiteY9" fmla="*/ 184436 h 1691730"/>
                <a:gd name="connsiteX10" fmla="*/ 1176811 w 1881147"/>
                <a:gd name="connsiteY10" fmla="*/ 255874 h 1691730"/>
                <a:gd name="connsiteX11" fmla="*/ 1114899 w 1881147"/>
                <a:gd name="connsiteY11" fmla="*/ 298736 h 1691730"/>
                <a:gd name="connsiteX12" fmla="*/ 1005361 w 1881147"/>
                <a:gd name="connsiteY12" fmla="*/ 313024 h 1691730"/>
                <a:gd name="connsiteX13" fmla="*/ 962499 w 1881147"/>
                <a:gd name="connsiteY13" fmla="*/ 355886 h 1691730"/>
                <a:gd name="connsiteX14" fmla="*/ 838674 w 1881147"/>
                <a:gd name="connsiteY14" fmla="*/ 355886 h 1691730"/>
                <a:gd name="connsiteX15" fmla="*/ 781524 w 1881147"/>
                <a:gd name="connsiteY15" fmla="*/ 427324 h 1691730"/>
                <a:gd name="connsiteX16" fmla="*/ 781524 w 1881147"/>
                <a:gd name="connsiteY16" fmla="*/ 460661 h 1691730"/>
                <a:gd name="connsiteX17" fmla="*/ 743424 w 1881147"/>
                <a:gd name="connsiteY17" fmla="*/ 484474 h 1691730"/>
                <a:gd name="connsiteX18" fmla="*/ 671986 w 1881147"/>
                <a:gd name="connsiteY18" fmla="*/ 417799 h 1691730"/>
                <a:gd name="connsiteX19" fmla="*/ 519586 w 1881147"/>
                <a:gd name="connsiteY19" fmla="*/ 413036 h 1691730"/>
                <a:gd name="connsiteX20" fmla="*/ 457674 w 1881147"/>
                <a:gd name="connsiteY20" fmla="*/ 432086 h 1691730"/>
                <a:gd name="connsiteX21" fmla="*/ 419574 w 1881147"/>
                <a:gd name="connsiteY21" fmla="*/ 417799 h 1691730"/>
                <a:gd name="connsiteX22" fmla="*/ 400524 w 1881147"/>
                <a:gd name="connsiteY22" fmla="*/ 355886 h 1691730"/>
                <a:gd name="connsiteX23" fmla="*/ 333849 w 1881147"/>
                <a:gd name="connsiteY23" fmla="*/ 303499 h 1691730"/>
                <a:gd name="connsiteX24" fmla="*/ 286224 w 1881147"/>
                <a:gd name="connsiteY24" fmla="*/ 236824 h 1691730"/>
                <a:gd name="connsiteX25" fmla="*/ 143349 w 1881147"/>
                <a:gd name="connsiteY25" fmla="*/ 255874 h 1691730"/>
                <a:gd name="connsiteX26" fmla="*/ 124299 w 1881147"/>
                <a:gd name="connsiteY26" fmla="*/ 332074 h 1691730"/>
                <a:gd name="connsiteX27" fmla="*/ 110011 w 1881147"/>
                <a:gd name="connsiteY27" fmla="*/ 365411 h 1691730"/>
                <a:gd name="connsiteX28" fmla="*/ 133824 w 1881147"/>
                <a:gd name="connsiteY28" fmla="*/ 413036 h 1691730"/>
                <a:gd name="connsiteX29" fmla="*/ 81436 w 1881147"/>
                <a:gd name="connsiteY29" fmla="*/ 451136 h 1691730"/>
                <a:gd name="connsiteX30" fmla="*/ 33811 w 1881147"/>
                <a:gd name="connsiteY30" fmla="*/ 446374 h 1691730"/>
                <a:gd name="connsiteX31" fmla="*/ 33811 w 1881147"/>
                <a:gd name="connsiteY31" fmla="*/ 517811 h 1691730"/>
                <a:gd name="connsiteX32" fmla="*/ 474 w 1881147"/>
                <a:gd name="connsiteY32" fmla="*/ 622586 h 1691730"/>
                <a:gd name="connsiteX33" fmla="*/ 62386 w 1881147"/>
                <a:gd name="connsiteY33" fmla="*/ 698786 h 1691730"/>
                <a:gd name="connsiteX34" fmla="*/ 111977 w 1881147"/>
                <a:gd name="connsiteY34" fmla="*/ 679048 h 1691730"/>
                <a:gd name="connsiteX35" fmla="*/ 112334 w 1881147"/>
                <a:gd name="connsiteY35" fmla="*/ 749307 h 1691730"/>
                <a:gd name="connsiteX36" fmla="*/ 167161 w 1881147"/>
                <a:gd name="connsiteY36" fmla="*/ 779749 h 1691730"/>
                <a:gd name="connsiteX37" fmla="*/ 236159 w 1881147"/>
                <a:gd name="connsiteY37" fmla="*/ 789961 h 1691730"/>
                <a:gd name="connsiteX38" fmla="*/ 271462 w 1881147"/>
                <a:gd name="connsiteY38" fmla="*/ 845932 h 1691730"/>
                <a:gd name="connsiteX39" fmla="*/ 270869 w 1881147"/>
                <a:gd name="connsiteY39" fmla="*/ 891004 h 1691730"/>
                <a:gd name="connsiteX40" fmla="*/ 295393 w 1881147"/>
                <a:gd name="connsiteY40" fmla="*/ 930479 h 1691730"/>
                <a:gd name="connsiteX41" fmla="*/ 341051 w 1881147"/>
                <a:gd name="connsiteY41" fmla="*/ 969071 h 1691730"/>
                <a:gd name="connsiteX42" fmla="*/ 426184 w 1881147"/>
                <a:gd name="connsiteY42" fmla="*/ 1023323 h 1691730"/>
                <a:gd name="connsiteX43" fmla="*/ 461961 w 1881147"/>
                <a:gd name="connsiteY43" fmla="*/ 1094416 h 1691730"/>
                <a:gd name="connsiteX44" fmla="*/ 441064 w 1881147"/>
                <a:gd name="connsiteY44" fmla="*/ 1163989 h 1691730"/>
                <a:gd name="connsiteX45" fmla="*/ 519111 w 1881147"/>
                <a:gd name="connsiteY45" fmla="*/ 1220452 h 1691730"/>
                <a:gd name="connsiteX46" fmla="*/ 591143 w 1881147"/>
                <a:gd name="connsiteY46" fmla="*/ 1253446 h 1691730"/>
                <a:gd name="connsiteX47" fmla="*/ 571974 w 1881147"/>
                <a:gd name="connsiteY47" fmla="*/ 1313149 h 1691730"/>
                <a:gd name="connsiteX48" fmla="*/ 662461 w 1881147"/>
                <a:gd name="connsiteY48" fmla="*/ 1465549 h 1691730"/>
                <a:gd name="connsiteX49" fmla="*/ 755271 w 1881147"/>
                <a:gd name="connsiteY49" fmla="*/ 1538703 h 1691730"/>
                <a:gd name="connsiteX50" fmla="*/ 805336 w 1881147"/>
                <a:gd name="connsiteY50" fmla="*/ 1489361 h 1691730"/>
                <a:gd name="connsiteX51" fmla="*/ 869926 w 1881147"/>
                <a:gd name="connsiteY51" fmla="*/ 1516758 h 1691730"/>
                <a:gd name="connsiteX52" fmla="*/ 924399 w 1881147"/>
                <a:gd name="connsiteY52" fmla="*/ 1484599 h 1691730"/>
                <a:gd name="connsiteX53" fmla="*/ 941246 w 1881147"/>
                <a:gd name="connsiteY53" fmla="*/ 1442423 h 1691730"/>
                <a:gd name="connsiteX54" fmla="*/ 1005123 w 1881147"/>
                <a:gd name="connsiteY54" fmla="*/ 1528835 h 1691730"/>
                <a:gd name="connsiteX55" fmla="*/ 1050190 w 1881147"/>
                <a:gd name="connsiteY55" fmla="*/ 1599929 h 1691730"/>
                <a:gd name="connsiteX56" fmla="*/ 1120136 w 1881147"/>
                <a:gd name="connsiteY56" fmla="*/ 1691448 h 1691730"/>
                <a:gd name="connsiteX57" fmla="*/ 1151034 w 1881147"/>
                <a:gd name="connsiteY57" fmla="*/ 1628357 h 1691730"/>
                <a:gd name="connsiteX58" fmla="*/ 1181693 w 1881147"/>
                <a:gd name="connsiteY58" fmla="*/ 1621877 h 1691730"/>
                <a:gd name="connsiteX59" fmla="*/ 1224792 w 1881147"/>
                <a:gd name="connsiteY59" fmla="*/ 1651140 h 1691730"/>
                <a:gd name="connsiteX60" fmla="*/ 1258367 w 1881147"/>
                <a:gd name="connsiteY60" fmla="*/ 1610486 h 1691730"/>
                <a:gd name="connsiteX61" fmla="*/ 1277188 w 1881147"/>
                <a:gd name="connsiteY61" fmla="*/ 1615103 h 1691730"/>
                <a:gd name="connsiteX62" fmla="*/ 1311230 w 1881147"/>
                <a:gd name="connsiteY62" fmla="*/ 1681580 h 1691730"/>
                <a:gd name="connsiteX63" fmla="*/ 1367786 w 1881147"/>
                <a:gd name="connsiteY63" fmla="*/ 1658111 h 1691730"/>
                <a:gd name="connsiteX64" fmla="*/ 1419818 w 1881147"/>
                <a:gd name="connsiteY64" fmla="*/ 1601990 h 1691730"/>
                <a:gd name="connsiteX65" fmla="*/ 1470595 w 1881147"/>
                <a:gd name="connsiteY65" fmla="*/ 1585447 h 1691730"/>
                <a:gd name="connsiteX66" fmla="*/ 1488274 w 1881147"/>
                <a:gd name="connsiteY66" fmla="*/ 1641269 h 1691730"/>
                <a:gd name="connsiteX67" fmla="*/ 1558169 w 1881147"/>
                <a:gd name="connsiteY67" fmla="*/ 1615591 h 1691730"/>
                <a:gd name="connsiteX68" fmla="*/ 1588947 w 1881147"/>
                <a:gd name="connsiteY68" fmla="*/ 1528835 h 1691730"/>
                <a:gd name="connsiteX69" fmla="*/ 1670383 w 1881147"/>
                <a:gd name="connsiteY69" fmla="*/ 1438693 h 1691730"/>
                <a:gd name="connsiteX70" fmla="*/ 1714974 w 1881147"/>
                <a:gd name="connsiteY70" fmla="*/ 1407563 h 1691730"/>
                <a:gd name="connsiteX71" fmla="*/ 1743343 w 1881147"/>
                <a:gd name="connsiteY71" fmla="*/ 1410858 h 1691730"/>
                <a:gd name="connsiteX72" fmla="*/ 1820935 w 1881147"/>
                <a:gd name="connsiteY72" fmla="*/ 1400250 h 1691730"/>
                <a:gd name="connsiteX73" fmla="*/ 1816054 w 1881147"/>
                <a:gd name="connsiteY73" fmla="*/ 1453814 h 1691730"/>
                <a:gd name="connsiteX74" fmla="*/ 1874221 w 1881147"/>
                <a:gd name="connsiteY74" fmla="*/ 1477135 h 1691730"/>
                <a:gd name="connsiteX75" fmla="*/ 1875829 w 1881147"/>
                <a:gd name="connsiteY75" fmla="*/ 1454501 h 1691730"/>
                <a:gd name="connsiteX76" fmla="*/ 1875051 w 1881147"/>
                <a:gd name="connsiteY76" fmla="*/ 1393767 h 1691730"/>
                <a:gd name="connsiteX77" fmla="*/ 1853086 w 1881147"/>
                <a:gd name="connsiteY77" fmla="*/ 1303624 h 1691730"/>
                <a:gd name="connsiteX78" fmla="*/ 1853086 w 1881147"/>
                <a:gd name="connsiteY78" fmla="*/ 1246474 h 1691730"/>
                <a:gd name="connsiteX79" fmla="*/ 1810224 w 1881147"/>
                <a:gd name="connsiteY79" fmla="*/ 1236949 h 1691730"/>
                <a:gd name="connsiteX80" fmla="*/ 1734024 w 1881147"/>
                <a:gd name="connsiteY80" fmla="*/ 1155986 h 1691730"/>
                <a:gd name="connsiteX81" fmla="*/ 1695924 w 1881147"/>
                <a:gd name="connsiteY81" fmla="*/ 975011 h 1691730"/>
                <a:gd name="connsiteX82" fmla="*/ 1643536 w 1881147"/>
                <a:gd name="connsiteY82" fmla="*/ 941674 h 1691730"/>
                <a:gd name="connsiteX83" fmla="*/ 1605436 w 1881147"/>
                <a:gd name="connsiteY83" fmla="*/ 884524 h 1691730"/>
                <a:gd name="connsiteX84" fmla="*/ 1557811 w 1881147"/>
                <a:gd name="connsiteY84" fmla="*/ 836899 h 1691730"/>
                <a:gd name="connsiteX85" fmla="*/ 1505424 w 1881147"/>
                <a:gd name="connsiteY85" fmla="*/ 817849 h 1691730"/>
                <a:gd name="connsiteX86" fmla="*/ 1453036 w 1881147"/>
                <a:gd name="connsiteY86" fmla="*/ 813086 h 1691730"/>
                <a:gd name="connsiteX87" fmla="*/ 1510186 w 1881147"/>
                <a:gd name="connsiteY87" fmla="*/ 779749 h 1691730"/>
                <a:gd name="connsiteX88" fmla="*/ 1476849 w 1881147"/>
                <a:gd name="connsiteY88" fmla="*/ 746411 h 1691730"/>
                <a:gd name="connsiteX89" fmla="*/ 1481611 w 1881147"/>
                <a:gd name="connsiteY89" fmla="*/ 722599 h 1691730"/>
                <a:gd name="connsiteX90" fmla="*/ 1572099 w 1881147"/>
                <a:gd name="connsiteY90" fmla="*/ 760699 h 1691730"/>
                <a:gd name="connsiteX91" fmla="*/ 1624486 w 1881147"/>
                <a:gd name="connsiteY91" fmla="*/ 694024 h 1691730"/>
                <a:gd name="connsiteX92" fmla="*/ 1622283 w 1881147"/>
                <a:gd name="connsiteY92" fmla="*/ 551149 h 1691730"/>
                <a:gd name="connsiteX93" fmla="*/ 1639486 w 1881147"/>
                <a:gd name="connsiteY93" fmla="*/ 402823 h 1691730"/>
                <a:gd name="connsiteX0" fmla="*/ 1639486 w 1881147"/>
                <a:gd name="connsiteY0" fmla="*/ 402823 h 1691730"/>
                <a:gd name="connsiteX1" fmla="*/ 1567336 w 1881147"/>
                <a:gd name="connsiteY1" fmla="*/ 370174 h 1691730"/>
                <a:gd name="connsiteX2" fmla="*/ 1477087 w 1881147"/>
                <a:gd name="connsiteY2" fmla="*/ 346361 h 1691730"/>
                <a:gd name="connsiteX3" fmla="*/ 1436784 w 1881147"/>
                <a:gd name="connsiteY3" fmla="*/ 279489 h 1691730"/>
                <a:gd name="connsiteX4" fmla="*/ 1395785 w 1881147"/>
                <a:gd name="connsiteY4" fmla="*/ 167432 h 1691730"/>
                <a:gd name="connsiteX5" fmla="*/ 1351753 w 1881147"/>
                <a:gd name="connsiteY5" fmla="*/ 12986 h 1691730"/>
                <a:gd name="connsiteX6" fmla="*/ 1267299 w 1881147"/>
                <a:gd name="connsiteY6" fmla="*/ 12986 h 1691730"/>
                <a:gd name="connsiteX7" fmla="*/ 1214911 w 1881147"/>
                <a:gd name="connsiteY7" fmla="*/ 51086 h 1691730"/>
                <a:gd name="connsiteX8" fmla="*/ 1214911 w 1881147"/>
                <a:gd name="connsiteY8" fmla="*/ 155861 h 1691730"/>
                <a:gd name="connsiteX9" fmla="*/ 1186336 w 1881147"/>
                <a:gd name="connsiteY9" fmla="*/ 184436 h 1691730"/>
                <a:gd name="connsiteX10" fmla="*/ 1176811 w 1881147"/>
                <a:gd name="connsiteY10" fmla="*/ 255874 h 1691730"/>
                <a:gd name="connsiteX11" fmla="*/ 1114899 w 1881147"/>
                <a:gd name="connsiteY11" fmla="*/ 298736 h 1691730"/>
                <a:gd name="connsiteX12" fmla="*/ 1005361 w 1881147"/>
                <a:gd name="connsiteY12" fmla="*/ 313024 h 1691730"/>
                <a:gd name="connsiteX13" fmla="*/ 962499 w 1881147"/>
                <a:gd name="connsiteY13" fmla="*/ 355886 h 1691730"/>
                <a:gd name="connsiteX14" fmla="*/ 838674 w 1881147"/>
                <a:gd name="connsiteY14" fmla="*/ 355886 h 1691730"/>
                <a:gd name="connsiteX15" fmla="*/ 781524 w 1881147"/>
                <a:gd name="connsiteY15" fmla="*/ 427324 h 1691730"/>
                <a:gd name="connsiteX16" fmla="*/ 781524 w 1881147"/>
                <a:gd name="connsiteY16" fmla="*/ 460661 h 1691730"/>
                <a:gd name="connsiteX17" fmla="*/ 743424 w 1881147"/>
                <a:gd name="connsiteY17" fmla="*/ 484474 h 1691730"/>
                <a:gd name="connsiteX18" fmla="*/ 671986 w 1881147"/>
                <a:gd name="connsiteY18" fmla="*/ 417799 h 1691730"/>
                <a:gd name="connsiteX19" fmla="*/ 519586 w 1881147"/>
                <a:gd name="connsiteY19" fmla="*/ 413036 h 1691730"/>
                <a:gd name="connsiteX20" fmla="*/ 457674 w 1881147"/>
                <a:gd name="connsiteY20" fmla="*/ 432086 h 1691730"/>
                <a:gd name="connsiteX21" fmla="*/ 419574 w 1881147"/>
                <a:gd name="connsiteY21" fmla="*/ 417799 h 1691730"/>
                <a:gd name="connsiteX22" fmla="*/ 400524 w 1881147"/>
                <a:gd name="connsiteY22" fmla="*/ 355886 h 1691730"/>
                <a:gd name="connsiteX23" fmla="*/ 333849 w 1881147"/>
                <a:gd name="connsiteY23" fmla="*/ 303499 h 1691730"/>
                <a:gd name="connsiteX24" fmla="*/ 286224 w 1881147"/>
                <a:gd name="connsiteY24" fmla="*/ 236824 h 1691730"/>
                <a:gd name="connsiteX25" fmla="*/ 143349 w 1881147"/>
                <a:gd name="connsiteY25" fmla="*/ 255874 h 1691730"/>
                <a:gd name="connsiteX26" fmla="*/ 124299 w 1881147"/>
                <a:gd name="connsiteY26" fmla="*/ 332074 h 1691730"/>
                <a:gd name="connsiteX27" fmla="*/ 110011 w 1881147"/>
                <a:gd name="connsiteY27" fmla="*/ 365411 h 1691730"/>
                <a:gd name="connsiteX28" fmla="*/ 133824 w 1881147"/>
                <a:gd name="connsiteY28" fmla="*/ 413036 h 1691730"/>
                <a:gd name="connsiteX29" fmla="*/ 81436 w 1881147"/>
                <a:gd name="connsiteY29" fmla="*/ 451136 h 1691730"/>
                <a:gd name="connsiteX30" fmla="*/ 33811 w 1881147"/>
                <a:gd name="connsiteY30" fmla="*/ 446374 h 1691730"/>
                <a:gd name="connsiteX31" fmla="*/ 33811 w 1881147"/>
                <a:gd name="connsiteY31" fmla="*/ 517811 h 1691730"/>
                <a:gd name="connsiteX32" fmla="*/ 474 w 1881147"/>
                <a:gd name="connsiteY32" fmla="*/ 622586 h 1691730"/>
                <a:gd name="connsiteX33" fmla="*/ 62386 w 1881147"/>
                <a:gd name="connsiteY33" fmla="*/ 698786 h 1691730"/>
                <a:gd name="connsiteX34" fmla="*/ 111977 w 1881147"/>
                <a:gd name="connsiteY34" fmla="*/ 679048 h 1691730"/>
                <a:gd name="connsiteX35" fmla="*/ 112334 w 1881147"/>
                <a:gd name="connsiteY35" fmla="*/ 749307 h 1691730"/>
                <a:gd name="connsiteX36" fmla="*/ 167161 w 1881147"/>
                <a:gd name="connsiteY36" fmla="*/ 779749 h 1691730"/>
                <a:gd name="connsiteX37" fmla="*/ 236159 w 1881147"/>
                <a:gd name="connsiteY37" fmla="*/ 789961 h 1691730"/>
                <a:gd name="connsiteX38" fmla="*/ 271462 w 1881147"/>
                <a:gd name="connsiteY38" fmla="*/ 845932 h 1691730"/>
                <a:gd name="connsiteX39" fmla="*/ 270869 w 1881147"/>
                <a:gd name="connsiteY39" fmla="*/ 891004 h 1691730"/>
                <a:gd name="connsiteX40" fmla="*/ 295393 w 1881147"/>
                <a:gd name="connsiteY40" fmla="*/ 930479 h 1691730"/>
                <a:gd name="connsiteX41" fmla="*/ 341051 w 1881147"/>
                <a:gd name="connsiteY41" fmla="*/ 969071 h 1691730"/>
                <a:gd name="connsiteX42" fmla="*/ 426184 w 1881147"/>
                <a:gd name="connsiteY42" fmla="*/ 1023323 h 1691730"/>
                <a:gd name="connsiteX43" fmla="*/ 461961 w 1881147"/>
                <a:gd name="connsiteY43" fmla="*/ 1094416 h 1691730"/>
                <a:gd name="connsiteX44" fmla="*/ 441064 w 1881147"/>
                <a:gd name="connsiteY44" fmla="*/ 1163989 h 1691730"/>
                <a:gd name="connsiteX45" fmla="*/ 519111 w 1881147"/>
                <a:gd name="connsiteY45" fmla="*/ 1220452 h 1691730"/>
                <a:gd name="connsiteX46" fmla="*/ 591143 w 1881147"/>
                <a:gd name="connsiteY46" fmla="*/ 1253446 h 1691730"/>
                <a:gd name="connsiteX47" fmla="*/ 571974 w 1881147"/>
                <a:gd name="connsiteY47" fmla="*/ 1313149 h 1691730"/>
                <a:gd name="connsiteX48" fmla="*/ 662461 w 1881147"/>
                <a:gd name="connsiteY48" fmla="*/ 1465549 h 1691730"/>
                <a:gd name="connsiteX49" fmla="*/ 755271 w 1881147"/>
                <a:gd name="connsiteY49" fmla="*/ 1538703 h 1691730"/>
                <a:gd name="connsiteX50" fmla="*/ 805336 w 1881147"/>
                <a:gd name="connsiteY50" fmla="*/ 1489361 h 1691730"/>
                <a:gd name="connsiteX51" fmla="*/ 869926 w 1881147"/>
                <a:gd name="connsiteY51" fmla="*/ 1516758 h 1691730"/>
                <a:gd name="connsiteX52" fmla="*/ 924399 w 1881147"/>
                <a:gd name="connsiteY52" fmla="*/ 1484599 h 1691730"/>
                <a:gd name="connsiteX53" fmla="*/ 941246 w 1881147"/>
                <a:gd name="connsiteY53" fmla="*/ 1442423 h 1691730"/>
                <a:gd name="connsiteX54" fmla="*/ 1005123 w 1881147"/>
                <a:gd name="connsiteY54" fmla="*/ 1528835 h 1691730"/>
                <a:gd name="connsiteX55" fmla="*/ 1050190 w 1881147"/>
                <a:gd name="connsiteY55" fmla="*/ 1599929 h 1691730"/>
                <a:gd name="connsiteX56" fmla="*/ 1120136 w 1881147"/>
                <a:gd name="connsiteY56" fmla="*/ 1691448 h 1691730"/>
                <a:gd name="connsiteX57" fmla="*/ 1151034 w 1881147"/>
                <a:gd name="connsiteY57" fmla="*/ 1628357 h 1691730"/>
                <a:gd name="connsiteX58" fmla="*/ 1181693 w 1881147"/>
                <a:gd name="connsiteY58" fmla="*/ 1621877 h 1691730"/>
                <a:gd name="connsiteX59" fmla="*/ 1224792 w 1881147"/>
                <a:gd name="connsiteY59" fmla="*/ 1651140 h 1691730"/>
                <a:gd name="connsiteX60" fmla="*/ 1258367 w 1881147"/>
                <a:gd name="connsiteY60" fmla="*/ 1610486 h 1691730"/>
                <a:gd name="connsiteX61" fmla="*/ 1277188 w 1881147"/>
                <a:gd name="connsiteY61" fmla="*/ 1615103 h 1691730"/>
                <a:gd name="connsiteX62" fmla="*/ 1311230 w 1881147"/>
                <a:gd name="connsiteY62" fmla="*/ 1681580 h 1691730"/>
                <a:gd name="connsiteX63" fmla="*/ 1367786 w 1881147"/>
                <a:gd name="connsiteY63" fmla="*/ 1658111 h 1691730"/>
                <a:gd name="connsiteX64" fmla="*/ 1419818 w 1881147"/>
                <a:gd name="connsiteY64" fmla="*/ 1601990 h 1691730"/>
                <a:gd name="connsiteX65" fmla="*/ 1470595 w 1881147"/>
                <a:gd name="connsiteY65" fmla="*/ 1585447 h 1691730"/>
                <a:gd name="connsiteX66" fmla="*/ 1488274 w 1881147"/>
                <a:gd name="connsiteY66" fmla="*/ 1641269 h 1691730"/>
                <a:gd name="connsiteX67" fmla="*/ 1558169 w 1881147"/>
                <a:gd name="connsiteY67" fmla="*/ 1615591 h 1691730"/>
                <a:gd name="connsiteX68" fmla="*/ 1588947 w 1881147"/>
                <a:gd name="connsiteY68" fmla="*/ 1528835 h 1691730"/>
                <a:gd name="connsiteX69" fmla="*/ 1670383 w 1881147"/>
                <a:gd name="connsiteY69" fmla="*/ 1438693 h 1691730"/>
                <a:gd name="connsiteX70" fmla="*/ 1714974 w 1881147"/>
                <a:gd name="connsiteY70" fmla="*/ 1407563 h 1691730"/>
                <a:gd name="connsiteX71" fmla="*/ 1743343 w 1881147"/>
                <a:gd name="connsiteY71" fmla="*/ 1410858 h 1691730"/>
                <a:gd name="connsiteX72" fmla="*/ 1820935 w 1881147"/>
                <a:gd name="connsiteY72" fmla="*/ 1400250 h 1691730"/>
                <a:gd name="connsiteX73" fmla="*/ 1816054 w 1881147"/>
                <a:gd name="connsiteY73" fmla="*/ 1453814 h 1691730"/>
                <a:gd name="connsiteX74" fmla="*/ 1874221 w 1881147"/>
                <a:gd name="connsiteY74" fmla="*/ 1477135 h 1691730"/>
                <a:gd name="connsiteX75" fmla="*/ 1875829 w 1881147"/>
                <a:gd name="connsiteY75" fmla="*/ 1454501 h 1691730"/>
                <a:gd name="connsiteX76" fmla="*/ 1875051 w 1881147"/>
                <a:gd name="connsiteY76" fmla="*/ 1393767 h 1691730"/>
                <a:gd name="connsiteX77" fmla="*/ 1853086 w 1881147"/>
                <a:gd name="connsiteY77" fmla="*/ 1303624 h 1691730"/>
                <a:gd name="connsiteX78" fmla="*/ 1853086 w 1881147"/>
                <a:gd name="connsiteY78" fmla="*/ 1246474 h 1691730"/>
                <a:gd name="connsiteX79" fmla="*/ 1810224 w 1881147"/>
                <a:gd name="connsiteY79" fmla="*/ 1236949 h 1691730"/>
                <a:gd name="connsiteX80" fmla="*/ 1734024 w 1881147"/>
                <a:gd name="connsiteY80" fmla="*/ 1155986 h 1691730"/>
                <a:gd name="connsiteX81" fmla="*/ 1695924 w 1881147"/>
                <a:gd name="connsiteY81" fmla="*/ 975011 h 1691730"/>
                <a:gd name="connsiteX82" fmla="*/ 1643536 w 1881147"/>
                <a:gd name="connsiteY82" fmla="*/ 941674 h 1691730"/>
                <a:gd name="connsiteX83" fmla="*/ 1605436 w 1881147"/>
                <a:gd name="connsiteY83" fmla="*/ 884524 h 1691730"/>
                <a:gd name="connsiteX84" fmla="*/ 1557811 w 1881147"/>
                <a:gd name="connsiteY84" fmla="*/ 836899 h 1691730"/>
                <a:gd name="connsiteX85" fmla="*/ 1505424 w 1881147"/>
                <a:gd name="connsiteY85" fmla="*/ 817849 h 1691730"/>
                <a:gd name="connsiteX86" fmla="*/ 1453036 w 1881147"/>
                <a:gd name="connsiteY86" fmla="*/ 813086 h 1691730"/>
                <a:gd name="connsiteX87" fmla="*/ 1510186 w 1881147"/>
                <a:gd name="connsiteY87" fmla="*/ 779749 h 1691730"/>
                <a:gd name="connsiteX88" fmla="*/ 1476849 w 1881147"/>
                <a:gd name="connsiteY88" fmla="*/ 746411 h 1691730"/>
                <a:gd name="connsiteX89" fmla="*/ 1481611 w 1881147"/>
                <a:gd name="connsiteY89" fmla="*/ 722599 h 1691730"/>
                <a:gd name="connsiteX90" fmla="*/ 1572099 w 1881147"/>
                <a:gd name="connsiteY90" fmla="*/ 760699 h 1691730"/>
                <a:gd name="connsiteX91" fmla="*/ 1624486 w 1881147"/>
                <a:gd name="connsiteY91" fmla="*/ 694024 h 1691730"/>
                <a:gd name="connsiteX92" fmla="*/ 1622283 w 1881147"/>
                <a:gd name="connsiteY92" fmla="*/ 551149 h 1691730"/>
                <a:gd name="connsiteX93" fmla="*/ 1639486 w 1881147"/>
                <a:gd name="connsiteY93" fmla="*/ 402823 h 1691730"/>
                <a:gd name="connsiteX0" fmla="*/ 1639486 w 1881147"/>
                <a:gd name="connsiteY0" fmla="*/ 402823 h 1691730"/>
                <a:gd name="connsiteX1" fmla="*/ 1567336 w 1881147"/>
                <a:gd name="connsiteY1" fmla="*/ 370174 h 1691730"/>
                <a:gd name="connsiteX2" fmla="*/ 1477087 w 1881147"/>
                <a:gd name="connsiteY2" fmla="*/ 346361 h 1691730"/>
                <a:gd name="connsiteX3" fmla="*/ 1423767 w 1881147"/>
                <a:gd name="connsiteY3" fmla="*/ 269277 h 1691730"/>
                <a:gd name="connsiteX4" fmla="*/ 1395785 w 1881147"/>
                <a:gd name="connsiteY4" fmla="*/ 167432 h 1691730"/>
                <a:gd name="connsiteX5" fmla="*/ 1351753 w 1881147"/>
                <a:gd name="connsiteY5" fmla="*/ 12986 h 1691730"/>
                <a:gd name="connsiteX6" fmla="*/ 1267299 w 1881147"/>
                <a:gd name="connsiteY6" fmla="*/ 12986 h 1691730"/>
                <a:gd name="connsiteX7" fmla="*/ 1214911 w 1881147"/>
                <a:gd name="connsiteY7" fmla="*/ 51086 h 1691730"/>
                <a:gd name="connsiteX8" fmla="*/ 1214911 w 1881147"/>
                <a:gd name="connsiteY8" fmla="*/ 155861 h 1691730"/>
                <a:gd name="connsiteX9" fmla="*/ 1186336 w 1881147"/>
                <a:gd name="connsiteY9" fmla="*/ 184436 h 1691730"/>
                <a:gd name="connsiteX10" fmla="*/ 1176811 w 1881147"/>
                <a:gd name="connsiteY10" fmla="*/ 255874 h 1691730"/>
                <a:gd name="connsiteX11" fmla="*/ 1114899 w 1881147"/>
                <a:gd name="connsiteY11" fmla="*/ 298736 h 1691730"/>
                <a:gd name="connsiteX12" fmla="*/ 1005361 w 1881147"/>
                <a:gd name="connsiteY12" fmla="*/ 313024 h 1691730"/>
                <a:gd name="connsiteX13" fmla="*/ 962499 w 1881147"/>
                <a:gd name="connsiteY13" fmla="*/ 355886 h 1691730"/>
                <a:gd name="connsiteX14" fmla="*/ 838674 w 1881147"/>
                <a:gd name="connsiteY14" fmla="*/ 355886 h 1691730"/>
                <a:gd name="connsiteX15" fmla="*/ 781524 w 1881147"/>
                <a:gd name="connsiteY15" fmla="*/ 427324 h 1691730"/>
                <a:gd name="connsiteX16" fmla="*/ 781524 w 1881147"/>
                <a:gd name="connsiteY16" fmla="*/ 460661 h 1691730"/>
                <a:gd name="connsiteX17" fmla="*/ 743424 w 1881147"/>
                <a:gd name="connsiteY17" fmla="*/ 484474 h 1691730"/>
                <a:gd name="connsiteX18" fmla="*/ 671986 w 1881147"/>
                <a:gd name="connsiteY18" fmla="*/ 417799 h 1691730"/>
                <a:gd name="connsiteX19" fmla="*/ 519586 w 1881147"/>
                <a:gd name="connsiteY19" fmla="*/ 413036 h 1691730"/>
                <a:gd name="connsiteX20" fmla="*/ 457674 w 1881147"/>
                <a:gd name="connsiteY20" fmla="*/ 432086 h 1691730"/>
                <a:gd name="connsiteX21" fmla="*/ 419574 w 1881147"/>
                <a:gd name="connsiteY21" fmla="*/ 417799 h 1691730"/>
                <a:gd name="connsiteX22" fmla="*/ 400524 w 1881147"/>
                <a:gd name="connsiteY22" fmla="*/ 355886 h 1691730"/>
                <a:gd name="connsiteX23" fmla="*/ 333849 w 1881147"/>
                <a:gd name="connsiteY23" fmla="*/ 303499 h 1691730"/>
                <a:gd name="connsiteX24" fmla="*/ 286224 w 1881147"/>
                <a:gd name="connsiteY24" fmla="*/ 236824 h 1691730"/>
                <a:gd name="connsiteX25" fmla="*/ 143349 w 1881147"/>
                <a:gd name="connsiteY25" fmla="*/ 255874 h 1691730"/>
                <a:gd name="connsiteX26" fmla="*/ 124299 w 1881147"/>
                <a:gd name="connsiteY26" fmla="*/ 332074 h 1691730"/>
                <a:gd name="connsiteX27" fmla="*/ 110011 w 1881147"/>
                <a:gd name="connsiteY27" fmla="*/ 365411 h 1691730"/>
                <a:gd name="connsiteX28" fmla="*/ 133824 w 1881147"/>
                <a:gd name="connsiteY28" fmla="*/ 413036 h 1691730"/>
                <a:gd name="connsiteX29" fmla="*/ 81436 w 1881147"/>
                <a:gd name="connsiteY29" fmla="*/ 451136 h 1691730"/>
                <a:gd name="connsiteX30" fmla="*/ 33811 w 1881147"/>
                <a:gd name="connsiteY30" fmla="*/ 446374 h 1691730"/>
                <a:gd name="connsiteX31" fmla="*/ 33811 w 1881147"/>
                <a:gd name="connsiteY31" fmla="*/ 517811 h 1691730"/>
                <a:gd name="connsiteX32" fmla="*/ 474 w 1881147"/>
                <a:gd name="connsiteY32" fmla="*/ 622586 h 1691730"/>
                <a:gd name="connsiteX33" fmla="*/ 62386 w 1881147"/>
                <a:gd name="connsiteY33" fmla="*/ 698786 h 1691730"/>
                <a:gd name="connsiteX34" fmla="*/ 111977 w 1881147"/>
                <a:gd name="connsiteY34" fmla="*/ 679048 h 1691730"/>
                <a:gd name="connsiteX35" fmla="*/ 112334 w 1881147"/>
                <a:gd name="connsiteY35" fmla="*/ 749307 h 1691730"/>
                <a:gd name="connsiteX36" fmla="*/ 167161 w 1881147"/>
                <a:gd name="connsiteY36" fmla="*/ 779749 h 1691730"/>
                <a:gd name="connsiteX37" fmla="*/ 236159 w 1881147"/>
                <a:gd name="connsiteY37" fmla="*/ 789961 h 1691730"/>
                <a:gd name="connsiteX38" fmla="*/ 271462 w 1881147"/>
                <a:gd name="connsiteY38" fmla="*/ 845932 h 1691730"/>
                <a:gd name="connsiteX39" fmla="*/ 270869 w 1881147"/>
                <a:gd name="connsiteY39" fmla="*/ 891004 h 1691730"/>
                <a:gd name="connsiteX40" fmla="*/ 295393 w 1881147"/>
                <a:gd name="connsiteY40" fmla="*/ 930479 h 1691730"/>
                <a:gd name="connsiteX41" fmla="*/ 341051 w 1881147"/>
                <a:gd name="connsiteY41" fmla="*/ 969071 h 1691730"/>
                <a:gd name="connsiteX42" fmla="*/ 426184 w 1881147"/>
                <a:gd name="connsiteY42" fmla="*/ 1023323 h 1691730"/>
                <a:gd name="connsiteX43" fmla="*/ 461961 w 1881147"/>
                <a:gd name="connsiteY43" fmla="*/ 1094416 h 1691730"/>
                <a:gd name="connsiteX44" fmla="*/ 441064 w 1881147"/>
                <a:gd name="connsiteY44" fmla="*/ 1163989 h 1691730"/>
                <a:gd name="connsiteX45" fmla="*/ 519111 w 1881147"/>
                <a:gd name="connsiteY45" fmla="*/ 1220452 h 1691730"/>
                <a:gd name="connsiteX46" fmla="*/ 591143 w 1881147"/>
                <a:gd name="connsiteY46" fmla="*/ 1253446 h 1691730"/>
                <a:gd name="connsiteX47" fmla="*/ 571974 w 1881147"/>
                <a:gd name="connsiteY47" fmla="*/ 1313149 h 1691730"/>
                <a:gd name="connsiteX48" fmla="*/ 662461 w 1881147"/>
                <a:gd name="connsiteY48" fmla="*/ 1465549 h 1691730"/>
                <a:gd name="connsiteX49" fmla="*/ 755271 w 1881147"/>
                <a:gd name="connsiteY49" fmla="*/ 1538703 h 1691730"/>
                <a:gd name="connsiteX50" fmla="*/ 805336 w 1881147"/>
                <a:gd name="connsiteY50" fmla="*/ 1489361 h 1691730"/>
                <a:gd name="connsiteX51" fmla="*/ 869926 w 1881147"/>
                <a:gd name="connsiteY51" fmla="*/ 1516758 h 1691730"/>
                <a:gd name="connsiteX52" fmla="*/ 924399 w 1881147"/>
                <a:gd name="connsiteY52" fmla="*/ 1484599 h 1691730"/>
                <a:gd name="connsiteX53" fmla="*/ 941246 w 1881147"/>
                <a:gd name="connsiteY53" fmla="*/ 1442423 h 1691730"/>
                <a:gd name="connsiteX54" fmla="*/ 1005123 w 1881147"/>
                <a:gd name="connsiteY54" fmla="*/ 1528835 h 1691730"/>
                <a:gd name="connsiteX55" fmla="*/ 1050190 w 1881147"/>
                <a:gd name="connsiteY55" fmla="*/ 1599929 h 1691730"/>
                <a:gd name="connsiteX56" fmla="*/ 1120136 w 1881147"/>
                <a:gd name="connsiteY56" fmla="*/ 1691448 h 1691730"/>
                <a:gd name="connsiteX57" fmla="*/ 1151034 w 1881147"/>
                <a:gd name="connsiteY57" fmla="*/ 1628357 h 1691730"/>
                <a:gd name="connsiteX58" fmla="*/ 1181693 w 1881147"/>
                <a:gd name="connsiteY58" fmla="*/ 1621877 h 1691730"/>
                <a:gd name="connsiteX59" fmla="*/ 1224792 w 1881147"/>
                <a:gd name="connsiteY59" fmla="*/ 1651140 h 1691730"/>
                <a:gd name="connsiteX60" fmla="*/ 1258367 w 1881147"/>
                <a:gd name="connsiteY60" fmla="*/ 1610486 h 1691730"/>
                <a:gd name="connsiteX61" fmla="*/ 1277188 w 1881147"/>
                <a:gd name="connsiteY61" fmla="*/ 1615103 h 1691730"/>
                <a:gd name="connsiteX62" fmla="*/ 1311230 w 1881147"/>
                <a:gd name="connsiteY62" fmla="*/ 1681580 h 1691730"/>
                <a:gd name="connsiteX63" fmla="*/ 1367786 w 1881147"/>
                <a:gd name="connsiteY63" fmla="*/ 1658111 h 1691730"/>
                <a:gd name="connsiteX64" fmla="*/ 1419818 w 1881147"/>
                <a:gd name="connsiteY64" fmla="*/ 1601990 h 1691730"/>
                <a:gd name="connsiteX65" fmla="*/ 1470595 w 1881147"/>
                <a:gd name="connsiteY65" fmla="*/ 1585447 h 1691730"/>
                <a:gd name="connsiteX66" fmla="*/ 1488274 w 1881147"/>
                <a:gd name="connsiteY66" fmla="*/ 1641269 h 1691730"/>
                <a:gd name="connsiteX67" fmla="*/ 1558169 w 1881147"/>
                <a:gd name="connsiteY67" fmla="*/ 1615591 h 1691730"/>
                <a:gd name="connsiteX68" fmla="*/ 1588947 w 1881147"/>
                <a:gd name="connsiteY68" fmla="*/ 1528835 h 1691730"/>
                <a:gd name="connsiteX69" fmla="*/ 1670383 w 1881147"/>
                <a:gd name="connsiteY69" fmla="*/ 1438693 h 1691730"/>
                <a:gd name="connsiteX70" fmla="*/ 1714974 w 1881147"/>
                <a:gd name="connsiteY70" fmla="*/ 1407563 h 1691730"/>
                <a:gd name="connsiteX71" fmla="*/ 1743343 w 1881147"/>
                <a:gd name="connsiteY71" fmla="*/ 1410858 h 1691730"/>
                <a:gd name="connsiteX72" fmla="*/ 1820935 w 1881147"/>
                <a:gd name="connsiteY72" fmla="*/ 1400250 h 1691730"/>
                <a:gd name="connsiteX73" fmla="*/ 1816054 w 1881147"/>
                <a:gd name="connsiteY73" fmla="*/ 1453814 h 1691730"/>
                <a:gd name="connsiteX74" fmla="*/ 1874221 w 1881147"/>
                <a:gd name="connsiteY74" fmla="*/ 1477135 h 1691730"/>
                <a:gd name="connsiteX75" fmla="*/ 1875829 w 1881147"/>
                <a:gd name="connsiteY75" fmla="*/ 1454501 h 1691730"/>
                <a:gd name="connsiteX76" fmla="*/ 1875051 w 1881147"/>
                <a:gd name="connsiteY76" fmla="*/ 1393767 h 1691730"/>
                <a:gd name="connsiteX77" fmla="*/ 1853086 w 1881147"/>
                <a:gd name="connsiteY77" fmla="*/ 1303624 h 1691730"/>
                <a:gd name="connsiteX78" fmla="*/ 1853086 w 1881147"/>
                <a:gd name="connsiteY78" fmla="*/ 1246474 h 1691730"/>
                <a:gd name="connsiteX79" fmla="*/ 1810224 w 1881147"/>
                <a:gd name="connsiteY79" fmla="*/ 1236949 h 1691730"/>
                <a:gd name="connsiteX80" fmla="*/ 1734024 w 1881147"/>
                <a:gd name="connsiteY80" fmla="*/ 1155986 h 1691730"/>
                <a:gd name="connsiteX81" fmla="*/ 1695924 w 1881147"/>
                <a:gd name="connsiteY81" fmla="*/ 975011 h 1691730"/>
                <a:gd name="connsiteX82" fmla="*/ 1643536 w 1881147"/>
                <a:gd name="connsiteY82" fmla="*/ 941674 h 1691730"/>
                <a:gd name="connsiteX83" fmla="*/ 1605436 w 1881147"/>
                <a:gd name="connsiteY83" fmla="*/ 884524 h 1691730"/>
                <a:gd name="connsiteX84" fmla="*/ 1557811 w 1881147"/>
                <a:gd name="connsiteY84" fmla="*/ 836899 h 1691730"/>
                <a:gd name="connsiteX85" fmla="*/ 1505424 w 1881147"/>
                <a:gd name="connsiteY85" fmla="*/ 817849 h 1691730"/>
                <a:gd name="connsiteX86" fmla="*/ 1453036 w 1881147"/>
                <a:gd name="connsiteY86" fmla="*/ 813086 h 1691730"/>
                <a:gd name="connsiteX87" fmla="*/ 1510186 w 1881147"/>
                <a:gd name="connsiteY87" fmla="*/ 779749 h 1691730"/>
                <a:gd name="connsiteX88" fmla="*/ 1476849 w 1881147"/>
                <a:gd name="connsiteY88" fmla="*/ 746411 h 1691730"/>
                <a:gd name="connsiteX89" fmla="*/ 1481611 w 1881147"/>
                <a:gd name="connsiteY89" fmla="*/ 722599 h 1691730"/>
                <a:gd name="connsiteX90" fmla="*/ 1572099 w 1881147"/>
                <a:gd name="connsiteY90" fmla="*/ 760699 h 1691730"/>
                <a:gd name="connsiteX91" fmla="*/ 1624486 w 1881147"/>
                <a:gd name="connsiteY91" fmla="*/ 694024 h 1691730"/>
                <a:gd name="connsiteX92" fmla="*/ 1622283 w 1881147"/>
                <a:gd name="connsiteY92" fmla="*/ 551149 h 1691730"/>
                <a:gd name="connsiteX93" fmla="*/ 1639486 w 1881147"/>
                <a:gd name="connsiteY93" fmla="*/ 402823 h 1691730"/>
                <a:gd name="connsiteX0" fmla="*/ 1639486 w 1881147"/>
                <a:gd name="connsiteY0" fmla="*/ 405145 h 1694052"/>
                <a:gd name="connsiteX1" fmla="*/ 1567336 w 1881147"/>
                <a:gd name="connsiteY1" fmla="*/ 372496 h 1694052"/>
                <a:gd name="connsiteX2" fmla="*/ 1477087 w 1881147"/>
                <a:gd name="connsiteY2" fmla="*/ 348683 h 1694052"/>
                <a:gd name="connsiteX3" fmla="*/ 1423767 w 1881147"/>
                <a:gd name="connsiteY3" fmla="*/ 271599 h 1694052"/>
                <a:gd name="connsiteX4" fmla="*/ 1395785 w 1881147"/>
                <a:gd name="connsiteY4" fmla="*/ 169754 h 1694052"/>
                <a:gd name="connsiteX5" fmla="*/ 1351753 w 1881147"/>
                <a:gd name="connsiteY5" fmla="*/ 15308 h 1694052"/>
                <a:gd name="connsiteX6" fmla="*/ 1267299 w 1881147"/>
                <a:gd name="connsiteY6" fmla="*/ 15308 h 1694052"/>
                <a:gd name="connsiteX7" fmla="*/ 1247452 w 1881147"/>
                <a:gd name="connsiteY7" fmla="*/ 101065 h 1694052"/>
                <a:gd name="connsiteX8" fmla="*/ 1214911 w 1881147"/>
                <a:gd name="connsiteY8" fmla="*/ 158183 h 1694052"/>
                <a:gd name="connsiteX9" fmla="*/ 1186336 w 1881147"/>
                <a:gd name="connsiteY9" fmla="*/ 186758 h 1694052"/>
                <a:gd name="connsiteX10" fmla="*/ 1176811 w 1881147"/>
                <a:gd name="connsiteY10" fmla="*/ 258196 h 1694052"/>
                <a:gd name="connsiteX11" fmla="*/ 1114899 w 1881147"/>
                <a:gd name="connsiteY11" fmla="*/ 301058 h 1694052"/>
                <a:gd name="connsiteX12" fmla="*/ 1005361 w 1881147"/>
                <a:gd name="connsiteY12" fmla="*/ 315346 h 1694052"/>
                <a:gd name="connsiteX13" fmla="*/ 962499 w 1881147"/>
                <a:gd name="connsiteY13" fmla="*/ 358208 h 1694052"/>
                <a:gd name="connsiteX14" fmla="*/ 838674 w 1881147"/>
                <a:gd name="connsiteY14" fmla="*/ 358208 h 1694052"/>
                <a:gd name="connsiteX15" fmla="*/ 781524 w 1881147"/>
                <a:gd name="connsiteY15" fmla="*/ 429646 h 1694052"/>
                <a:gd name="connsiteX16" fmla="*/ 781524 w 1881147"/>
                <a:gd name="connsiteY16" fmla="*/ 462983 h 1694052"/>
                <a:gd name="connsiteX17" fmla="*/ 743424 w 1881147"/>
                <a:gd name="connsiteY17" fmla="*/ 486796 h 1694052"/>
                <a:gd name="connsiteX18" fmla="*/ 671986 w 1881147"/>
                <a:gd name="connsiteY18" fmla="*/ 420121 h 1694052"/>
                <a:gd name="connsiteX19" fmla="*/ 519586 w 1881147"/>
                <a:gd name="connsiteY19" fmla="*/ 415358 h 1694052"/>
                <a:gd name="connsiteX20" fmla="*/ 457674 w 1881147"/>
                <a:gd name="connsiteY20" fmla="*/ 434408 h 1694052"/>
                <a:gd name="connsiteX21" fmla="*/ 419574 w 1881147"/>
                <a:gd name="connsiteY21" fmla="*/ 420121 h 1694052"/>
                <a:gd name="connsiteX22" fmla="*/ 400524 w 1881147"/>
                <a:gd name="connsiteY22" fmla="*/ 358208 h 1694052"/>
                <a:gd name="connsiteX23" fmla="*/ 333849 w 1881147"/>
                <a:gd name="connsiteY23" fmla="*/ 305821 h 1694052"/>
                <a:gd name="connsiteX24" fmla="*/ 286224 w 1881147"/>
                <a:gd name="connsiteY24" fmla="*/ 239146 h 1694052"/>
                <a:gd name="connsiteX25" fmla="*/ 143349 w 1881147"/>
                <a:gd name="connsiteY25" fmla="*/ 258196 h 1694052"/>
                <a:gd name="connsiteX26" fmla="*/ 124299 w 1881147"/>
                <a:gd name="connsiteY26" fmla="*/ 334396 h 1694052"/>
                <a:gd name="connsiteX27" fmla="*/ 110011 w 1881147"/>
                <a:gd name="connsiteY27" fmla="*/ 367733 h 1694052"/>
                <a:gd name="connsiteX28" fmla="*/ 133824 w 1881147"/>
                <a:gd name="connsiteY28" fmla="*/ 415358 h 1694052"/>
                <a:gd name="connsiteX29" fmla="*/ 81436 w 1881147"/>
                <a:gd name="connsiteY29" fmla="*/ 453458 h 1694052"/>
                <a:gd name="connsiteX30" fmla="*/ 33811 w 1881147"/>
                <a:gd name="connsiteY30" fmla="*/ 448696 h 1694052"/>
                <a:gd name="connsiteX31" fmla="*/ 33811 w 1881147"/>
                <a:gd name="connsiteY31" fmla="*/ 520133 h 1694052"/>
                <a:gd name="connsiteX32" fmla="*/ 474 w 1881147"/>
                <a:gd name="connsiteY32" fmla="*/ 624908 h 1694052"/>
                <a:gd name="connsiteX33" fmla="*/ 62386 w 1881147"/>
                <a:gd name="connsiteY33" fmla="*/ 701108 h 1694052"/>
                <a:gd name="connsiteX34" fmla="*/ 111977 w 1881147"/>
                <a:gd name="connsiteY34" fmla="*/ 681370 h 1694052"/>
                <a:gd name="connsiteX35" fmla="*/ 112334 w 1881147"/>
                <a:gd name="connsiteY35" fmla="*/ 751629 h 1694052"/>
                <a:gd name="connsiteX36" fmla="*/ 167161 w 1881147"/>
                <a:gd name="connsiteY36" fmla="*/ 782071 h 1694052"/>
                <a:gd name="connsiteX37" fmla="*/ 236159 w 1881147"/>
                <a:gd name="connsiteY37" fmla="*/ 792283 h 1694052"/>
                <a:gd name="connsiteX38" fmla="*/ 271462 w 1881147"/>
                <a:gd name="connsiteY38" fmla="*/ 848254 h 1694052"/>
                <a:gd name="connsiteX39" fmla="*/ 270869 w 1881147"/>
                <a:gd name="connsiteY39" fmla="*/ 893326 h 1694052"/>
                <a:gd name="connsiteX40" fmla="*/ 295393 w 1881147"/>
                <a:gd name="connsiteY40" fmla="*/ 932801 h 1694052"/>
                <a:gd name="connsiteX41" fmla="*/ 341051 w 1881147"/>
                <a:gd name="connsiteY41" fmla="*/ 971393 h 1694052"/>
                <a:gd name="connsiteX42" fmla="*/ 426184 w 1881147"/>
                <a:gd name="connsiteY42" fmla="*/ 1025645 h 1694052"/>
                <a:gd name="connsiteX43" fmla="*/ 461961 w 1881147"/>
                <a:gd name="connsiteY43" fmla="*/ 1096738 h 1694052"/>
                <a:gd name="connsiteX44" fmla="*/ 441064 w 1881147"/>
                <a:gd name="connsiteY44" fmla="*/ 1166311 h 1694052"/>
                <a:gd name="connsiteX45" fmla="*/ 519111 w 1881147"/>
                <a:gd name="connsiteY45" fmla="*/ 1222774 h 1694052"/>
                <a:gd name="connsiteX46" fmla="*/ 591143 w 1881147"/>
                <a:gd name="connsiteY46" fmla="*/ 1255768 h 1694052"/>
                <a:gd name="connsiteX47" fmla="*/ 571974 w 1881147"/>
                <a:gd name="connsiteY47" fmla="*/ 1315471 h 1694052"/>
                <a:gd name="connsiteX48" fmla="*/ 662461 w 1881147"/>
                <a:gd name="connsiteY48" fmla="*/ 1467871 h 1694052"/>
                <a:gd name="connsiteX49" fmla="*/ 755271 w 1881147"/>
                <a:gd name="connsiteY49" fmla="*/ 1541025 h 1694052"/>
                <a:gd name="connsiteX50" fmla="*/ 805336 w 1881147"/>
                <a:gd name="connsiteY50" fmla="*/ 1491683 h 1694052"/>
                <a:gd name="connsiteX51" fmla="*/ 869926 w 1881147"/>
                <a:gd name="connsiteY51" fmla="*/ 1519080 h 1694052"/>
                <a:gd name="connsiteX52" fmla="*/ 924399 w 1881147"/>
                <a:gd name="connsiteY52" fmla="*/ 1486921 h 1694052"/>
                <a:gd name="connsiteX53" fmla="*/ 941246 w 1881147"/>
                <a:gd name="connsiteY53" fmla="*/ 1444745 h 1694052"/>
                <a:gd name="connsiteX54" fmla="*/ 1005123 w 1881147"/>
                <a:gd name="connsiteY54" fmla="*/ 1531157 h 1694052"/>
                <a:gd name="connsiteX55" fmla="*/ 1050190 w 1881147"/>
                <a:gd name="connsiteY55" fmla="*/ 1602251 h 1694052"/>
                <a:gd name="connsiteX56" fmla="*/ 1120136 w 1881147"/>
                <a:gd name="connsiteY56" fmla="*/ 1693770 h 1694052"/>
                <a:gd name="connsiteX57" fmla="*/ 1151034 w 1881147"/>
                <a:gd name="connsiteY57" fmla="*/ 1630679 h 1694052"/>
                <a:gd name="connsiteX58" fmla="*/ 1181693 w 1881147"/>
                <a:gd name="connsiteY58" fmla="*/ 1624199 h 1694052"/>
                <a:gd name="connsiteX59" fmla="*/ 1224792 w 1881147"/>
                <a:gd name="connsiteY59" fmla="*/ 1653462 h 1694052"/>
                <a:gd name="connsiteX60" fmla="*/ 1258367 w 1881147"/>
                <a:gd name="connsiteY60" fmla="*/ 1612808 h 1694052"/>
                <a:gd name="connsiteX61" fmla="*/ 1277188 w 1881147"/>
                <a:gd name="connsiteY61" fmla="*/ 1617425 h 1694052"/>
                <a:gd name="connsiteX62" fmla="*/ 1311230 w 1881147"/>
                <a:gd name="connsiteY62" fmla="*/ 1683902 h 1694052"/>
                <a:gd name="connsiteX63" fmla="*/ 1367786 w 1881147"/>
                <a:gd name="connsiteY63" fmla="*/ 1660433 h 1694052"/>
                <a:gd name="connsiteX64" fmla="*/ 1419818 w 1881147"/>
                <a:gd name="connsiteY64" fmla="*/ 1604312 h 1694052"/>
                <a:gd name="connsiteX65" fmla="*/ 1470595 w 1881147"/>
                <a:gd name="connsiteY65" fmla="*/ 1587769 h 1694052"/>
                <a:gd name="connsiteX66" fmla="*/ 1488274 w 1881147"/>
                <a:gd name="connsiteY66" fmla="*/ 1643591 h 1694052"/>
                <a:gd name="connsiteX67" fmla="*/ 1558169 w 1881147"/>
                <a:gd name="connsiteY67" fmla="*/ 1617913 h 1694052"/>
                <a:gd name="connsiteX68" fmla="*/ 1588947 w 1881147"/>
                <a:gd name="connsiteY68" fmla="*/ 1531157 h 1694052"/>
                <a:gd name="connsiteX69" fmla="*/ 1670383 w 1881147"/>
                <a:gd name="connsiteY69" fmla="*/ 1441015 h 1694052"/>
                <a:gd name="connsiteX70" fmla="*/ 1714974 w 1881147"/>
                <a:gd name="connsiteY70" fmla="*/ 1409885 h 1694052"/>
                <a:gd name="connsiteX71" fmla="*/ 1743343 w 1881147"/>
                <a:gd name="connsiteY71" fmla="*/ 1413180 h 1694052"/>
                <a:gd name="connsiteX72" fmla="*/ 1820935 w 1881147"/>
                <a:gd name="connsiteY72" fmla="*/ 1402572 h 1694052"/>
                <a:gd name="connsiteX73" fmla="*/ 1816054 w 1881147"/>
                <a:gd name="connsiteY73" fmla="*/ 1456136 h 1694052"/>
                <a:gd name="connsiteX74" fmla="*/ 1874221 w 1881147"/>
                <a:gd name="connsiteY74" fmla="*/ 1479457 h 1694052"/>
                <a:gd name="connsiteX75" fmla="*/ 1875829 w 1881147"/>
                <a:gd name="connsiteY75" fmla="*/ 1456823 h 1694052"/>
                <a:gd name="connsiteX76" fmla="*/ 1875051 w 1881147"/>
                <a:gd name="connsiteY76" fmla="*/ 1396089 h 1694052"/>
                <a:gd name="connsiteX77" fmla="*/ 1853086 w 1881147"/>
                <a:gd name="connsiteY77" fmla="*/ 1305946 h 1694052"/>
                <a:gd name="connsiteX78" fmla="*/ 1853086 w 1881147"/>
                <a:gd name="connsiteY78" fmla="*/ 1248796 h 1694052"/>
                <a:gd name="connsiteX79" fmla="*/ 1810224 w 1881147"/>
                <a:gd name="connsiteY79" fmla="*/ 1239271 h 1694052"/>
                <a:gd name="connsiteX80" fmla="*/ 1734024 w 1881147"/>
                <a:gd name="connsiteY80" fmla="*/ 1158308 h 1694052"/>
                <a:gd name="connsiteX81" fmla="*/ 1695924 w 1881147"/>
                <a:gd name="connsiteY81" fmla="*/ 977333 h 1694052"/>
                <a:gd name="connsiteX82" fmla="*/ 1643536 w 1881147"/>
                <a:gd name="connsiteY82" fmla="*/ 943996 h 1694052"/>
                <a:gd name="connsiteX83" fmla="*/ 1605436 w 1881147"/>
                <a:gd name="connsiteY83" fmla="*/ 886846 h 1694052"/>
                <a:gd name="connsiteX84" fmla="*/ 1557811 w 1881147"/>
                <a:gd name="connsiteY84" fmla="*/ 839221 h 1694052"/>
                <a:gd name="connsiteX85" fmla="*/ 1505424 w 1881147"/>
                <a:gd name="connsiteY85" fmla="*/ 820171 h 1694052"/>
                <a:gd name="connsiteX86" fmla="*/ 1453036 w 1881147"/>
                <a:gd name="connsiteY86" fmla="*/ 815408 h 1694052"/>
                <a:gd name="connsiteX87" fmla="*/ 1510186 w 1881147"/>
                <a:gd name="connsiteY87" fmla="*/ 782071 h 1694052"/>
                <a:gd name="connsiteX88" fmla="*/ 1476849 w 1881147"/>
                <a:gd name="connsiteY88" fmla="*/ 748733 h 1694052"/>
                <a:gd name="connsiteX89" fmla="*/ 1481611 w 1881147"/>
                <a:gd name="connsiteY89" fmla="*/ 724921 h 1694052"/>
                <a:gd name="connsiteX90" fmla="*/ 1572099 w 1881147"/>
                <a:gd name="connsiteY90" fmla="*/ 763021 h 1694052"/>
                <a:gd name="connsiteX91" fmla="*/ 1624486 w 1881147"/>
                <a:gd name="connsiteY91" fmla="*/ 696346 h 1694052"/>
                <a:gd name="connsiteX92" fmla="*/ 1622283 w 1881147"/>
                <a:gd name="connsiteY92" fmla="*/ 553471 h 1694052"/>
                <a:gd name="connsiteX93" fmla="*/ 1639486 w 1881147"/>
                <a:gd name="connsiteY93" fmla="*/ 405145 h 1694052"/>
                <a:gd name="connsiteX0" fmla="*/ 1639486 w 1881147"/>
                <a:gd name="connsiteY0" fmla="*/ 415049 h 1703956"/>
                <a:gd name="connsiteX1" fmla="*/ 1567336 w 1881147"/>
                <a:gd name="connsiteY1" fmla="*/ 382400 h 1703956"/>
                <a:gd name="connsiteX2" fmla="*/ 1477087 w 1881147"/>
                <a:gd name="connsiteY2" fmla="*/ 358587 h 1703956"/>
                <a:gd name="connsiteX3" fmla="*/ 1423767 w 1881147"/>
                <a:gd name="connsiteY3" fmla="*/ 281503 h 1703956"/>
                <a:gd name="connsiteX4" fmla="*/ 1395785 w 1881147"/>
                <a:gd name="connsiteY4" fmla="*/ 179658 h 1703956"/>
                <a:gd name="connsiteX5" fmla="*/ 1364769 w 1881147"/>
                <a:gd name="connsiteY5" fmla="*/ 11596 h 1703956"/>
                <a:gd name="connsiteX6" fmla="*/ 1267299 w 1881147"/>
                <a:gd name="connsiteY6" fmla="*/ 25212 h 1703956"/>
                <a:gd name="connsiteX7" fmla="*/ 1247452 w 1881147"/>
                <a:gd name="connsiteY7" fmla="*/ 110969 h 1703956"/>
                <a:gd name="connsiteX8" fmla="*/ 1214911 w 1881147"/>
                <a:gd name="connsiteY8" fmla="*/ 168087 h 1703956"/>
                <a:gd name="connsiteX9" fmla="*/ 1186336 w 1881147"/>
                <a:gd name="connsiteY9" fmla="*/ 196662 h 1703956"/>
                <a:gd name="connsiteX10" fmla="*/ 1176811 w 1881147"/>
                <a:gd name="connsiteY10" fmla="*/ 268100 h 1703956"/>
                <a:gd name="connsiteX11" fmla="*/ 1114899 w 1881147"/>
                <a:gd name="connsiteY11" fmla="*/ 310962 h 1703956"/>
                <a:gd name="connsiteX12" fmla="*/ 1005361 w 1881147"/>
                <a:gd name="connsiteY12" fmla="*/ 325250 h 1703956"/>
                <a:gd name="connsiteX13" fmla="*/ 962499 w 1881147"/>
                <a:gd name="connsiteY13" fmla="*/ 368112 h 1703956"/>
                <a:gd name="connsiteX14" fmla="*/ 838674 w 1881147"/>
                <a:gd name="connsiteY14" fmla="*/ 368112 h 1703956"/>
                <a:gd name="connsiteX15" fmla="*/ 781524 w 1881147"/>
                <a:gd name="connsiteY15" fmla="*/ 439550 h 1703956"/>
                <a:gd name="connsiteX16" fmla="*/ 781524 w 1881147"/>
                <a:gd name="connsiteY16" fmla="*/ 472887 h 1703956"/>
                <a:gd name="connsiteX17" fmla="*/ 743424 w 1881147"/>
                <a:gd name="connsiteY17" fmla="*/ 496700 h 1703956"/>
                <a:gd name="connsiteX18" fmla="*/ 671986 w 1881147"/>
                <a:gd name="connsiteY18" fmla="*/ 430025 h 1703956"/>
                <a:gd name="connsiteX19" fmla="*/ 519586 w 1881147"/>
                <a:gd name="connsiteY19" fmla="*/ 425262 h 1703956"/>
                <a:gd name="connsiteX20" fmla="*/ 457674 w 1881147"/>
                <a:gd name="connsiteY20" fmla="*/ 444312 h 1703956"/>
                <a:gd name="connsiteX21" fmla="*/ 419574 w 1881147"/>
                <a:gd name="connsiteY21" fmla="*/ 430025 h 1703956"/>
                <a:gd name="connsiteX22" fmla="*/ 400524 w 1881147"/>
                <a:gd name="connsiteY22" fmla="*/ 368112 h 1703956"/>
                <a:gd name="connsiteX23" fmla="*/ 333849 w 1881147"/>
                <a:gd name="connsiteY23" fmla="*/ 315725 h 1703956"/>
                <a:gd name="connsiteX24" fmla="*/ 286224 w 1881147"/>
                <a:gd name="connsiteY24" fmla="*/ 249050 h 1703956"/>
                <a:gd name="connsiteX25" fmla="*/ 143349 w 1881147"/>
                <a:gd name="connsiteY25" fmla="*/ 268100 h 1703956"/>
                <a:gd name="connsiteX26" fmla="*/ 124299 w 1881147"/>
                <a:gd name="connsiteY26" fmla="*/ 344300 h 1703956"/>
                <a:gd name="connsiteX27" fmla="*/ 110011 w 1881147"/>
                <a:gd name="connsiteY27" fmla="*/ 377637 h 1703956"/>
                <a:gd name="connsiteX28" fmla="*/ 133824 w 1881147"/>
                <a:gd name="connsiteY28" fmla="*/ 425262 h 1703956"/>
                <a:gd name="connsiteX29" fmla="*/ 81436 w 1881147"/>
                <a:gd name="connsiteY29" fmla="*/ 463362 h 1703956"/>
                <a:gd name="connsiteX30" fmla="*/ 33811 w 1881147"/>
                <a:gd name="connsiteY30" fmla="*/ 458600 h 1703956"/>
                <a:gd name="connsiteX31" fmla="*/ 33811 w 1881147"/>
                <a:gd name="connsiteY31" fmla="*/ 530037 h 1703956"/>
                <a:gd name="connsiteX32" fmla="*/ 474 w 1881147"/>
                <a:gd name="connsiteY32" fmla="*/ 634812 h 1703956"/>
                <a:gd name="connsiteX33" fmla="*/ 62386 w 1881147"/>
                <a:gd name="connsiteY33" fmla="*/ 711012 h 1703956"/>
                <a:gd name="connsiteX34" fmla="*/ 111977 w 1881147"/>
                <a:gd name="connsiteY34" fmla="*/ 691274 h 1703956"/>
                <a:gd name="connsiteX35" fmla="*/ 112334 w 1881147"/>
                <a:gd name="connsiteY35" fmla="*/ 761533 h 1703956"/>
                <a:gd name="connsiteX36" fmla="*/ 167161 w 1881147"/>
                <a:gd name="connsiteY36" fmla="*/ 791975 h 1703956"/>
                <a:gd name="connsiteX37" fmla="*/ 236159 w 1881147"/>
                <a:gd name="connsiteY37" fmla="*/ 802187 h 1703956"/>
                <a:gd name="connsiteX38" fmla="*/ 271462 w 1881147"/>
                <a:gd name="connsiteY38" fmla="*/ 858158 h 1703956"/>
                <a:gd name="connsiteX39" fmla="*/ 270869 w 1881147"/>
                <a:gd name="connsiteY39" fmla="*/ 903230 h 1703956"/>
                <a:gd name="connsiteX40" fmla="*/ 295393 w 1881147"/>
                <a:gd name="connsiteY40" fmla="*/ 942705 h 1703956"/>
                <a:gd name="connsiteX41" fmla="*/ 341051 w 1881147"/>
                <a:gd name="connsiteY41" fmla="*/ 981297 h 1703956"/>
                <a:gd name="connsiteX42" fmla="*/ 426184 w 1881147"/>
                <a:gd name="connsiteY42" fmla="*/ 1035549 h 1703956"/>
                <a:gd name="connsiteX43" fmla="*/ 461961 w 1881147"/>
                <a:gd name="connsiteY43" fmla="*/ 1106642 h 1703956"/>
                <a:gd name="connsiteX44" fmla="*/ 441064 w 1881147"/>
                <a:gd name="connsiteY44" fmla="*/ 1176215 h 1703956"/>
                <a:gd name="connsiteX45" fmla="*/ 519111 w 1881147"/>
                <a:gd name="connsiteY45" fmla="*/ 1232678 h 1703956"/>
                <a:gd name="connsiteX46" fmla="*/ 591143 w 1881147"/>
                <a:gd name="connsiteY46" fmla="*/ 1265672 h 1703956"/>
                <a:gd name="connsiteX47" fmla="*/ 571974 w 1881147"/>
                <a:gd name="connsiteY47" fmla="*/ 1325375 h 1703956"/>
                <a:gd name="connsiteX48" fmla="*/ 662461 w 1881147"/>
                <a:gd name="connsiteY48" fmla="*/ 1477775 h 1703956"/>
                <a:gd name="connsiteX49" fmla="*/ 755271 w 1881147"/>
                <a:gd name="connsiteY49" fmla="*/ 1550929 h 1703956"/>
                <a:gd name="connsiteX50" fmla="*/ 805336 w 1881147"/>
                <a:gd name="connsiteY50" fmla="*/ 1501587 h 1703956"/>
                <a:gd name="connsiteX51" fmla="*/ 869926 w 1881147"/>
                <a:gd name="connsiteY51" fmla="*/ 1528984 h 1703956"/>
                <a:gd name="connsiteX52" fmla="*/ 924399 w 1881147"/>
                <a:gd name="connsiteY52" fmla="*/ 1496825 h 1703956"/>
                <a:gd name="connsiteX53" fmla="*/ 941246 w 1881147"/>
                <a:gd name="connsiteY53" fmla="*/ 1454649 h 1703956"/>
                <a:gd name="connsiteX54" fmla="*/ 1005123 w 1881147"/>
                <a:gd name="connsiteY54" fmla="*/ 1541061 h 1703956"/>
                <a:gd name="connsiteX55" fmla="*/ 1050190 w 1881147"/>
                <a:gd name="connsiteY55" fmla="*/ 1612155 h 1703956"/>
                <a:gd name="connsiteX56" fmla="*/ 1120136 w 1881147"/>
                <a:gd name="connsiteY56" fmla="*/ 1703674 h 1703956"/>
                <a:gd name="connsiteX57" fmla="*/ 1151034 w 1881147"/>
                <a:gd name="connsiteY57" fmla="*/ 1640583 h 1703956"/>
                <a:gd name="connsiteX58" fmla="*/ 1181693 w 1881147"/>
                <a:gd name="connsiteY58" fmla="*/ 1634103 h 1703956"/>
                <a:gd name="connsiteX59" fmla="*/ 1224792 w 1881147"/>
                <a:gd name="connsiteY59" fmla="*/ 1663366 h 1703956"/>
                <a:gd name="connsiteX60" fmla="*/ 1258367 w 1881147"/>
                <a:gd name="connsiteY60" fmla="*/ 1622712 h 1703956"/>
                <a:gd name="connsiteX61" fmla="*/ 1277188 w 1881147"/>
                <a:gd name="connsiteY61" fmla="*/ 1627329 h 1703956"/>
                <a:gd name="connsiteX62" fmla="*/ 1311230 w 1881147"/>
                <a:gd name="connsiteY62" fmla="*/ 1693806 h 1703956"/>
                <a:gd name="connsiteX63" fmla="*/ 1367786 w 1881147"/>
                <a:gd name="connsiteY63" fmla="*/ 1670337 h 1703956"/>
                <a:gd name="connsiteX64" fmla="*/ 1419818 w 1881147"/>
                <a:gd name="connsiteY64" fmla="*/ 1614216 h 1703956"/>
                <a:gd name="connsiteX65" fmla="*/ 1470595 w 1881147"/>
                <a:gd name="connsiteY65" fmla="*/ 1597673 h 1703956"/>
                <a:gd name="connsiteX66" fmla="*/ 1488274 w 1881147"/>
                <a:gd name="connsiteY66" fmla="*/ 1653495 h 1703956"/>
                <a:gd name="connsiteX67" fmla="*/ 1558169 w 1881147"/>
                <a:gd name="connsiteY67" fmla="*/ 1627817 h 1703956"/>
                <a:gd name="connsiteX68" fmla="*/ 1588947 w 1881147"/>
                <a:gd name="connsiteY68" fmla="*/ 1541061 h 1703956"/>
                <a:gd name="connsiteX69" fmla="*/ 1670383 w 1881147"/>
                <a:gd name="connsiteY69" fmla="*/ 1450919 h 1703956"/>
                <a:gd name="connsiteX70" fmla="*/ 1714974 w 1881147"/>
                <a:gd name="connsiteY70" fmla="*/ 1419789 h 1703956"/>
                <a:gd name="connsiteX71" fmla="*/ 1743343 w 1881147"/>
                <a:gd name="connsiteY71" fmla="*/ 1423084 h 1703956"/>
                <a:gd name="connsiteX72" fmla="*/ 1820935 w 1881147"/>
                <a:gd name="connsiteY72" fmla="*/ 1412476 h 1703956"/>
                <a:gd name="connsiteX73" fmla="*/ 1816054 w 1881147"/>
                <a:gd name="connsiteY73" fmla="*/ 1466040 h 1703956"/>
                <a:gd name="connsiteX74" fmla="*/ 1874221 w 1881147"/>
                <a:gd name="connsiteY74" fmla="*/ 1489361 h 1703956"/>
                <a:gd name="connsiteX75" fmla="*/ 1875829 w 1881147"/>
                <a:gd name="connsiteY75" fmla="*/ 1466727 h 1703956"/>
                <a:gd name="connsiteX76" fmla="*/ 1875051 w 1881147"/>
                <a:gd name="connsiteY76" fmla="*/ 1405993 h 1703956"/>
                <a:gd name="connsiteX77" fmla="*/ 1853086 w 1881147"/>
                <a:gd name="connsiteY77" fmla="*/ 1315850 h 1703956"/>
                <a:gd name="connsiteX78" fmla="*/ 1853086 w 1881147"/>
                <a:gd name="connsiteY78" fmla="*/ 1258700 h 1703956"/>
                <a:gd name="connsiteX79" fmla="*/ 1810224 w 1881147"/>
                <a:gd name="connsiteY79" fmla="*/ 1249175 h 1703956"/>
                <a:gd name="connsiteX80" fmla="*/ 1734024 w 1881147"/>
                <a:gd name="connsiteY80" fmla="*/ 1168212 h 1703956"/>
                <a:gd name="connsiteX81" fmla="*/ 1695924 w 1881147"/>
                <a:gd name="connsiteY81" fmla="*/ 987237 h 1703956"/>
                <a:gd name="connsiteX82" fmla="*/ 1643536 w 1881147"/>
                <a:gd name="connsiteY82" fmla="*/ 953900 h 1703956"/>
                <a:gd name="connsiteX83" fmla="*/ 1605436 w 1881147"/>
                <a:gd name="connsiteY83" fmla="*/ 896750 h 1703956"/>
                <a:gd name="connsiteX84" fmla="*/ 1557811 w 1881147"/>
                <a:gd name="connsiteY84" fmla="*/ 849125 h 1703956"/>
                <a:gd name="connsiteX85" fmla="*/ 1505424 w 1881147"/>
                <a:gd name="connsiteY85" fmla="*/ 830075 h 1703956"/>
                <a:gd name="connsiteX86" fmla="*/ 1453036 w 1881147"/>
                <a:gd name="connsiteY86" fmla="*/ 825312 h 1703956"/>
                <a:gd name="connsiteX87" fmla="*/ 1510186 w 1881147"/>
                <a:gd name="connsiteY87" fmla="*/ 791975 h 1703956"/>
                <a:gd name="connsiteX88" fmla="*/ 1476849 w 1881147"/>
                <a:gd name="connsiteY88" fmla="*/ 758637 h 1703956"/>
                <a:gd name="connsiteX89" fmla="*/ 1481611 w 1881147"/>
                <a:gd name="connsiteY89" fmla="*/ 734825 h 1703956"/>
                <a:gd name="connsiteX90" fmla="*/ 1572099 w 1881147"/>
                <a:gd name="connsiteY90" fmla="*/ 772925 h 1703956"/>
                <a:gd name="connsiteX91" fmla="*/ 1624486 w 1881147"/>
                <a:gd name="connsiteY91" fmla="*/ 706250 h 1703956"/>
                <a:gd name="connsiteX92" fmla="*/ 1622283 w 1881147"/>
                <a:gd name="connsiteY92" fmla="*/ 563375 h 1703956"/>
                <a:gd name="connsiteX93" fmla="*/ 1639486 w 1881147"/>
                <a:gd name="connsiteY93" fmla="*/ 415049 h 1703956"/>
                <a:gd name="connsiteX0" fmla="*/ 1639486 w 1881147"/>
                <a:gd name="connsiteY0" fmla="*/ 410094 h 1699001"/>
                <a:gd name="connsiteX1" fmla="*/ 1567336 w 1881147"/>
                <a:gd name="connsiteY1" fmla="*/ 377445 h 1699001"/>
                <a:gd name="connsiteX2" fmla="*/ 1477087 w 1881147"/>
                <a:gd name="connsiteY2" fmla="*/ 353632 h 1699001"/>
                <a:gd name="connsiteX3" fmla="*/ 1423767 w 1881147"/>
                <a:gd name="connsiteY3" fmla="*/ 276548 h 1699001"/>
                <a:gd name="connsiteX4" fmla="*/ 1395785 w 1881147"/>
                <a:gd name="connsiteY4" fmla="*/ 174703 h 1699001"/>
                <a:gd name="connsiteX5" fmla="*/ 1364769 w 1881147"/>
                <a:gd name="connsiteY5" fmla="*/ 6641 h 1699001"/>
                <a:gd name="connsiteX6" fmla="*/ 1270553 w 1881147"/>
                <a:gd name="connsiteY6" fmla="*/ 40681 h 1699001"/>
                <a:gd name="connsiteX7" fmla="*/ 1247452 w 1881147"/>
                <a:gd name="connsiteY7" fmla="*/ 106014 h 1699001"/>
                <a:gd name="connsiteX8" fmla="*/ 1214911 w 1881147"/>
                <a:gd name="connsiteY8" fmla="*/ 163132 h 1699001"/>
                <a:gd name="connsiteX9" fmla="*/ 1186336 w 1881147"/>
                <a:gd name="connsiteY9" fmla="*/ 191707 h 1699001"/>
                <a:gd name="connsiteX10" fmla="*/ 1176811 w 1881147"/>
                <a:gd name="connsiteY10" fmla="*/ 263145 h 1699001"/>
                <a:gd name="connsiteX11" fmla="*/ 1114899 w 1881147"/>
                <a:gd name="connsiteY11" fmla="*/ 306007 h 1699001"/>
                <a:gd name="connsiteX12" fmla="*/ 1005361 w 1881147"/>
                <a:gd name="connsiteY12" fmla="*/ 320295 h 1699001"/>
                <a:gd name="connsiteX13" fmla="*/ 962499 w 1881147"/>
                <a:gd name="connsiteY13" fmla="*/ 363157 h 1699001"/>
                <a:gd name="connsiteX14" fmla="*/ 838674 w 1881147"/>
                <a:gd name="connsiteY14" fmla="*/ 363157 h 1699001"/>
                <a:gd name="connsiteX15" fmla="*/ 781524 w 1881147"/>
                <a:gd name="connsiteY15" fmla="*/ 434595 h 1699001"/>
                <a:gd name="connsiteX16" fmla="*/ 781524 w 1881147"/>
                <a:gd name="connsiteY16" fmla="*/ 467932 h 1699001"/>
                <a:gd name="connsiteX17" fmla="*/ 743424 w 1881147"/>
                <a:gd name="connsiteY17" fmla="*/ 491745 h 1699001"/>
                <a:gd name="connsiteX18" fmla="*/ 671986 w 1881147"/>
                <a:gd name="connsiteY18" fmla="*/ 425070 h 1699001"/>
                <a:gd name="connsiteX19" fmla="*/ 519586 w 1881147"/>
                <a:gd name="connsiteY19" fmla="*/ 420307 h 1699001"/>
                <a:gd name="connsiteX20" fmla="*/ 457674 w 1881147"/>
                <a:gd name="connsiteY20" fmla="*/ 439357 h 1699001"/>
                <a:gd name="connsiteX21" fmla="*/ 419574 w 1881147"/>
                <a:gd name="connsiteY21" fmla="*/ 425070 h 1699001"/>
                <a:gd name="connsiteX22" fmla="*/ 400524 w 1881147"/>
                <a:gd name="connsiteY22" fmla="*/ 363157 h 1699001"/>
                <a:gd name="connsiteX23" fmla="*/ 333849 w 1881147"/>
                <a:gd name="connsiteY23" fmla="*/ 310770 h 1699001"/>
                <a:gd name="connsiteX24" fmla="*/ 286224 w 1881147"/>
                <a:gd name="connsiteY24" fmla="*/ 244095 h 1699001"/>
                <a:gd name="connsiteX25" fmla="*/ 143349 w 1881147"/>
                <a:gd name="connsiteY25" fmla="*/ 263145 h 1699001"/>
                <a:gd name="connsiteX26" fmla="*/ 124299 w 1881147"/>
                <a:gd name="connsiteY26" fmla="*/ 339345 h 1699001"/>
                <a:gd name="connsiteX27" fmla="*/ 110011 w 1881147"/>
                <a:gd name="connsiteY27" fmla="*/ 372682 h 1699001"/>
                <a:gd name="connsiteX28" fmla="*/ 133824 w 1881147"/>
                <a:gd name="connsiteY28" fmla="*/ 420307 h 1699001"/>
                <a:gd name="connsiteX29" fmla="*/ 81436 w 1881147"/>
                <a:gd name="connsiteY29" fmla="*/ 458407 h 1699001"/>
                <a:gd name="connsiteX30" fmla="*/ 33811 w 1881147"/>
                <a:gd name="connsiteY30" fmla="*/ 453645 h 1699001"/>
                <a:gd name="connsiteX31" fmla="*/ 33811 w 1881147"/>
                <a:gd name="connsiteY31" fmla="*/ 525082 h 1699001"/>
                <a:gd name="connsiteX32" fmla="*/ 474 w 1881147"/>
                <a:gd name="connsiteY32" fmla="*/ 629857 h 1699001"/>
                <a:gd name="connsiteX33" fmla="*/ 62386 w 1881147"/>
                <a:gd name="connsiteY33" fmla="*/ 706057 h 1699001"/>
                <a:gd name="connsiteX34" fmla="*/ 111977 w 1881147"/>
                <a:gd name="connsiteY34" fmla="*/ 686319 h 1699001"/>
                <a:gd name="connsiteX35" fmla="*/ 112334 w 1881147"/>
                <a:gd name="connsiteY35" fmla="*/ 756578 h 1699001"/>
                <a:gd name="connsiteX36" fmla="*/ 167161 w 1881147"/>
                <a:gd name="connsiteY36" fmla="*/ 787020 h 1699001"/>
                <a:gd name="connsiteX37" fmla="*/ 236159 w 1881147"/>
                <a:gd name="connsiteY37" fmla="*/ 797232 h 1699001"/>
                <a:gd name="connsiteX38" fmla="*/ 271462 w 1881147"/>
                <a:gd name="connsiteY38" fmla="*/ 853203 h 1699001"/>
                <a:gd name="connsiteX39" fmla="*/ 270869 w 1881147"/>
                <a:gd name="connsiteY39" fmla="*/ 898275 h 1699001"/>
                <a:gd name="connsiteX40" fmla="*/ 295393 w 1881147"/>
                <a:gd name="connsiteY40" fmla="*/ 937750 h 1699001"/>
                <a:gd name="connsiteX41" fmla="*/ 341051 w 1881147"/>
                <a:gd name="connsiteY41" fmla="*/ 976342 h 1699001"/>
                <a:gd name="connsiteX42" fmla="*/ 426184 w 1881147"/>
                <a:gd name="connsiteY42" fmla="*/ 1030594 h 1699001"/>
                <a:gd name="connsiteX43" fmla="*/ 461961 w 1881147"/>
                <a:gd name="connsiteY43" fmla="*/ 1101687 h 1699001"/>
                <a:gd name="connsiteX44" fmla="*/ 441064 w 1881147"/>
                <a:gd name="connsiteY44" fmla="*/ 1171260 h 1699001"/>
                <a:gd name="connsiteX45" fmla="*/ 519111 w 1881147"/>
                <a:gd name="connsiteY45" fmla="*/ 1227723 h 1699001"/>
                <a:gd name="connsiteX46" fmla="*/ 591143 w 1881147"/>
                <a:gd name="connsiteY46" fmla="*/ 1260717 h 1699001"/>
                <a:gd name="connsiteX47" fmla="*/ 571974 w 1881147"/>
                <a:gd name="connsiteY47" fmla="*/ 1320420 h 1699001"/>
                <a:gd name="connsiteX48" fmla="*/ 662461 w 1881147"/>
                <a:gd name="connsiteY48" fmla="*/ 1472820 h 1699001"/>
                <a:gd name="connsiteX49" fmla="*/ 755271 w 1881147"/>
                <a:gd name="connsiteY49" fmla="*/ 1545974 h 1699001"/>
                <a:gd name="connsiteX50" fmla="*/ 805336 w 1881147"/>
                <a:gd name="connsiteY50" fmla="*/ 1496632 h 1699001"/>
                <a:gd name="connsiteX51" fmla="*/ 869926 w 1881147"/>
                <a:gd name="connsiteY51" fmla="*/ 1524029 h 1699001"/>
                <a:gd name="connsiteX52" fmla="*/ 924399 w 1881147"/>
                <a:gd name="connsiteY52" fmla="*/ 1491870 h 1699001"/>
                <a:gd name="connsiteX53" fmla="*/ 941246 w 1881147"/>
                <a:gd name="connsiteY53" fmla="*/ 1449694 h 1699001"/>
                <a:gd name="connsiteX54" fmla="*/ 1005123 w 1881147"/>
                <a:gd name="connsiteY54" fmla="*/ 1536106 h 1699001"/>
                <a:gd name="connsiteX55" fmla="*/ 1050190 w 1881147"/>
                <a:gd name="connsiteY55" fmla="*/ 1607200 h 1699001"/>
                <a:gd name="connsiteX56" fmla="*/ 1120136 w 1881147"/>
                <a:gd name="connsiteY56" fmla="*/ 1698719 h 1699001"/>
                <a:gd name="connsiteX57" fmla="*/ 1151034 w 1881147"/>
                <a:gd name="connsiteY57" fmla="*/ 1635628 h 1699001"/>
                <a:gd name="connsiteX58" fmla="*/ 1181693 w 1881147"/>
                <a:gd name="connsiteY58" fmla="*/ 1629148 h 1699001"/>
                <a:gd name="connsiteX59" fmla="*/ 1224792 w 1881147"/>
                <a:gd name="connsiteY59" fmla="*/ 1658411 h 1699001"/>
                <a:gd name="connsiteX60" fmla="*/ 1258367 w 1881147"/>
                <a:gd name="connsiteY60" fmla="*/ 1617757 h 1699001"/>
                <a:gd name="connsiteX61" fmla="*/ 1277188 w 1881147"/>
                <a:gd name="connsiteY61" fmla="*/ 1622374 h 1699001"/>
                <a:gd name="connsiteX62" fmla="*/ 1311230 w 1881147"/>
                <a:gd name="connsiteY62" fmla="*/ 1688851 h 1699001"/>
                <a:gd name="connsiteX63" fmla="*/ 1367786 w 1881147"/>
                <a:gd name="connsiteY63" fmla="*/ 1665382 h 1699001"/>
                <a:gd name="connsiteX64" fmla="*/ 1419818 w 1881147"/>
                <a:gd name="connsiteY64" fmla="*/ 1609261 h 1699001"/>
                <a:gd name="connsiteX65" fmla="*/ 1470595 w 1881147"/>
                <a:gd name="connsiteY65" fmla="*/ 1592718 h 1699001"/>
                <a:gd name="connsiteX66" fmla="*/ 1488274 w 1881147"/>
                <a:gd name="connsiteY66" fmla="*/ 1648540 h 1699001"/>
                <a:gd name="connsiteX67" fmla="*/ 1558169 w 1881147"/>
                <a:gd name="connsiteY67" fmla="*/ 1622862 h 1699001"/>
                <a:gd name="connsiteX68" fmla="*/ 1588947 w 1881147"/>
                <a:gd name="connsiteY68" fmla="*/ 1536106 h 1699001"/>
                <a:gd name="connsiteX69" fmla="*/ 1670383 w 1881147"/>
                <a:gd name="connsiteY69" fmla="*/ 1445964 h 1699001"/>
                <a:gd name="connsiteX70" fmla="*/ 1714974 w 1881147"/>
                <a:gd name="connsiteY70" fmla="*/ 1414834 h 1699001"/>
                <a:gd name="connsiteX71" fmla="*/ 1743343 w 1881147"/>
                <a:gd name="connsiteY71" fmla="*/ 1418129 h 1699001"/>
                <a:gd name="connsiteX72" fmla="*/ 1820935 w 1881147"/>
                <a:gd name="connsiteY72" fmla="*/ 1407521 h 1699001"/>
                <a:gd name="connsiteX73" fmla="*/ 1816054 w 1881147"/>
                <a:gd name="connsiteY73" fmla="*/ 1461085 h 1699001"/>
                <a:gd name="connsiteX74" fmla="*/ 1874221 w 1881147"/>
                <a:gd name="connsiteY74" fmla="*/ 1484406 h 1699001"/>
                <a:gd name="connsiteX75" fmla="*/ 1875829 w 1881147"/>
                <a:gd name="connsiteY75" fmla="*/ 1461772 h 1699001"/>
                <a:gd name="connsiteX76" fmla="*/ 1875051 w 1881147"/>
                <a:gd name="connsiteY76" fmla="*/ 1401038 h 1699001"/>
                <a:gd name="connsiteX77" fmla="*/ 1853086 w 1881147"/>
                <a:gd name="connsiteY77" fmla="*/ 1310895 h 1699001"/>
                <a:gd name="connsiteX78" fmla="*/ 1853086 w 1881147"/>
                <a:gd name="connsiteY78" fmla="*/ 1253745 h 1699001"/>
                <a:gd name="connsiteX79" fmla="*/ 1810224 w 1881147"/>
                <a:gd name="connsiteY79" fmla="*/ 1244220 h 1699001"/>
                <a:gd name="connsiteX80" fmla="*/ 1734024 w 1881147"/>
                <a:gd name="connsiteY80" fmla="*/ 1163257 h 1699001"/>
                <a:gd name="connsiteX81" fmla="*/ 1695924 w 1881147"/>
                <a:gd name="connsiteY81" fmla="*/ 982282 h 1699001"/>
                <a:gd name="connsiteX82" fmla="*/ 1643536 w 1881147"/>
                <a:gd name="connsiteY82" fmla="*/ 948945 h 1699001"/>
                <a:gd name="connsiteX83" fmla="*/ 1605436 w 1881147"/>
                <a:gd name="connsiteY83" fmla="*/ 891795 h 1699001"/>
                <a:gd name="connsiteX84" fmla="*/ 1557811 w 1881147"/>
                <a:gd name="connsiteY84" fmla="*/ 844170 h 1699001"/>
                <a:gd name="connsiteX85" fmla="*/ 1505424 w 1881147"/>
                <a:gd name="connsiteY85" fmla="*/ 825120 h 1699001"/>
                <a:gd name="connsiteX86" fmla="*/ 1453036 w 1881147"/>
                <a:gd name="connsiteY86" fmla="*/ 820357 h 1699001"/>
                <a:gd name="connsiteX87" fmla="*/ 1510186 w 1881147"/>
                <a:gd name="connsiteY87" fmla="*/ 787020 h 1699001"/>
                <a:gd name="connsiteX88" fmla="*/ 1476849 w 1881147"/>
                <a:gd name="connsiteY88" fmla="*/ 753682 h 1699001"/>
                <a:gd name="connsiteX89" fmla="*/ 1481611 w 1881147"/>
                <a:gd name="connsiteY89" fmla="*/ 729870 h 1699001"/>
                <a:gd name="connsiteX90" fmla="*/ 1572099 w 1881147"/>
                <a:gd name="connsiteY90" fmla="*/ 767970 h 1699001"/>
                <a:gd name="connsiteX91" fmla="*/ 1624486 w 1881147"/>
                <a:gd name="connsiteY91" fmla="*/ 701295 h 1699001"/>
                <a:gd name="connsiteX92" fmla="*/ 1622283 w 1881147"/>
                <a:gd name="connsiteY92" fmla="*/ 558420 h 1699001"/>
                <a:gd name="connsiteX93" fmla="*/ 1639486 w 1881147"/>
                <a:gd name="connsiteY93" fmla="*/ 410094 h 1699001"/>
                <a:gd name="connsiteX0" fmla="*/ 1639486 w 1881147"/>
                <a:gd name="connsiteY0" fmla="*/ 410466 h 1699373"/>
                <a:gd name="connsiteX1" fmla="*/ 1567336 w 1881147"/>
                <a:gd name="connsiteY1" fmla="*/ 377817 h 1699373"/>
                <a:gd name="connsiteX2" fmla="*/ 1477087 w 1881147"/>
                <a:gd name="connsiteY2" fmla="*/ 354004 h 1699373"/>
                <a:gd name="connsiteX3" fmla="*/ 1423767 w 1881147"/>
                <a:gd name="connsiteY3" fmla="*/ 276920 h 1699373"/>
                <a:gd name="connsiteX4" fmla="*/ 1395785 w 1881147"/>
                <a:gd name="connsiteY4" fmla="*/ 175075 h 1699373"/>
                <a:gd name="connsiteX5" fmla="*/ 1364769 w 1881147"/>
                <a:gd name="connsiteY5" fmla="*/ 7013 h 1699373"/>
                <a:gd name="connsiteX6" fmla="*/ 1270553 w 1881147"/>
                <a:gd name="connsiteY6" fmla="*/ 41053 h 1699373"/>
                <a:gd name="connsiteX7" fmla="*/ 1244198 w 1881147"/>
                <a:gd name="connsiteY7" fmla="*/ 126810 h 1699373"/>
                <a:gd name="connsiteX8" fmla="*/ 1214911 w 1881147"/>
                <a:gd name="connsiteY8" fmla="*/ 163504 h 1699373"/>
                <a:gd name="connsiteX9" fmla="*/ 1186336 w 1881147"/>
                <a:gd name="connsiteY9" fmla="*/ 192079 h 1699373"/>
                <a:gd name="connsiteX10" fmla="*/ 1176811 w 1881147"/>
                <a:gd name="connsiteY10" fmla="*/ 263517 h 1699373"/>
                <a:gd name="connsiteX11" fmla="*/ 1114899 w 1881147"/>
                <a:gd name="connsiteY11" fmla="*/ 306379 h 1699373"/>
                <a:gd name="connsiteX12" fmla="*/ 1005361 w 1881147"/>
                <a:gd name="connsiteY12" fmla="*/ 320667 h 1699373"/>
                <a:gd name="connsiteX13" fmla="*/ 962499 w 1881147"/>
                <a:gd name="connsiteY13" fmla="*/ 363529 h 1699373"/>
                <a:gd name="connsiteX14" fmla="*/ 838674 w 1881147"/>
                <a:gd name="connsiteY14" fmla="*/ 363529 h 1699373"/>
                <a:gd name="connsiteX15" fmla="*/ 781524 w 1881147"/>
                <a:gd name="connsiteY15" fmla="*/ 434967 h 1699373"/>
                <a:gd name="connsiteX16" fmla="*/ 781524 w 1881147"/>
                <a:gd name="connsiteY16" fmla="*/ 468304 h 1699373"/>
                <a:gd name="connsiteX17" fmla="*/ 743424 w 1881147"/>
                <a:gd name="connsiteY17" fmla="*/ 492117 h 1699373"/>
                <a:gd name="connsiteX18" fmla="*/ 671986 w 1881147"/>
                <a:gd name="connsiteY18" fmla="*/ 425442 h 1699373"/>
                <a:gd name="connsiteX19" fmla="*/ 519586 w 1881147"/>
                <a:gd name="connsiteY19" fmla="*/ 420679 h 1699373"/>
                <a:gd name="connsiteX20" fmla="*/ 457674 w 1881147"/>
                <a:gd name="connsiteY20" fmla="*/ 439729 h 1699373"/>
                <a:gd name="connsiteX21" fmla="*/ 419574 w 1881147"/>
                <a:gd name="connsiteY21" fmla="*/ 425442 h 1699373"/>
                <a:gd name="connsiteX22" fmla="*/ 400524 w 1881147"/>
                <a:gd name="connsiteY22" fmla="*/ 363529 h 1699373"/>
                <a:gd name="connsiteX23" fmla="*/ 333849 w 1881147"/>
                <a:gd name="connsiteY23" fmla="*/ 311142 h 1699373"/>
                <a:gd name="connsiteX24" fmla="*/ 286224 w 1881147"/>
                <a:gd name="connsiteY24" fmla="*/ 244467 h 1699373"/>
                <a:gd name="connsiteX25" fmla="*/ 143349 w 1881147"/>
                <a:gd name="connsiteY25" fmla="*/ 263517 h 1699373"/>
                <a:gd name="connsiteX26" fmla="*/ 124299 w 1881147"/>
                <a:gd name="connsiteY26" fmla="*/ 339717 h 1699373"/>
                <a:gd name="connsiteX27" fmla="*/ 110011 w 1881147"/>
                <a:gd name="connsiteY27" fmla="*/ 373054 h 1699373"/>
                <a:gd name="connsiteX28" fmla="*/ 133824 w 1881147"/>
                <a:gd name="connsiteY28" fmla="*/ 420679 h 1699373"/>
                <a:gd name="connsiteX29" fmla="*/ 81436 w 1881147"/>
                <a:gd name="connsiteY29" fmla="*/ 458779 h 1699373"/>
                <a:gd name="connsiteX30" fmla="*/ 33811 w 1881147"/>
                <a:gd name="connsiteY30" fmla="*/ 454017 h 1699373"/>
                <a:gd name="connsiteX31" fmla="*/ 33811 w 1881147"/>
                <a:gd name="connsiteY31" fmla="*/ 525454 h 1699373"/>
                <a:gd name="connsiteX32" fmla="*/ 474 w 1881147"/>
                <a:gd name="connsiteY32" fmla="*/ 630229 h 1699373"/>
                <a:gd name="connsiteX33" fmla="*/ 62386 w 1881147"/>
                <a:gd name="connsiteY33" fmla="*/ 706429 h 1699373"/>
                <a:gd name="connsiteX34" fmla="*/ 111977 w 1881147"/>
                <a:gd name="connsiteY34" fmla="*/ 686691 h 1699373"/>
                <a:gd name="connsiteX35" fmla="*/ 112334 w 1881147"/>
                <a:gd name="connsiteY35" fmla="*/ 756950 h 1699373"/>
                <a:gd name="connsiteX36" fmla="*/ 167161 w 1881147"/>
                <a:gd name="connsiteY36" fmla="*/ 787392 h 1699373"/>
                <a:gd name="connsiteX37" fmla="*/ 236159 w 1881147"/>
                <a:gd name="connsiteY37" fmla="*/ 797604 h 1699373"/>
                <a:gd name="connsiteX38" fmla="*/ 271462 w 1881147"/>
                <a:gd name="connsiteY38" fmla="*/ 853575 h 1699373"/>
                <a:gd name="connsiteX39" fmla="*/ 270869 w 1881147"/>
                <a:gd name="connsiteY39" fmla="*/ 898647 h 1699373"/>
                <a:gd name="connsiteX40" fmla="*/ 295393 w 1881147"/>
                <a:gd name="connsiteY40" fmla="*/ 938122 h 1699373"/>
                <a:gd name="connsiteX41" fmla="*/ 341051 w 1881147"/>
                <a:gd name="connsiteY41" fmla="*/ 976714 h 1699373"/>
                <a:gd name="connsiteX42" fmla="*/ 426184 w 1881147"/>
                <a:gd name="connsiteY42" fmla="*/ 1030966 h 1699373"/>
                <a:gd name="connsiteX43" fmla="*/ 461961 w 1881147"/>
                <a:gd name="connsiteY43" fmla="*/ 1102059 h 1699373"/>
                <a:gd name="connsiteX44" fmla="*/ 441064 w 1881147"/>
                <a:gd name="connsiteY44" fmla="*/ 1171632 h 1699373"/>
                <a:gd name="connsiteX45" fmla="*/ 519111 w 1881147"/>
                <a:gd name="connsiteY45" fmla="*/ 1228095 h 1699373"/>
                <a:gd name="connsiteX46" fmla="*/ 591143 w 1881147"/>
                <a:gd name="connsiteY46" fmla="*/ 1261089 h 1699373"/>
                <a:gd name="connsiteX47" fmla="*/ 571974 w 1881147"/>
                <a:gd name="connsiteY47" fmla="*/ 1320792 h 1699373"/>
                <a:gd name="connsiteX48" fmla="*/ 662461 w 1881147"/>
                <a:gd name="connsiteY48" fmla="*/ 1473192 h 1699373"/>
                <a:gd name="connsiteX49" fmla="*/ 755271 w 1881147"/>
                <a:gd name="connsiteY49" fmla="*/ 1546346 h 1699373"/>
                <a:gd name="connsiteX50" fmla="*/ 805336 w 1881147"/>
                <a:gd name="connsiteY50" fmla="*/ 1497004 h 1699373"/>
                <a:gd name="connsiteX51" fmla="*/ 869926 w 1881147"/>
                <a:gd name="connsiteY51" fmla="*/ 1524401 h 1699373"/>
                <a:gd name="connsiteX52" fmla="*/ 924399 w 1881147"/>
                <a:gd name="connsiteY52" fmla="*/ 1492242 h 1699373"/>
                <a:gd name="connsiteX53" fmla="*/ 941246 w 1881147"/>
                <a:gd name="connsiteY53" fmla="*/ 1450066 h 1699373"/>
                <a:gd name="connsiteX54" fmla="*/ 1005123 w 1881147"/>
                <a:gd name="connsiteY54" fmla="*/ 1536478 h 1699373"/>
                <a:gd name="connsiteX55" fmla="*/ 1050190 w 1881147"/>
                <a:gd name="connsiteY55" fmla="*/ 1607572 h 1699373"/>
                <a:gd name="connsiteX56" fmla="*/ 1120136 w 1881147"/>
                <a:gd name="connsiteY56" fmla="*/ 1699091 h 1699373"/>
                <a:gd name="connsiteX57" fmla="*/ 1151034 w 1881147"/>
                <a:gd name="connsiteY57" fmla="*/ 1636000 h 1699373"/>
                <a:gd name="connsiteX58" fmla="*/ 1181693 w 1881147"/>
                <a:gd name="connsiteY58" fmla="*/ 1629520 h 1699373"/>
                <a:gd name="connsiteX59" fmla="*/ 1224792 w 1881147"/>
                <a:gd name="connsiteY59" fmla="*/ 1658783 h 1699373"/>
                <a:gd name="connsiteX60" fmla="*/ 1258367 w 1881147"/>
                <a:gd name="connsiteY60" fmla="*/ 1618129 h 1699373"/>
                <a:gd name="connsiteX61" fmla="*/ 1277188 w 1881147"/>
                <a:gd name="connsiteY61" fmla="*/ 1622746 h 1699373"/>
                <a:gd name="connsiteX62" fmla="*/ 1311230 w 1881147"/>
                <a:gd name="connsiteY62" fmla="*/ 1689223 h 1699373"/>
                <a:gd name="connsiteX63" fmla="*/ 1367786 w 1881147"/>
                <a:gd name="connsiteY63" fmla="*/ 1665754 h 1699373"/>
                <a:gd name="connsiteX64" fmla="*/ 1419818 w 1881147"/>
                <a:gd name="connsiteY64" fmla="*/ 1609633 h 1699373"/>
                <a:gd name="connsiteX65" fmla="*/ 1470595 w 1881147"/>
                <a:gd name="connsiteY65" fmla="*/ 1593090 h 1699373"/>
                <a:gd name="connsiteX66" fmla="*/ 1488274 w 1881147"/>
                <a:gd name="connsiteY66" fmla="*/ 1648912 h 1699373"/>
                <a:gd name="connsiteX67" fmla="*/ 1558169 w 1881147"/>
                <a:gd name="connsiteY67" fmla="*/ 1623234 h 1699373"/>
                <a:gd name="connsiteX68" fmla="*/ 1588947 w 1881147"/>
                <a:gd name="connsiteY68" fmla="*/ 1536478 h 1699373"/>
                <a:gd name="connsiteX69" fmla="*/ 1670383 w 1881147"/>
                <a:gd name="connsiteY69" fmla="*/ 1446336 h 1699373"/>
                <a:gd name="connsiteX70" fmla="*/ 1714974 w 1881147"/>
                <a:gd name="connsiteY70" fmla="*/ 1415206 h 1699373"/>
                <a:gd name="connsiteX71" fmla="*/ 1743343 w 1881147"/>
                <a:gd name="connsiteY71" fmla="*/ 1418501 h 1699373"/>
                <a:gd name="connsiteX72" fmla="*/ 1820935 w 1881147"/>
                <a:gd name="connsiteY72" fmla="*/ 1407893 h 1699373"/>
                <a:gd name="connsiteX73" fmla="*/ 1816054 w 1881147"/>
                <a:gd name="connsiteY73" fmla="*/ 1461457 h 1699373"/>
                <a:gd name="connsiteX74" fmla="*/ 1874221 w 1881147"/>
                <a:gd name="connsiteY74" fmla="*/ 1484778 h 1699373"/>
                <a:gd name="connsiteX75" fmla="*/ 1875829 w 1881147"/>
                <a:gd name="connsiteY75" fmla="*/ 1462144 h 1699373"/>
                <a:gd name="connsiteX76" fmla="*/ 1875051 w 1881147"/>
                <a:gd name="connsiteY76" fmla="*/ 1401410 h 1699373"/>
                <a:gd name="connsiteX77" fmla="*/ 1853086 w 1881147"/>
                <a:gd name="connsiteY77" fmla="*/ 1311267 h 1699373"/>
                <a:gd name="connsiteX78" fmla="*/ 1853086 w 1881147"/>
                <a:gd name="connsiteY78" fmla="*/ 1254117 h 1699373"/>
                <a:gd name="connsiteX79" fmla="*/ 1810224 w 1881147"/>
                <a:gd name="connsiteY79" fmla="*/ 1244592 h 1699373"/>
                <a:gd name="connsiteX80" fmla="*/ 1734024 w 1881147"/>
                <a:gd name="connsiteY80" fmla="*/ 1163629 h 1699373"/>
                <a:gd name="connsiteX81" fmla="*/ 1695924 w 1881147"/>
                <a:gd name="connsiteY81" fmla="*/ 982654 h 1699373"/>
                <a:gd name="connsiteX82" fmla="*/ 1643536 w 1881147"/>
                <a:gd name="connsiteY82" fmla="*/ 949317 h 1699373"/>
                <a:gd name="connsiteX83" fmla="*/ 1605436 w 1881147"/>
                <a:gd name="connsiteY83" fmla="*/ 892167 h 1699373"/>
                <a:gd name="connsiteX84" fmla="*/ 1557811 w 1881147"/>
                <a:gd name="connsiteY84" fmla="*/ 844542 h 1699373"/>
                <a:gd name="connsiteX85" fmla="*/ 1505424 w 1881147"/>
                <a:gd name="connsiteY85" fmla="*/ 825492 h 1699373"/>
                <a:gd name="connsiteX86" fmla="*/ 1453036 w 1881147"/>
                <a:gd name="connsiteY86" fmla="*/ 820729 h 1699373"/>
                <a:gd name="connsiteX87" fmla="*/ 1510186 w 1881147"/>
                <a:gd name="connsiteY87" fmla="*/ 787392 h 1699373"/>
                <a:gd name="connsiteX88" fmla="*/ 1476849 w 1881147"/>
                <a:gd name="connsiteY88" fmla="*/ 754054 h 1699373"/>
                <a:gd name="connsiteX89" fmla="*/ 1481611 w 1881147"/>
                <a:gd name="connsiteY89" fmla="*/ 730242 h 1699373"/>
                <a:gd name="connsiteX90" fmla="*/ 1572099 w 1881147"/>
                <a:gd name="connsiteY90" fmla="*/ 768342 h 1699373"/>
                <a:gd name="connsiteX91" fmla="*/ 1624486 w 1881147"/>
                <a:gd name="connsiteY91" fmla="*/ 701667 h 1699373"/>
                <a:gd name="connsiteX92" fmla="*/ 1622283 w 1881147"/>
                <a:gd name="connsiteY92" fmla="*/ 558792 h 1699373"/>
                <a:gd name="connsiteX93" fmla="*/ 1639486 w 1881147"/>
                <a:gd name="connsiteY93" fmla="*/ 410466 h 1699373"/>
                <a:gd name="connsiteX0" fmla="*/ 1639486 w 1881147"/>
                <a:gd name="connsiteY0" fmla="*/ 409992 h 1698899"/>
                <a:gd name="connsiteX1" fmla="*/ 1567336 w 1881147"/>
                <a:gd name="connsiteY1" fmla="*/ 377343 h 1698899"/>
                <a:gd name="connsiteX2" fmla="*/ 1477087 w 1881147"/>
                <a:gd name="connsiteY2" fmla="*/ 353530 h 1698899"/>
                <a:gd name="connsiteX3" fmla="*/ 1423767 w 1881147"/>
                <a:gd name="connsiteY3" fmla="*/ 276446 h 1698899"/>
                <a:gd name="connsiteX4" fmla="*/ 1395785 w 1881147"/>
                <a:gd name="connsiteY4" fmla="*/ 174601 h 1698899"/>
                <a:gd name="connsiteX5" fmla="*/ 1364769 w 1881147"/>
                <a:gd name="connsiteY5" fmla="*/ 6539 h 1698899"/>
                <a:gd name="connsiteX6" fmla="*/ 1282757 w 1881147"/>
                <a:gd name="connsiteY6" fmla="*/ 43131 h 1698899"/>
                <a:gd name="connsiteX7" fmla="*/ 1244198 w 1881147"/>
                <a:gd name="connsiteY7" fmla="*/ 126336 h 1698899"/>
                <a:gd name="connsiteX8" fmla="*/ 1214911 w 1881147"/>
                <a:gd name="connsiteY8" fmla="*/ 163030 h 1698899"/>
                <a:gd name="connsiteX9" fmla="*/ 1186336 w 1881147"/>
                <a:gd name="connsiteY9" fmla="*/ 191605 h 1698899"/>
                <a:gd name="connsiteX10" fmla="*/ 1176811 w 1881147"/>
                <a:gd name="connsiteY10" fmla="*/ 263043 h 1698899"/>
                <a:gd name="connsiteX11" fmla="*/ 1114899 w 1881147"/>
                <a:gd name="connsiteY11" fmla="*/ 305905 h 1698899"/>
                <a:gd name="connsiteX12" fmla="*/ 1005361 w 1881147"/>
                <a:gd name="connsiteY12" fmla="*/ 320193 h 1698899"/>
                <a:gd name="connsiteX13" fmla="*/ 962499 w 1881147"/>
                <a:gd name="connsiteY13" fmla="*/ 363055 h 1698899"/>
                <a:gd name="connsiteX14" fmla="*/ 838674 w 1881147"/>
                <a:gd name="connsiteY14" fmla="*/ 363055 h 1698899"/>
                <a:gd name="connsiteX15" fmla="*/ 781524 w 1881147"/>
                <a:gd name="connsiteY15" fmla="*/ 434493 h 1698899"/>
                <a:gd name="connsiteX16" fmla="*/ 781524 w 1881147"/>
                <a:gd name="connsiteY16" fmla="*/ 467830 h 1698899"/>
                <a:gd name="connsiteX17" fmla="*/ 743424 w 1881147"/>
                <a:gd name="connsiteY17" fmla="*/ 491643 h 1698899"/>
                <a:gd name="connsiteX18" fmla="*/ 671986 w 1881147"/>
                <a:gd name="connsiteY18" fmla="*/ 424968 h 1698899"/>
                <a:gd name="connsiteX19" fmla="*/ 519586 w 1881147"/>
                <a:gd name="connsiteY19" fmla="*/ 420205 h 1698899"/>
                <a:gd name="connsiteX20" fmla="*/ 457674 w 1881147"/>
                <a:gd name="connsiteY20" fmla="*/ 439255 h 1698899"/>
                <a:gd name="connsiteX21" fmla="*/ 419574 w 1881147"/>
                <a:gd name="connsiteY21" fmla="*/ 424968 h 1698899"/>
                <a:gd name="connsiteX22" fmla="*/ 400524 w 1881147"/>
                <a:gd name="connsiteY22" fmla="*/ 363055 h 1698899"/>
                <a:gd name="connsiteX23" fmla="*/ 333849 w 1881147"/>
                <a:gd name="connsiteY23" fmla="*/ 310668 h 1698899"/>
                <a:gd name="connsiteX24" fmla="*/ 286224 w 1881147"/>
                <a:gd name="connsiteY24" fmla="*/ 243993 h 1698899"/>
                <a:gd name="connsiteX25" fmla="*/ 143349 w 1881147"/>
                <a:gd name="connsiteY25" fmla="*/ 263043 h 1698899"/>
                <a:gd name="connsiteX26" fmla="*/ 124299 w 1881147"/>
                <a:gd name="connsiteY26" fmla="*/ 339243 h 1698899"/>
                <a:gd name="connsiteX27" fmla="*/ 110011 w 1881147"/>
                <a:gd name="connsiteY27" fmla="*/ 372580 h 1698899"/>
                <a:gd name="connsiteX28" fmla="*/ 133824 w 1881147"/>
                <a:gd name="connsiteY28" fmla="*/ 420205 h 1698899"/>
                <a:gd name="connsiteX29" fmla="*/ 81436 w 1881147"/>
                <a:gd name="connsiteY29" fmla="*/ 458305 h 1698899"/>
                <a:gd name="connsiteX30" fmla="*/ 33811 w 1881147"/>
                <a:gd name="connsiteY30" fmla="*/ 453543 h 1698899"/>
                <a:gd name="connsiteX31" fmla="*/ 33811 w 1881147"/>
                <a:gd name="connsiteY31" fmla="*/ 524980 h 1698899"/>
                <a:gd name="connsiteX32" fmla="*/ 474 w 1881147"/>
                <a:gd name="connsiteY32" fmla="*/ 629755 h 1698899"/>
                <a:gd name="connsiteX33" fmla="*/ 62386 w 1881147"/>
                <a:gd name="connsiteY33" fmla="*/ 705955 h 1698899"/>
                <a:gd name="connsiteX34" fmla="*/ 111977 w 1881147"/>
                <a:gd name="connsiteY34" fmla="*/ 686217 h 1698899"/>
                <a:gd name="connsiteX35" fmla="*/ 112334 w 1881147"/>
                <a:gd name="connsiteY35" fmla="*/ 756476 h 1698899"/>
                <a:gd name="connsiteX36" fmla="*/ 167161 w 1881147"/>
                <a:gd name="connsiteY36" fmla="*/ 786918 h 1698899"/>
                <a:gd name="connsiteX37" fmla="*/ 236159 w 1881147"/>
                <a:gd name="connsiteY37" fmla="*/ 797130 h 1698899"/>
                <a:gd name="connsiteX38" fmla="*/ 271462 w 1881147"/>
                <a:gd name="connsiteY38" fmla="*/ 853101 h 1698899"/>
                <a:gd name="connsiteX39" fmla="*/ 270869 w 1881147"/>
                <a:gd name="connsiteY39" fmla="*/ 898173 h 1698899"/>
                <a:gd name="connsiteX40" fmla="*/ 295393 w 1881147"/>
                <a:gd name="connsiteY40" fmla="*/ 937648 h 1698899"/>
                <a:gd name="connsiteX41" fmla="*/ 341051 w 1881147"/>
                <a:gd name="connsiteY41" fmla="*/ 976240 h 1698899"/>
                <a:gd name="connsiteX42" fmla="*/ 426184 w 1881147"/>
                <a:gd name="connsiteY42" fmla="*/ 1030492 h 1698899"/>
                <a:gd name="connsiteX43" fmla="*/ 461961 w 1881147"/>
                <a:gd name="connsiteY43" fmla="*/ 1101585 h 1698899"/>
                <a:gd name="connsiteX44" fmla="*/ 441064 w 1881147"/>
                <a:gd name="connsiteY44" fmla="*/ 1171158 h 1698899"/>
                <a:gd name="connsiteX45" fmla="*/ 519111 w 1881147"/>
                <a:gd name="connsiteY45" fmla="*/ 1227621 h 1698899"/>
                <a:gd name="connsiteX46" fmla="*/ 591143 w 1881147"/>
                <a:gd name="connsiteY46" fmla="*/ 1260615 h 1698899"/>
                <a:gd name="connsiteX47" fmla="*/ 571974 w 1881147"/>
                <a:gd name="connsiteY47" fmla="*/ 1320318 h 1698899"/>
                <a:gd name="connsiteX48" fmla="*/ 662461 w 1881147"/>
                <a:gd name="connsiteY48" fmla="*/ 1472718 h 1698899"/>
                <a:gd name="connsiteX49" fmla="*/ 755271 w 1881147"/>
                <a:gd name="connsiteY49" fmla="*/ 1545872 h 1698899"/>
                <a:gd name="connsiteX50" fmla="*/ 805336 w 1881147"/>
                <a:gd name="connsiteY50" fmla="*/ 1496530 h 1698899"/>
                <a:gd name="connsiteX51" fmla="*/ 869926 w 1881147"/>
                <a:gd name="connsiteY51" fmla="*/ 1523927 h 1698899"/>
                <a:gd name="connsiteX52" fmla="*/ 924399 w 1881147"/>
                <a:gd name="connsiteY52" fmla="*/ 1491768 h 1698899"/>
                <a:gd name="connsiteX53" fmla="*/ 941246 w 1881147"/>
                <a:gd name="connsiteY53" fmla="*/ 1449592 h 1698899"/>
                <a:gd name="connsiteX54" fmla="*/ 1005123 w 1881147"/>
                <a:gd name="connsiteY54" fmla="*/ 1536004 h 1698899"/>
                <a:gd name="connsiteX55" fmla="*/ 1050190 w 1881147"/>
                <a:gd name="connsiteY55" fmla="*/ 1607098 h 1698899"/>
                <a:gd name="connsiteX56" fmla="*/ 1120136 w 1881147"/>
                <a:gd name="connsiteY56" fmla="*/ 1698617 h 1698899"/>
                <a:gd name="connsiteX57" fmla="*/ 1151034 w 1881147"/>
                <a:gd name="connsiteY57" fmla="*/ 1635526 h 1698899"/>
                <a:gd name="connsiteX58" fmla="*/ 1181693 w 1881147"/>
                <a:gd name="connsiteY58" fmla="*/ 1629046 h 1698899"/>
                <a:gd name="connsiteX59" fmla="*/ 1224792 w 1881147"/>
                <a:gd name="connsiteY59" fmla="*/ 1658309 h 1698899"/>
                <a:gd name="connsiteX60" fmla="*/ 1258367 w 1881147"/>
                <a:gd name="connsiteY60" fmla="*/ 1617655 h 1698899"/>
                <a:gd name="connsiteX61" fmla="*/ 1277188 w 1881147"/>
                <a:gd name="connsiteY61" fmla="*/ 1622272 h 1698899"/>
                <a:gd name="connsiteX62" fmla="*/ 1311230 w 1881147"/>
                <a:gd name="connsiteY62" fmla="*/ 1688749 h 1698899"/>
                <a:gd name="connsiteX63" fmla="*/ 1367786 w 1881147"/>
                <a:gd name="connsiteY63" fmla="*/ 1665280 h 1698899"/>
                <a:gd name="connsiteX64" fmla="*/ 1419818 w 1881147"/>
                <a:gd name="connsiteY64" fmla="*/ 1609159 h 1698899"/>
                <a:gd name="connsiteX65" fmla="*/ 1470595 w 1881147"/>
                <a:gd name="connsiteY65" fmla="*/ 1592616 h 1698899"/>
                <a:gd name="connsiteX66" fmla="*/ 1488274 w 1881147"/>
                <a:gd name="connsiteY66" fmla="*/ 1648438 h 1698899"/>
                <a:gd name="connsiteX67" fmla="*/ 1558169 w 1881147"/>
                <a:gd name="connsiteY67" fmla="*/ 1622760 h 1698899"/>
                <a:gd name="connsiteX68" fmla="*/ 1588947 w 1881147"/>
                <a:gd name="connsiteY68" fmla="*/ 1536004 h 1698899"/>
                <a:gd name="connsiteX69" fmla="*/ 1670383 w 1881147"/>
                <a:gd name="connsiteY69" fmla="*/ 1445862 h 1698899"/>
                <a:gd name="connsiteX70" fmla="*/ 1714974 w 1881147"/>
                <a:gd name="connsiteY70" fmla="*/ 1414732 h 1698899"/>
                <a:gd name="connsiteX71" fmla="*/ 1743343 w 1881147"/>
                <a:gd name="connsiteY71" fmla="*/ 1418027 h 1698899"/>
                <a:gd name="connsiteX72" fmla="*/ 1820935 w 1881147"/>
                <a:gd name="connsiteY72" fmla="*/ 1407419 h 1698899"/>
                <a:gd name="connsiteX73" fmla="*/ 1816054 w 1881147"/>
                <a:gd name="connsiteY73" fmla="*/ 1460983 h 1698899"/>
                <a:gd name="connsiteX74" fmla="*/ 1874221 w 1881147"/>
                <a:gd name="connsiteY74" fmla="*/ 1484304 h 1698899"/>
                <a:gd name="connsiteX75" fmla="*/ 1875829 w 1881147"/>
                <a:gd name="connsiteY75" fmla="*/ 1461670 h 1698899"/>
                <a:gd name="connsiteX76" fmla="*/ 1875051 w 1881147"/>
                <a:gd name="connsiteY76" fmla="*/ 1400936 h 1698899"/>
                <a:gd name="connsiteX77" fmla="*/ 1853086 w 1881147"/>
                <a:gd name="connsiteY77" fmla="*/ 1310793 h 1698899"/>
                <a:gd name="connsiteX78" fmla="*/ 1853086 w 1881147"/>
                <a:gd name="connsiteY78" fmla="*/ 1253643 h 1698899"/>
                <a:gd name="connsiteX79" fmla="*/ 1810224 w 1881147"/>
                <a:gd name="connsiteY79" fmla="*/ 1244118 h 1698899"/>
                <a:gd name="connsiteX80" fmla="*/ 1734024 w 1881147"/>
                <a:gd name="connsiteY80" fmla="*/ 1163155 h 1698899"/>
                <a:gd name="connsiteX81" fmla="*/ 1695924 w 1881147"/>
                <a:gd name="connsiteY81" fmla="*/ 982180 h 1698899"/>
                <a:gd name="connsiteX82" fmla="*/ 1643536 w 1881147"/>
                <a:gd name="connsiteY82" fmla="*/ 948843 h 1698899"/>
                <a:gd name="connsiteX83" fmla="*/ 1605436 w 1881147"/>
                <a:gd name="connsiteY83" fmla="*/ 891693 h 1698899"/>
                <a:gd name="connsiteX84" fmla="*/ 1557811 w 1881147"/>
                <a:gd name="connsiteY84" fmla="*/ 844068 h 1698899"/>
                <a:gd name="connsiteX85" fmla="*/ 1505424 w 1881147"/>
                <a:gd name="connsiteY85" fmla="*/ 825018 h 1698899"/>
                <a:gd name="connsiteX86" fmla="*/ 1453036 w 1881147"/>
                <a:gd name="connsiteY86" fmla="*/ 820255 h 1698899"/>
                <a:gd name="connsiteX87" fmla="*/ 1510186 w 1881147"/>
                <a:gd name="connsiteY87" fmla="*/ 786918 h 1698899"/>
                <a:gd name="connsiteX88" fmla="*/ 1476849 w 1881147"/>
                <a:gd name="connsiteY88" fmla="*/ 753580 h 1698899"/>
                <a:gd name="connsiteX89" fmla="*/ 1481611 w 1881147"/>
                <a:gd name="connsiteY89" fmla="*/ 729768 h 1698899"/>
                <a:gd name="connsiteX90" fmla="*/ 1572099 w 1881147"/>
                <a:gd name="connsiteY90" fmla="*/ 767868 h 1698899"/>
                <a:gd name="connsiteX91" fmla="*/ 1624486 w 1881147"/>
                <a:gd name="connsiteY91" fmla="*/ 701193 h 1698899"/>
                <a:gd name="connsiteX92" fmla="*/ 1622283 w 1881147"/>
                <a:gd name="connsiteY92" fmla="*/ 558318 h 1698899"/>
                <a:gd name="connsiteX93" fmla="*/ 1639486 w 1881147"/>
                <a:gd name="connsiteY93" fmla="*/ 409992 h 1698899"/>
                <a:gd name="connsiteX0" fmla="*/ 1639486 w 1881147"/>
                <a:gd name="connsiteY0" fmla="*/ 410565 h 1699472"/>
                <a:gd name="connsiteX1" fmla="*/ 1567336 w 1881147"/>
                <a:gd name="connsiteY1" fmla="*/ 377916 h 1699472"/>
                <a:gd name="connsiteX2" fmla="*/ 1477087 w 1881147"/>
                <a:gd name="connsiteY2" fmla="*/ 354103 h 1699472"/>
                <a:gd name="connsiteX3" fmla="*/ 1423767 w 1881147"/>
                <a:gd name="connsiteY3" fmla="*/ 277019 h 1699472"/>
                <a:gd name="connsiteX4" fmla="*/ 1395785 w 1881147"/>
                <a:gd name="connsiteY4" fmla="*/ 175174 h 1699472"/>
                <a:gd name="connsiteX5" fmla="*/ 1364769 w 1881147"/>
                <a:gd name="connsiteY5" fmla="*/ 7112 h 1699472"/>
                <a:gd name="connsiteX6" fmla="*/ 1282757 w 1881147"/>
                <a:gd name="connsiteY6" fmla="*/ 43704 h 1699472"/>
                <a:gd name="connsiteX7" fmla="*/ 1275927 w 1881147"/>
                <a:gd name="connsiteY7" fmla="*/ 157546 h 1699472"/>
                <a:gd name="connsiteX8" fmla="*/ 1214911 w 1881147"/>
                <a:gd name="connsiteY8" fmla="*/ 163603 h 1699472"/>
                <a:gd name="connsiteX9" fmla="*/ 1186336 w 1881147"/>
                <a:gd name="connsiteY9" fmla="*/ 192178 h 1699472"/>
                <a:gd name="connsiteX10" fmla="*/ 1176811 w 1881147"/>
                <a:gd name="connsiteY10" fmla="*/ 263616 h 1699472"/>
                <a:gd name="connsiteX11" fmla="*/ 1114899 w 1881147"/>
                <a:gd name="connsiteY11" fmla="*/ 306478 h 1699472"/>
                <a:gd name="connsiteX12" fmla="*/ 1005361 w 1881147"/>
                <a:gd name="connsiteY12" fmla="*/ 320766 h 1699472"/>
                <a:gd name="connsiteX13" fmla="*/ 962499 w 1881147"/>
                <a:gd name="connsiteY13" fmla="*/ 363628 h 1699472"/>
                <a:gd name="connsiteX14" fmla="*/ 838674 w 1881147"/>
                <a:gd name="connsiteY14" fmla="*/ 363628 h 1699472"/>
                <a:gd name="connsiteX15" fmla="*/ 781524 w 1881147"/>
                <a:gd name="connsiteY15" fmla="*/ 435066 h 1699472"/>
                <a:gd name="connsiteX16" fmla="*/ 781524 w 1881147"/>
                <a:gd name="connsiteY16" fmla="*/ 468403 h 1699472"/>
                <a:gd name="connsiteX17" fmla="*/ 743424 w 1881147"/>
                <a:gd name="connsiteY17" fmla="*/ 492216 h 1699472"/>
                <a:gd name="connsiteX18" fmla="*/ 671986 w 1881147"/>
                <a:gd name="connsiteY18" fmla="*/ 425541 h 1699472"/>
                <a:gd name="connsiteX19" fmla="*/ 519586 w 1881147"/>
                <a:gd name="connsiteY19" fmla="*/ 420778 h 1699472"/>
                <a:gd name="connsiteX20" fmla="*/ 457674 w 1881147"/>
                <a:gd name="connsiteY20" fmla="*/ 439828 h 1699472"/>
                <a:gd name="connsiteX21" fmla="*/ 419574 w 1881147"/>
                <a:gd name="connsiteY21" fmla="*/ 425541 h 1699472"/>
                <a:gd name="connsiteX22" fmla="*/ 400524 w 1881147"/>
                <a:gd name="connsiteY22" fmla="*/ 363628 h 1699472"/>
                <a:gd name="connsiteX23" fmla="*/ 333849 w 1881147"/>
                <a:gd name="connsiteY23" fmla="*/ 311241 h 1699472"/>
                <a:gd name="connsiteX24" fmla="*/ 286224 w 1881147"/>
                <a:gd name="connsiteY24" fmla="*/ 244566 h 1699472"/>
                <a:gd name="connsiteX25" fmla="*/ 143349 w 1881147"/>
                <a:gd name="connsiteY25" fmla="*/ 263616 h 1699472"/>
                <a:gd name="connsiteX26" fmla="*/ 124299 w 1881147"/>
                <a:gd name="connsiteY26" fmla="*/ 339816 h 1699472"/>
                <a:gd name="connsiteX27" fmla="*/ 110011 w 1881147"/>
                <a:gd name="connsiteY27" fmla="*/ 373153 h 1699472"/>
                <a:gd name="connsiteX28" fmla="*/ 133824 w 1881147"/>
                <a:gd name="connsiteY28" fmla="*/ 420778 h 1699472"/>
                <a:gd name="connsiteX29" fmla="*/ 81436 w 1881147"/>
                <a:gd name="connsiteY29" fmla="*/ 458878 h 1699472"/>
                <a:gd name="connsiteX30" fmla="*/ 33811 w 1881147"/>
                <a:gd name="connsiteY30" fmla="*/ 454116 h 1699472"/>
                <a:gd name="connsiteX31" fmla="*/ 33811 w 1881147"/>
                <a:gd name="connsiteY31" fmla="*/ 525553 h 1699472"/>
                <a:gd name="connsiteX32" fmla="*/ 474 w 1881147"/>
                <a:gd name="connsiteY32" fmla="*/ 630328 h 1699472"/>
                <a:gd name="connsiteX33" fmla="*/ 62386 w 1881147"/>
                <a:gd name="connsiteY33" fmla="*/ 706528 h 1699472"/>
                <a:gd name="connsiteX34" fmla="*/ 111977 w 1881147"/>
                <a:gd name="connsiteY34" fmla="*/ 686790 h 1699472"/>
                <a:gd name="connsiteX35" fmla="*/ 112334 w 1881147"/>
                <a:gd name="connsiteY35" fmla="*/ 757049 h 1699472"/>
                <a:gd name="connsiteX36" fmla="*/ 167161 w 1881147"/>
                <a:gd name="connsiteY36" fmla="*/ 787491 h 1699472"/>
                <a:gd name="connsiteX37" fmla="*/ 236159 w 1881147"/>
                <a:gd name="connsiteY37" fmla="*/ 797703 h 1699472"/>
                <a:gd name="connsiteX38" fmla="*/ 271462 w 1881147"/>
                <a:gd name="connsiteY38" fmla="*/ 853674 h 1699472"/>
                <a:gd name="connsiteX39" fmla="*/ 270869 w 1881147"/>
                <a:gd name="connsiteY39" fmla="*/ 898746 h 1699472"/>
                <a:gd name="connsiteX40" fmla="*/ 295393 w 1881147"/>
                <a:gd name="connsiteY40" fmla="*/ 938221 h 1699472"/>
                <a:gd name="connsiteX41" fmla="*/ 341051 w 1881147"/>
                <a:gd name="connsiteY41" fmla="*/ 976813 h 1699472"/>
                <a:gd name="connsiteX42" fmla="*/ 426184 w 1881147"/>
                <a:gd name="connsiteY42" fmla="*/ 1031065 h 1699472"/>
                <a:gd name="connsiteX43" fmla="*/ 461961 w 1881147"/>
                <a:gd name="connsiteY43" fmla="*/ 1102158 h 1699472"/>
                <a:gd name="connsiteX44" fmla="*/ 441064 w 1881147"/>
                <a:gd name="connsiteY44" fmla="*/ 1171731 h 1699472"/>
                <a:gd name="connsiteX45" fmla="*/ 519111 w 1881147"/>
                <a:gd name="connsiteY45" fmla="*/ 1228194 h 1699472"/>
                <a:gd name="connsiteX46" fmla="*/ 591143 w 1881147"/>
                <a:gd name="connsiteY46" fmla="*/ 1261188 h 1699472"/>
                <a:gd name="connsiteX47" fmla="*/ 571974 w 1881147"/>
                <a:gd name="connsiteY47" fmla="*/ 1320891 h 1699472"/>
                <a:gd name="connsiteX48" fmla="*/ 662461 w 1881147"/>
                <a:gd name="connsiteY48" fmla="*/ 1473291 h 1699472"/>
                <a:gd name="connsiteX49" fmla="*/ 755271 w 1881147"/>
                <a:gd name="connsiteY49" fmla="*/ 1546445 h 1699472"/>
                <a:gd name="connsiteX50" fmla="*/ 805336 w 1881147"/>
                <a:gd name="connsiteY50" fmla="*/ 1497103 h 1699472"/>
                <a:gd name="connsiteX51" fmla="*/ 869926 w 1881147"/>
                <a:gd name="connsiteY51" fmla="*/ 1524500 h 1699472"/>
                <a:gd name="connsiteX52" fmla="*/ 924399 w 1881147"/>
                <a:gd name="connsiteY52" fmla="*/ 1492341 h 1699472"/>
                <a:gd name="connsiteX53" fmla="*/ 941246 w 1881147"/>
                <a:gd name="connsiteY53" fmla="*/ 1450165 h 1699472"/>
                <a:gd name="connsiteX54" fmla="*/ 1005123 w 1881147"/>
                <a:gd name="connsiteY54" fmla="*/ 1536577 h 1699472"/>
                <a:gd name="connsiteX55" fmla="*/ 1050190 w 1881147"/>
                <a:gd name="connsiteY55" fmla="*/ 1607671 h 1699472"/>
                <a:gd name="connsiteX56" fmla="*/ 1120136 w 1881147"/>
                <a:gd name="connsiteY56" fmla="*/ 1699190 h 1699472"/>
                <a:gd name="connsiteX57" fmla="*/ 1151034 w 1881147"/>
                <a:gd name="connsiteY57" fmla="*/ 1636099 h 1699472"/>
                <a:gd name="connsiteX58" fmla="*/ 1181693 w 1881147"/>
                <a:gd name="connsiteY58" fmla="*/ 1629619 h 1699472"/>
                <a:gd name="connsiteX59" fmla="*/ 1224792 w 1881147"/>
                <a:gd name="connsiteY59" fmla="*/ 1658882 h 1699472"/>
                <a:gd name="connsiteX60" fmla="*/ 1258367 w 1881147"/>
                <a:gd name="connsiteY60" fmla="*/ 1618228 h 1699472"/>
                <a:gd name="connsiteX61" fmla="*/ 1277188 w 1881147"/>
                <a:gd name="connsiteY61" fmla="*/ 1622845 h 1699472"/>
                <a:gd name="connsiteX62" fmla="*/ 1311230 w 1881147"/>
                <a:gd name="connsiteY62" fmla="*/ 1689322 h 1699472"/>
                <a:gd name="connsiteX63" fmla="*/ 1367786 w 1881147"/>
                <a:gd name="connsiteY63" fmla="*/ 1665853 h 1699472"/>
                <a:gd name="connsiteX64" fmla="*/ 1419818 w 1881147"/>
                <a:gd name="connsiteY64" fmla="*/ 1609732 h 1699472"/>
                <a:gd name="connsiteX65" fmla="*/ 1470595 w 1881147"/>
                <a:gd name="connsiteY65" fmla="*/ 1593189 h 1699472"/>
                <a:gd name="connsiteX66" fmla="*/ 1488274 w 1881147"/>
                <a:gd name="connsiteY66" fmla="*/ 1649011 h 1699472"/>
                <a:gd name="connsiteX67" fmla="*/ 1558169 w 1881147"/>
                <a:gd name="connsiteY67" fmla="*/ 1623333 h 1699472"/>
                <a:gd name="connsiteX68" fmla="*/ 1588947 w 1881147"/>
                <a:gd name="connsiteY68" fmla="*/ 1536577 h 1699472"/>
                <a:gd name="connsiteX69" fmla="*/ 1670383 w 1881147"/>
                <a:gd name="connsiteY69" fmla="*/ 1446435 h 1699472"/>
                <a:gd name="connsiteX70" fmla="*/ 1714974 w 1881147"/>
                <a:gd name="connsiteY70" fmla="*/ 1415305 h 1699472"/>
                <a:gd name="connsiteX71" fmla="*/ 1743343 w 1881147"/>
                <a:gd name="connsiteY71" fmla="*/ 1418600 h 1699472"/>
                <a:gd name="connsiteX72" fmla="*/ 1820935 w 1881147"/>
                <a:gd name="connsiteY72" fmla="*/ 1407992 h 1699472"/>
                <a:gd name="connsiteX73" fmla="*/ 1816054 w 1881147"/>
                <a:gd name="connsiteY73" fmla="*/ 1461556 h 1699472"/>
                <a:gd name="connsiteX74" fmla="*/ 1874221 w 1881147"/>
                <a:gd name="connsiteY74" fmla="*/ 1484877 h 1699472"/>
                <a:gd name="connsiteX75" fmla="*/ 1875829 w 1881147"/>
                <a:gd name="connsiteY75" fmla="*/ 1462243 h 1699472"/>
                <a:gd name="connsiteX76" fmla="*/ 1875051 w 1881147"/>
                <a:gd name="connsiteY76" fmla="*/ 1401509 h 1699472"/>
                <a:gd name="connsiteX77" fmla="*/ 1853086 w 1881147"/>
                <a:gd name="connsiteY77" fmla="*/ 1311366 h 1699472"/>
                <a:gd name="connsiteX78" fmla="*/ 1853086 w 1881147"/>
                <a:gd name="connsiteY78" fmla="*/ 1254216 h 1699472"/>
                <a:gd name="connsiteX79" fmla="*/ 1810224 w 1881147"/>
                <a:gd name="connsiteY79" fmla="*/ 1244691 h 1699472"/>
                <a:gd name="connsiteX80" fmla="*/ 1734024 w 1881147"/>
                <a:gd name="connsiteY80" fmla="*/ 1163728 h 1699472"/>
                <a:gd name="connsiteX81" fmla="*/ 1695924 w 1881147"/>
                <a:gd name="connsiteY81" fmla="*/ 982753 h 1699472"/>
                <a:gd name="connsiteX82" fmla="*/ 1643536 w 1881147"/>
                <a:gd name="connsiteY82" fmla="*/ 949416 h 1699472"/>
                <a:gd name="connsiteX83" fmla="*/ 1605436 w 1881147"/>
                <a:gd name="connsiteY83" fmla="*/ 892266 h 1699472"/>
                <a:gd name="connsiteX84" fmla="*/ 1557811 w 1881147"/>
                <a:gd name="connsiteY84" fmla="*/ 844641 h 1699472"/>
                <a:gd name="connsiteX85" fmla="*/ 1505424 w 1881147"/>
                <a:gd name="connsiteY85" fmla="*/ 825591 h 1699472"/>
                <a:gd name="connsiteX86" fmla="*/ 1453036 w 1881147"/>
                <a:gd name="connsiteY86" fmla="*/ 820828 h 1699472"/>
                <a:gd name="connsiteX87" fmla="*/ 1510186 w 1881147"/>
                <a:gd name="connsiteY87" fmla="*/ 787491 h 1699472"/>
                <a:gd name="connsiteX88" fmla="*/ 1476849 w 1881147"/>
                <a:gd name="connsiteY88" fmla="*/ 754153 h 1699472"/>
                <a:gd name="connsiteX89" fmla="*/ 1481611 w 1881147"/>
                <a:gd name="connsiteY89" fmla="*/ 730341 h 1699472"/>
                <a:gd name="connsiteX90" fmla="*/ 1572099 w 1881147"/>
                <a:gd name="connsiteY90" fmla="*/ 768441 h 1699472"/>
                <a:gd name="connsiteX91" fmla="*/ 1624486 w 1881147"/>
                <a:gd name="connsiteY91" fmla="*/ 701766 h 1699472"/>
                <a:gd name="connsiteX92" fmla="*/ 1622283 w 1881147"/>
                <a:gd name="connsiteY92" fmla="*/ 558891 h 1699472"/>
                <a:gd name="connsiteX93" fmla="*/ 1639486 w 1881147"/>
                <a:gd name="connsiteY93" fmla="*/ 410565 h 1699472"/>
                <a:gd name="connsiteX0" fmla="*/ 1639486 w 1881147"/>
                <a:gd name="connsiteY0" fmla="*/ 408922 h 1697829"/>
                <a:gd name="connsiteX1" fmla="*/ 1567336 w 1881147"/>
                <a:gd name="connsiteY1" fmla="*/ 376273 h 1697829"/>
                <a:gd name="connsiteX2" fmla="*/ 1477087 w 1881147"/>
                <a:gd name="connsiteY2" fmla="*/ 352460 h 1697829"/>
                <a:gd name="connsiteX3" fmla="*/ 1423767 w 1881147"/>
                <a:gd name="connsiteY3" fmla="*/ 275376 h 1697829"/>
                <a:gd name="connsiteX4" fmla="*/ 1395785 w 1881147"/>
                <a:gd name="connsiteY4" fmla="*/ 173531 h 1697829"/>
                <a:gd name="connsiteX5" fmla="*/ 1364769 w 1881147"/>
                <a:gd name="connsiteY5" fmla="*/ 5469 h 1697829"/>
                <a:gd name="connsiteX6" fmla="*/ 1282757 w 1881147"/>
                <a:gd name="connsiteY6" fmla="*/ 42061 h 1697829"/>
                <a:gd name="connsiteX7" fmla="*/ 1294272 w 1881147"/>
                <a:gd name="connsiteY7" fmla="*/ 53629 h 1697829"/>
                <a:gd name="connsiteX8" fmla="*/ 1275927 w 1881147"/>
                <a:gd name="connsiteY8" fmla="*/ 155903 h 1697829"/>
                <a:gd name="connsiteX9" fmla="*/ 1214911 w 1881147"/>
                <a:gd name="connsiteY9" fmla="*/ 161960 h 1697829"/>
                <a:gd name="connsiteX10" fmla="*/ 1186336 w 1881147"/>
                <a:gd name="connsiteY10" fmla="*/ 190535 h 1697829"/>
                <a:gd name="connsiteX11" fmla="*/ 1176811 w 1881147"/>
                <a:gd name="connsiteY11" fmla="*/ 261973 h 1697829"/>
                <a:gd name="connsiteX12" fmla="*/ 1114899 w 1881147"/>
                <a:gd name="connsiteY12" fmla="*/ 304835 h 1697829"/>
                <a:gd name="connsiteX13" fmla="*/ 1005361 w 1881147"/>
                <a:gd name="connsiteY13" fmla="*/ 319123 h 1697829"/>
                <a:gd name="connsiteX14" fmla="*/ 962499 w 1881147"/>
                <a:gd name="connsiteY14" fmla="*/ 361985 h 1697829"/>
                <a:gd name="connsiteX15" fmla="*/ 838674 w 1881147"/>
                <a:gd name="connsiteY15" fmla="*/ 361985 h 1697829"/>
                <a:gd name="connsiteX16" fmla="*/ 781524 w 1881147"/>
                <a:gd name="connsiteY16" fmla="*/ 433423 h 1697829"/>
                <a:gd name="connsiteX17" fmla="*/ 781524 w 1881147"/>
                <a:gd name="connsiteY17" fmla="*/ 466760 h 1697829"/>
                <a:gd name="connsiteX18" fmla="*/ 743424 w 1881147"/>
                <a:gd name="connsiteY18" fmla="*/ 490573 h 1697829"/>
                <a:gd name="connsiteX19" fmla="*/ 671986 w 1881147"/>
                <a:gd name="connsiteY19" fmla="*/ 423898 h 1697829"/>
                <a:gd name="connsiteX20" fmla="*/ 519586 w 1881147"/>
                <a:gd name="connsiteY20" fmla="*/ 419135 h 1697829"/>
                <a:gd name="connsiteX21" fmla="*/ 457674 w 1881147"/>
                <a:gd name="connsiteY21" fmla="*/ 438185 h 1697829"/>
                <a:gd name="connsiteX22" fmla="*/ 419574 w 1881147"/>
                <a:gd name="connsiteY22" fmla="*/ 423898 h 1697829"/>
                <a:gd name="connsiteX23" fmla="*/ 400524 w 1881147"/>
                <a:gd name="connsiteY23" fmla="*/ 361985 h 1697829"/>
                <a:gd name="connsiteX24" fmla="*/ 333849 w 1881147"/>
                <a:gd name="connsiteY24" fmla="*/ 309598 h 1697829"/>
                <a:gd name="connsiteX25" fmla="*/ 286224 w 1881147"/>
                <a:gd name="connsiteY25" fmla="*/ 242923 h 1697829"/>
                <a:gd name="connsiteX26" fmla="*/ 143349 w 1881147"/>
                <a:gd name="connsiteY26" fmla="*/ 261973 h 1697829"/>
                <a:gd name="connsiteX27" fmla="*/ 124299 w 1881147"/>
                <a:gd name="connsiteY27" fmla="*/ 338173 h 1697829"/>
                <a:gd name="connsiteX28" fmla="*/ 110011 w 1881147"/>
                <a:gd name="connsiteY28" fmla="*/ 371510 h 1697829"/>
                <a:gd name="connsiteX29" fmla="*/ 133824 w 1881147"/>
                <a:gd name="connsiteY29" fmla="*/ 419135 h 1697829"/>
                <a:gd name="connsiteX30" fmla="*/ 81436 w 1881147"/>
                <a:gd name="connsiteY30" fmla="*/ 457235 h 1697829"/>
                <a:gd name="connsiteX31" fmla="*/ 33811 w 1881147"/>
                <a:gd name="connsiteY31" fmla="*/ 452473 h 1697829"/>
                <a:gd name="connsiteX32" fmla="*/ 33811 w 1881147"/>
                <a:gd name="connsiteY32" fmla="*/ 523910 h 1697829"/>
                <a:gd name="connsiteX33" fmla="*/ 474 w 1881147"/>
                <a:gd name="connsiteY33" fmla="*/ 628685 h 1697829"/>
                <a:gd name="connsiteX34" fmla="*/ 62386 w 1881147"/>
                <a:gd name="connsiteY34" fmla="*/ 704885 h 1697829"/>
                <a:gd name="connsiteX35" fmla="*/ 111977 w 1881147"/>
                <a:gd name="connsiteY35" fmla="*/ 685147 h 1697829"/>
                <a:gd name="connsiteX36" fmla="*/ 112334 w 1881147"/>
                <a:gd name="connsiteY36" fmla="*/ 755406 h 1697829"/>
                <a:gd name="connsiteX37" fmla="*/ 167161 w 1881147"/>
                <a:gd name="connsiteY37" fmla="*/ 785848 h 1697829"/>
                <a:gd name="connsiteX38" fmla="*/ 236159 w 1881147"/>
                <a:gd name="connsiteY38" fmla="*/ 796060 h 1697829"/>
                <a:gd name="connsiteX39" fmla="*/ 271462 w 1881147"/>
                <a:gd name="connsiteY39" fmla="*/ 852031 h 1697829"/>
                <a:gd name="connsiteX40" fmla="*/ 270869 w 1881147"/>
                <a:gd name="connsiteY40" fmla="*/ 897103 h 1697829"/>
                <a:gd name="connsiteX41" fmla="*/ 295393 w 1881147"/>
                <a:gd name="connsiteY41" fmla="*/ 936578 h 1697829"/>
                <a:gd name="connsiteX42" fmla="*/ 341051 w 1881147"/>
                <a:gd name="connsiteY42" fmla="*/ 975170 h 1697829"/>
                <a:gd name="connsiteX43" fmla="*/ 426184 w 1881147"/>
                <a:gd name="connsiteY43" fmla="*/ 1029422 h 1697829"/>
                <a:gd name="connsiteX44" fmla="*/ 461961 w 1881147"/>
                <a:gd name="connsiteY44" fmla="*/ 1100515 h 1697829"/>
                <a:gd name="connsiteX45" fmla="*/ 441064 w 1881147"/>
                <a:gd name="connsiteY45" fmla="*/ 1170088 h 1697829"/>
                <a:gd name="connsiteX46" fmla="*/ 519111 w 1881147"/>
                <a:gd name="connsiteY46" fmla="*/ 1226551 h 1697829"/>
                <a:gd name="connsiteX47" fmla="*/ 591143 w 1881147"/>
                <a:gd name="connsiteY47" fmla="*/ 1259545 h 1697829"/>
                <a:gd name="connsiteX48" fmla="*/ 571974 w 1881147"/>
                <a:gd name="connsiteY48" fmla="*/ 1319248 h 1697829"/>
                <a:gd name="connsiteX49" fmla="*/ 662461 w 1881147"/>
                <a:gd name="connsiteY49" fmla="*/ 1471648 h 1697829"/>
                <a:gd name="connsiteX50" fmla="*/ 755271 w 1881147"/>
                <a:gd name="connsiteY50" fmla="*/ 1544802 h 1697829"/>
                <a:gd name="connsiteX51" fmla="*/ 805336 w 1881147"/>
                <a:gd name="connsiteY51" fmla="*/ 1495460 h 1697829"/>
                <a:gd name="connsiteX52" fmla="*/ 869926 w 1881147"/>
                <a:gd name="connsiteY52" fmla="*/ 1522857 h 1697829"/>
                <a:gd name="connsiteX53" fmla="*/ 924399 w 1881147"/>
                <a:gd name="connsiteY53" fmla="*/ 1490698 h 1697829"/>
                <a:gd name="connsiteX54" fmla="*/ 941246 w 1881147"/>
                <a:gd name="connsiteY54" fmla="*/ 1448522 h 1697829"/>
                <a:gd name="connsiteX55" fmla="*/ 1005123 w 1881147"/>
                <a:gd name="connsiteY55" fmla="*/ 1534934 h 1697829"/>
                <a:gd name="connsiteX56" fmla="*/ 1050190 w 1881147"/>
                <a:gd name="connsiteY56" fmla="*/ 1606028 h 1697829"/>
                <a:gd name="connsiteX57" fmla="*/ 1120136 w 1881147"/>
                <a:gd name="connsiteY57" fmla="*/ 1697547 h 1697829"/>
                <a:gd name="connsiteX58" fmla="*/ 1151034 w 1881147"/>
                <a:gd name="connsiteY58" fmla="*/ 1634456 h 1697829"/>
                <a:gd name="connsiteX59" fmla="*/ 1181693 w 1881147"/>
                <a:gd name="connsiteY59" fmla="*/ 1627976 h 1697829"/>
                <a:gd name="connsiteX60" fmla="*/ 1224792 w 1881147"/>
                <a:gd name="connsiteY60" fmla="*/ 1657239 h 1697829"/>
                <a:gd name="connsiteX61" fmla="*/ 1258367 w 1881147"/>
                <a:gd name="connsiteY61" fmla="*/ 1616585 h 1697829"/>
                <a:gd name="connsiteX62" fmla="*/ 1277188 w 1881147"/>
                <a:gd name="connsiteY62" fmla="*/ 1621202 h 1697829"/>
                <a:gd name="connsiteX63" fmla="*/ 1311230 w 1881147"/>
                <a:gd name="connsiteY63" fmla="*/ 1687679 h 1697829"/>
                <a:gd name="connsiteX64" fmla="*/ 1367786 w 1881147"/>
                <a:gd name="connsiteY64" fmla="*/ 1664210 h 1697829"/>
                <a:gd name="connsiteX65" fmla="*/ 1419818 w 1881147"/>
                <a:gd name="connsiteY65" fmla="*/ 1608089 h 1697829"/>
                <a:gd name="connsiteX66" fmla="*/ 1470595 w 1881147"/>
                <a:gd name="connsiteY66" fmla="*/ 1591546 h 1697829"/>
                <a:gd name="connsiteX67" fmla="*/ 1488274 w 1881147"/>
                <a:gd name="connsiteY67" fmla="*/ 1647368 h 1697829"/>
                <a:gd name="connsiteX68" fmla="*/ 1558169 w 1881147"/>
                <a:gd name="connsiteY68" fmla="*/ 1621690 h 1697829"/>
                <a:gd name="connsiteX69" fmla="*/ 1588947 w 1881147"/>
                <a:gd name="connsiteY69" fmla="*/ 1534934 h 1697829"/>
                <a:gd name="connsiteX70" fmla="*/ 1670383 w 1881147"/>
                <a:gd name="connsiteY70" fmla="*/ 1444792 h 1697829"/>
                <a:gd name="connsiteX71" fmla="*/ 1714974 w 1881147"/>
                <a:gd name="connsiteY71" fmla="*/ 1413662 h 1697829"/>
                <a:gd name="connsiteX72" fmla="*/ 1743343 w 1881147"/>
                <a:gd name="connsiteY72" fmla="*/ 1416957 h 1697829"/>
                <a:gd name="connsiteX73" fmla="*/ 1820935 w 1881147"/>
                <a:gd name="connsiteY73" fmla="*/ 1406349 h 1697829"/>
                <a:gd name="connsiteX74" fmla="*/ 1816054 w 1881147"/>
                <a:gd name="connsiteY74" fmla="*/ 1459913 h 1697829"/>
                <a:gd name="connsiteX75" fmla="*/ 1874221 w 1881147"/>
                <a:gd name="connsiteY75" fmla="*/ 1483234 h 1697829"/>
                <a:gd name="connsiteX76" fmla="*/ 1875829 w 1881147"/>
                <a:gd name="connsiteY76" fmla="*/ 1460600 h 1697829"/>
                <a:gd name="connsiteX77" fmla="*/ 1875051 w 1881147"/>
                <a:gd name="connsiteY77" fmla="*/ 1399866 h 1697829"/>
                <a:gd name="connsiteX78" fmla="*/ 1853086 w 1881147"/>
                <a:gd name="connsiteY78" fmla="*/ 1309723 h 1697829"/>
                <a:gd name="connsiteX79" fmla="*/ 1853086 w 1881147"/>
                <a:gd name="connsiteY79" fmla="*/ 1252573 h 1697829"/>
                <a:gd name="connsiteX80" fmla="*/ 1810224 w 1881147"/>
                <a:gd name="connsiteY80" fmla="*/ 1243048 h 1697829"/>
                <a:gd name="connsiteX81" fmla="*/ 1734024 w 1881147"/>
                <a:gd name="connsiteY81" fmla="*/ 1162085 h 1697829"/>
                <a:gd name="connsiteX82" fmla="*/ 1695924 w 1881147"/>
                <a:gd name="connsiteY82" fmla="*/ 981110 h 1697829"/>
                <a:gd name="connsiteX83" fmla="*/ 1643536 w 1881147"/>
                <a:gd name="connsiteY83" fmla="*/ 947773 h 1697829"/>
                <a:gd name="connsiteX84" fmla="*/ 1605436 w 1881147"/>
                <a:gd name="connsiteY84" fmla="*/ 890623 h 1697829"/>
                <a:gd name="connsiteX85" fmla="*/ 1557811 w 1881147"/>
                <a:gd name="connsiteY85" fmla="*/ 842998 h 1697829"/>
                <a:gd name="connsiteX86" fmla="*/ 1505424 w 1881147"/>
                <a:gd name="connsiteY86" fmla="*/ 823948 h 1697829"/>
                <a:gd name="connsiteX87" fmla="*/ 1453036 w 1881147"/>
                <a:gd name="connsiteY87" fmla="*/ 819185 h 1697829"/>
                <a:gd name="connsiteX88" fmla="*/ 1510186 w 1881147"/>
                <a:gd name="connsiteY88" fmla="*/ 785848 h 1697829"/>
                <a:gd name="connsiteX89" fmla="*/ 1476849 w 1881147"/>
                <a:gd name="connsiteY89" fmla="*/ 752510 h 1697829"/>
                <a:gd name="connsiteX90" fmla="*/ 1481611 w 1881147"/>
                <a:gd name="connsiteY90" fmla="*/ 728698 h 1697829"/>
                <a:gd name="connsiteX91" fmla="*/ 1572099 w 1881147"/>
                <a:gd name="connsiteY91" fmla="*/ 766798 h 1697829"/>
                <a:gd name="connsiteX92" fmla="*/ 1624486 w 1881147"/>
                <a:gd name="connsiteY92" fmla="*/ 700123 h 1697829"/>
                <a:gd name="connsiteX93" fmla="*/ 1622283 w 1881147"/>
                <a:gd name="connsiteY93" fmla="*/ 557248 h 1697829"/>
                <a:gd name="connsiteX94" fmla="*/ 1639486 w 1881147"/>
                <a:gd name="connsiteY94" fmla="*/ 408922 h 1697829"/>
                <a:gd name="connsiteX0" fmla="*/ 1639486 w 1881147"/>
                <a:gd name="connsiteY0" fmla="*/ 408922 h 1697829"/>
                <a:gd name="connsiteX1" fmla="*/ 1567336 w 1881147"/>
                <a:gd name="connsiteY1" fmla="*/ 376273 h 1697829"/>
                <a:gd name="connsiteX2" fmla="*/ 1477087 w 1881147"/>
                <a:gd name="connsiteY2" fmla="*/ 352460 h 1697829"/>
                <a:gd name="connsiteX3" fmla="*/ 1423767 w 1881147"/>
                <a:gd name="connsiteY3" fmla="*/ 275376 h 1697829"/>
                <a:gd name="connsiteX4" fmla="*/ 1395785 w 1881147"/>
                <a:gd name="connsiteY4" fmla="*/ 173531 h 1697829"/>
                <a:gd name="connsiteX5" fmla="*/ 1364769 w 1881147"/>
                <a:gd name="connsiteY5" fmla="*/ 5469 h 1697829"/>
                <a:gd name="connsiteX6" fmla="*/ 1282757 w 1881147"/>
                <a:gd name="connsiteY6" fmla="*/ 42061 h 1697829"/>
                <a:gd name="connsiteX7" fmla="*/ 1294272 w 1881147"/>
                <a:gd name="connsiteY7" fmla="*/ 53629 h 1697829"/>
                <a:gd name="connsiteX8" fmla="*/ 1275927 w 1881147"/>
                <a:gd name="connsiteY8" fmla="*/ 155903 h 1697829"/>
                <a:gd name="connsiteX9" fmla="*/ 1214911 w 1881147"/>
                <a:gd name="connsiteY9" fmla="*/ 161960 h 1697829"/>
                <a:gd name="connsiteX10" fmla="*/ 1186336 w 1881147"/>
                <a:gd name="connsiteY10" fmla="*/ 190535 h 1697829"/>
                <a:gd name="connsiteX11" fmla="*/ 1176811 w 1881147"/>
                <a:gd name="connsiteY11" fmla="*/ 261973 h 1697829"/>
                <a:gd name="connsiteX12" fmla="*/ 1114899 w 1881147"/>
                <a:gd name="connsiteY12" fmla="*/ 304835 h 1697829"/>
                <a:gd name="connsiteX13" fmla="*/ 1005361 w 1881147"/>
                <a:gd name="connsiteY13" fmla="*/ 319123 h 1697829"/>
                <a:gd name="connsiteX14" fmla="*/ 962499 w 1881147"/>
                <a:gd name="connsiteY14" fmla="*/ 361985 h 1697829"/>
                <a:gd name="connsiteX15" fmla="*/ 838674 w 1881147"/>
                <a:gd name="connsiteY15" fmla="*/ 361985 h 1697829"/>
                <a:gd name="connsiteX16" fmla="*/ 781524 w 1881147"/>
                <a:gd name="connsiteY16" fmla="*/ 433423 h 1697829"/>
                <a:gd name="connsiteX17" fmla="*/ 781524 w 1881147"/>
                <a:gd name="connsiteY17" fmla="*/ 466760 h 1697829"/>
                <a:gd name="connsiteX18" fmla="*/ 743424 w 1881147"/>
                <a:gd name="connsiteY18" fmla="*/ 490573 h 1697829"/>
                <a:gd name="connsiteX19" fmla="*/ 671986 w 1881147"/>
                <a:gd name="connsiteY19" fmla="*/ 423898 h 1697829"/>
                <a:gd name="connsiteX20" fmla="*/ 519586 w 1881147"/>
                <a:gd name="connsiteY20" fmla="*/ 419135 h 1697829"/>
                <a:gd name="connsiteX21" fmla="*/ 457674 w 1881147"/>
                <a:gd name="connsiteY21" fmla="*/ 438185 h 1697829"/>
                <a:gd name="connsiteX22" fmla="*/ 419574 w 1881147"/>
                <a:gd name="connsiteY22" fmla="*/ 423898 h 1697829"/>
                <a:gd name="connsiteX23" fmla="*/ 400524 w 1881147"/>
                <a:gd name="connsiteY23" fmla="*/ 361985 h 1697829"/>
                <a:gd name="connsiteX24" fmla="*/ 333849 w 1881147"/>
                <a:gd name="connsiteY24" fmla="*/ 309598 h 1697829"/>
                <a:gd name="connsiteX25" fmla="*/ 286224 w 1881147"/>
                <a:gd name="connsiteY25" fmla="*/ 242923 h 1697829"/>
                <a:gd name="connsiteX26" fmla="*/ 143349 w 1881147"/>
                <a:gd name="connsiteY26" fmla="*/ 261973 h 1697829"/>
                <a:gd name="connsiteX27" fmla="*/ 124299 w 1881147"/>
                <a:gd name="connsiteY27" fmla="*/ 338173 h 1697829"/>
                <a:gd name="connsiteX28" fmla="*/ 110011 w 1881147"/>
                <a:gd name="connsiteY28" fmla="*/ 371510 h 1697829"/>
                <a:gd name="connsiteX29" fmla="*/ 133824 w 1881147"/>
                <a:gd name="connsiteY29" fmla="*/ 419135 h 1697829"/>
                <a:gd name="connsiteX30" fmla="*/ 81436 w 1881147"/>
                <a:gd name="connsiteY30" fmla="*/ 457235 h 1697829"/>
                <a:gd name="connsiteX31" fmla="*/ 33811 w 1881147"/>
                <a:gd name="connsiteY31" fmla="*/ 452473 h 1697829"/>
                <a:gd name="connsiteX32" fmla="*/ 33811 w 1881147"/>
                <a:gd name="connsiteY32" fmla="*/ 523910 h 1697829"/>
                <a:gd name="connsiteX33" fmla="*/ 474 w 1881147"/>
                <a:gd name="connsiteY33" fmla="*/ 628685 h 1697829"/>
                <a:gd name="connsiteX34" fmla="*/ 62386 w 1881147"/>
                <a:gd name="connsiteY34" fmla="*/ 704885 h 1697829"/>
                <a:gd name="connsiteX35" fmla="*/ 111977 w 1881147"/>
                <a:gd name="connsiteY35" fmla="*/ 685147 h 1697829"/>
                <a:gd name="connsiteX36" fmla="*/ 112334 w 1881147"/>
                <a:gd name="connsiteY36" fmla="*/ 755406 h 1697829"/>
                <a:gd name="connsiteX37" fmla="*/ 167161 w 1881147"/>
                <a:gd name="connsiteY37" fmla="*/ 785848 h 1697829"/>
                <a:gd name="connsiteX38" fmla="*/ 236159 w 1881147"/>
                <a:gd name="connsiteY38" fmla="*/ 796060 h 1697829"/>
                <a:gd name="connsiteX39" fmla="*/ 271462 w 1881147"/>
                <a:gd name="connsiteY39" fmla="*/ 852031 h 1697829"/>
                <a:gd name="connsiteX40" fmla="*/ 270869 w 1881147"/>
                <a:gd name="connsiteY40" fmla="*/ 897103 h 1697829"/>
                <a:gd name="connsiteX41" fmla="*/ 295393 w 1881147"/>
                <a:gd name="connsiteY41" fmla="*/ 936578 h 1697829"/>
                <a:gd name="connsiteX42" fmla="*/ 341051 w 1881147"/>
                <a:gd name="connsiteY42" fmla="*/ 975170 h 1697829"/>
                <a:gd name="connsiteX43" fmla="*/ 426184 w 1881147"/>
                <a:gd name="connsiteY43" fmla="*/ 1029422 h 1697829"/>
                <a:gd name="connsiteX44" fmla="*/ 461961 w 1881147"/>
                <a:gd name="connsiteY44" fmla="*/ 1100515 h 1697829"/>
                <a:gd name="connsiteX45" fmla="*/ 441064 w 1881147"/>
                <a:gd name="connsiteY45" fmla="*/ 1170088 h 1697829"/>
                <a:gd name="connsiteX46" fmla="*/ 519111 w 1881147"/>
                <a:gd name="connsiteY46" fmla="*/ 1226551 h 1697829"/>
                <a:gd name="connsiteX47" fmla="*/ 591143 w 1881147"/>
                <a:gd name="connsiteY47" fmla="*/ 1259545 h 1697829"/>
                <a:gd name="connsiteX48" fmla="*/ 571974 w 1881147"/>
                <a:gd name="connsiteY48" fmla="*/ 1319248 h 1697829"/>
                <a:gd name="connsiteX49" fmla="*/ 662461 w 1881147"/>
                <a:gd name="connsiteY49" fmla="*/ 1471648 h 1697829"/>
                <a:gd name="connsiteX50" fmla="*/ 755271 w 1881147"/>
                <a:gd name="connsiteY50" fmla="*/ 1544802 h 1697829"/>
                <a:gd name="connsiteX51" fmla="*/ 805336 w 1881147"/>
                <a:gd name="connsiteY51" fmla="*/ 1495460 h 1697829"/>
                <a:gd name="connsiteX52" fmla="*/ 869926 w 1881147"/>
                <a:gd name="connsiteY52" fmla="*/ 1522857 h 1697829"/>
                <a:gd name="connsiteX53" fmla="*/ 924399 w 1881147"/>
                <a:gd name="connsiteY53" fmla="*/ 1490698 h 1697829"/>
                <a:gd name="connsiteX54" fmla="*/ 941246 w 1881147"/>
                <a:gd name="connsiteY54" fmla="*/ 1448522 h 1697829"/>
                <a:gd name="connsiteX55" fmla="*/ 1005123 w 1881147"/>
                <a:gd name="connsiteY55" fmla="*/ 1534934 h 1697829"/>
                <a:gd name="connsiteX56" fmla="*/ 1050190 w 1881147"/>
                <a:gd name="connsiteY56" fmla="*/ 1606028 h 1697829"/>
                <a:gd name="connsiteX57" fmla="*/ 1120136 w 1881147"/>
                <a:gd name="connsiteY57" fmla="*/ 1697547 h 1697829"/>
                <a:gd name="connsiteX58" fmla="*/ 1151034 w 1881147"/>
                <a:gd name="connsiteY58" fmla="*/ 1634456 h 1697829"/>
                <a:gd name="connsiteX59" fmla="*/ 1181693 w 1881147"/>
                <a:gd name="connsiteY59" fmla="*/ 1627976 h 1697829"/>
                <a:gd name="connsiteX60" fmla="*/ 1224792 w 1881147"/>
                <a:gd name="connsiteY60" fmla="*/ 1657239 h 1697829"/>
                <a:gd name="connsiteX61" fmla="*/ 1258367 w 1881147"/>
                <a:gd name="connsiteY61" fmla="*/ 1616585 h 1697829"/>
                <a:gd name="connsiteX62" fmla="*/ 1277188 w 1881147"/>
                <a:gd name="connsiteY62" fmla="*/ 1621202 h 1697829"/>
                <a:gd name="connsiteX63" fmla="*/ 1311230 w 1881147"/>
                <a:gd name="connsiteY63" fmla="*/ 1687679 h 1697829"/>
                <a:gd name="connsiteX64" fmla="*/ 1367786 w 1881147"/>
                <a:gd name="connsiteY64" fmla="*/ 1664210 h 1697829"/>
                <a:gd name="connsiteX65" fmla="*/ 1419818 w 1881147"/>
                <a:gd name="connsiteY65" fmla="*/ 1608089 h 1697829"/>
                <a:gd name="connsiteX66" fmla="*/ 1470595 w 1881147"/>
                <a:gd name="connsiteY66" fmla="*/ 1591546 h 1697829"/>
                <a:gd name="connsiteX67" fmla="*/ 1488274 w 1881147"/>
                <a:gd name="connsiteY67" fmla="*/ 1647368 h 1697829"/>
                <a:gd name="connsiteX68" fmla="*/ 1558169 w 1881147"/>
                <a:gd name="connsiteY68" fmla="*/ 1621690 h 1697829"/>
                <a:gd name="connsiteX69" fmla="*/ 1588947 w 1881147"/>
                <a:gd name="connsiteY69" fmla="*/ 1534934 h 1697829"/>
                <a:gd name="connsiteX70" fmla="*/ 1670383 w 1881147"/>
                <a:gd name="connsiteY70" fmla="*/ 1444792 h 1697829"/>
                <a:gd name="connsiteX71" fmla="*/ 1714974 w 1881147"/>
                <a:gd name="connsiteY71" fmla="*/ 1413662 h 1697829"/>
                <a:gd name="connsiteX72" fmla="*/ 1743343 w 1881147"/>
                <a:gd name="connsiteY72" fmla="*/ 1416957 h 1697829"/>
                <a:gd name="connsiteX73" fmla="*/ 1820935 w 1881147"/>
                <a:gd name="connsiteY73" fmla="*/ 1406349 h 1697829"/>
                <a:gd name="connsiteX74" fmla="*/ 1816054 w 1881147"/>
                <a:gd name="connsiteY74" fmla="*/ 1459913 h 1697829"/>
                <a:gd name="connsiteX75" fmla="*/ 1874221 w 1881147"/>
                <a:gd name="connsiteY75" fmla="*/ 1483234 h 1697829"/>
                <a:gd name="connsiteX76" fmla="*/ 1875829 w 1881147"/>
                <a:gd name="connsiteY76" fmla="*/ 1460600 h 1697829"/>
                <a:gd name="connsiteX77" fmla="*/ 1875051 w 1881147"/>
                <a:gd name="connsiteY77" fmla="*/ 1399866 h 1697829"/>
                <a:gd name="connsiteX78" fmla="*/ 1853086 w 1881147"/>
                <a:gd name="connsiteY78" fmla="*/ 1309723 h 1697829"/>
                <a:gd name="connsiteX79" fmla="*/ 1853086 w 1881147"/>
                <a:gd name="connsiteY79" fmla="*/ 1252573 h 1697829"/>
                <a:gd name="connsiteX80" fmla="*/ 1810224 w 1881147"/>
                <a:gd name="connsiteY80" fmla="*/ 1243048 h 1697829"/>
                <a:gd name="connsiteX81" fmla="*/ 1734024 w 1881147"/>
                <a:gd name="connsiteY81" fmla="*/ 1162085 h 1697829"/>
                <a:gd name="connsiteX82" fmla="*/ 1695924 w 1881147"/>
                <a:gd name="connsiteY82" fmla="*/ 981110 h 1697829"/>
                <a:gd name="connsiteX83" fmla="*/ 1643536 w 1881147"/>
                <a:gd name="connsiteY83" fmla="*/ 947773 h 1697829"/>
                <a:gd name="connsiteX84" fmla="*/ 1605436 w 1881147"/>
                <a:gd name="connsiteY84" fmla="*/ 890623 h 1697829"/>
                <a:gd name="connsiteX85" fmla="*/ 1557811 w 1881147"/>
                <a:gd name="connsiteY85" fmla="*/ 842998 h 1697829"/>
                <a:gd name="connsiteX86" fmla="*/ 1505424 w 1881147"/>
                <a:gd name="connsiteY86" fmla="*/ 823948 h 1697829"/>
                <a:gd name="connsiteX87" fmla="*/ 1453036 w 1881147"/>
                <a:gd name="connsiteY87" fmla="*/ 819185 h 1697829"/>
                <a:gd name="connsiteX88" fmla="*/ 1510186 w 1881147"/>
                <a:gd name="connsiteY88" fmla="*/ 785848 h 1697829"/>
                <a:gd name="connsiteX89" fmla="*/ 1476849 w 1881147"/>
                <a:gd name="connsiteY89" fmla="*/ 752510 h 1697829"/>
                <a:gd name="connsiteX90" fmla="*/ 1481611 w 1881147"/>
                <a:gd name="connsiteY90" fmla="*/ 728698 h 1697829"/>
                <a:gd name="connsiteX91" fmla="*/ 1572099 w 1881147"/>
                <a:gd name="connsiteY91" fmla="*/ 766798 h 1697829"/>
                <a:gd name="connsiteX92" fmla="*/ 1624486 w 1881147"/>
                <a:gd name="connsiteY92" fmla="*/ 700123 h 1697829"/>
                <a:gd name="connsiteX93" fmla="*/ 1622283 w 1881147"/>
                <a:gd name="connsiteY93" fmla="*/ 557248 h 1697829"/>
                <a:gd name="connsiteX94" fmla="*/ 1639486 w 1881147"/>
                <a:gd name="connsiteY94" fmla="*/ 408922 h 1697829"/>
                <a:gd name="connsiteX0" fmla="*/ 1639486 w 1881147"/>
                <a:gd name="connsiteY0" fmla="*/ 409649 h 1698556"/>
                <a:gd name="connsiteX1" fmla="*/ 1567336 w 1881147"/>
                <a:gd name="connsiteY1" fmla="*/ 377000 h 1698556"/>
                <a:gd name="connsiteX2" fmla="*/ 1477087 w 1881147"/>
                <a:gd name="connsiteY2" fmla="*/ 353187 h 1698556"/>
                <a:gd name="connsiteX3" fmla="*/ 1423767 w 1881147"/>
                <a:gd name="connsiteY3" fmla="*/ 276103 h 1698556"/>
                <a:gd name="connsiteX4" fmla="*/ 1395785 w 1881147"/>
                <a:gd name="connsiteY4" fmla="*/ 174258 h 1698556"/>
                <a:gd name="connsiteX5" fmla="*/ 1364769 w 1881147"/>
                <a:gd name="connsiteY5" fmla="*/ 6196 h 1698556"/>
                <a:gd name="connsiteX6" fmla="*/ 1282757 w 1881147"/>
                <a:gd name="connsiteY6" fmla="*/ 42788 h 1698556"/>
                <a:gd name="connsiteX7" fmla="*/ 1291832 w 1881147"/>
                <a:gd name="connsiteY7" fmla="*/ 105417 h 1698556"/>
                <a:gd name="connsiteX8" fmla="*/ 1275927 w 1881147"/>
                <a:gd name="connsiteY8" fmla="*/ 156630 h 1698556"/>
                <a:gd name="connsiteX9" fmla="*/ 1214911 w 1881147"/>
                <a:gd name="connsiteY9" fmla="*/ 162687 h 1698556"/>
                <a:gd name="connsiteX10" fmla="*/ 1186336 w 1881147"/>
                <a:gd name="connsiteY10" fmla="*/ 191262 h 1698556"/>
                <a:gd name="connsiteX11" fmla="*/ 1176811 w 1881147"/>
                <a:gd name="connsiteY11" fmla="*/ 262700 h 1698556"/>
                <a:gd name="connsiteX12" fmla="*/ 1114899 w 1881147"/>
                <a:gd name="connsiteY12" fmla="*/ 305562 h 1698556"/>
                <a:gd name="connsiteX13" fmla="*/ 1005361 w 1881147"/>
                <a:gd name="connsiteY13" fmla="*/ 319850 h 1698556"/>
                <a:gd name="connsiteX14" fmla="*/ 962499 w 1881147"/>
                <a:gd name="connsiteY14" fmla="*/ 362712 h 1698556"/>
                <a:gd name="connsiteX15" fmla="*/ 838674 w 1881147"/>
                <a:gd name="connsiteY15" fmla="*/ 362712 h 1698556"/>
                <a:gd name="connsiteX16" fmla="*/ 781524 w 1881147"/>
                <a:gd name="connsiteY16" fmla="*/ 434150 h 1698556"/>
                <a:gd name="connsiteX17" fmla="*/ 781524 w 1881147"/>
                <a:gd name="connsiteY17" fmla="*/ 467487 h 1698556"/>
                <a:gd name="connsiteX18" fmla="*/ 743424 w 1881147"/>
                <a:gd name="connsiteY18" fmla="*/ 491300 h 1698556"/>
                <a:gd name="connsiteX19" fmla="*/ 671986 w 1881147"/>
                <a:gd name="connsiteY19" fmla="*/ 424625 h 1698556"/>
                <a:gd name="connsiteX20" fmla="*/ 519586 w 1881147"/>
                <a:gd name="connsiteY20" fmla="*/ 419862 h 1698556"/>
                <a:gd name="connsiteX21" fmla="*/ 457674 w 1881147"/>
                <a:gd name="connsiteY21" fmla="*/ 438912 h 1698556"/>
                <a:gd name="connsiteX22" fmla="*/ 419574 w 1881147"/>
                <a:gd name="connsiteY22" fmla="*/ 424625 h 1698556"/>
                <a:gd name="connsiteX23" fmla="*/ 400524 w 1881147"/>
                <a:gd name="connsiteY23" fmla="*/ 362712 h 1698556"/>
                <a:gd name="connsiteX24" fmla="*/ 333849 w 1881147"/>
                <a:gd name="connsiteY24" fmla="*/ 310325 h 1698556"/>
                <a:gd name="connsiteX25" fmla="*/ 286224 w 1881147"/>
                <a:gd name="connsiteY25" fmla="*/ 243650 h 1698556"/>
                <a:gd name="connsiteX26" fmla="*/ 143349 w 1881147"/>
                <a:gd name="connsiteY26" fmla="*/ 262700 h 1698556"/>
                <a:gd name="connsiteX27" fmla="*/ 124299 w 1881147"/>
                <a:gd name="connsiteY27" fmla="*/ 338900 h 1698556"/>
                <a:gd name="connsiteX28" fmla="*/ 110011 w 1881147"/>
                <a:gd name="connsiteY28" fmla="*/ 372237 h 1698556"/>
                <a:gd name="connsiteX29" fmla="*/ 133824 w 1881147"/>
                <a:gd name="connsiteY29" fmla="*/ 419862 h 1698556"/>
                <a:gd name="connsiteX30" fmla="*/ 81436 w 1881147"/>
                <a:gd name="connsiteY30" fmla="*/ 457962 h 1698556"/>
                <a:gd name="connsiteX31" fmla="*/ 33811 w 1881147"/>
                <a:gd name="connsiteY31" fmla="*/ 453200 h 1698556"/>
                <a:gd name="connsiteX32" fmla="*/ 33811 w 1881147"/>
                <a:gd name="connsiteY32" fmla="*/ 524637 h 1698556"/>
                <a:gd name="connsiteX33" fmla="*/ 474 w 1881147"/>
                <a:gd name="connsiteY33" fmla="*/ 629412 h 1698556"/>
                <a:gd name="connsiteX34" fmla="*/ 62386 w 1881147"/>
                <a:gd name="connsiteY34" fmla="*/ 705612 h 1698556"/>
                <a:gd name="connsiteX35" fmla="*/ 111977 w 1881147"/>
                <a:gd name="connsiteY35" fmla="*/ 685874 h 1698556"/>
                <a:gd name="connsiteX36" fmla="*/ 112334 w 1881147"/>
                <a:gd name="connsiteY36" fmla="*/ 756133 h 1698556"/>
                <a:gd name="connsiteX37" fmla="*/ 167161 w 1881147"/>
                <a:gd name="connsiteY37" fmla="*/ 786575 h 1698556"/>
                <a:gd name="connsiteX38" fmla="*/ 236159 w 1881147"/>
                <a:gd name="connsiteY38" fmla="*/ 796787 h 1698556"/>
                <a:gd name="connsiteX39" fmla="*/ 271462 w 1881147"/>
                <a:gd name="connsiteY39" fmla="*/ 852758 h 1698556"/>
                <a:gd name="connsiteX40" fmla="*/ 270869 w 1881147"/>
                <a:gd name="connsiteY40" fmla="*/ 897830 h 1698556"/>
                <a:gd name="connsiteX41" fmla="*/ 295393 w 1881147"/>
                <a:gd name="connsiteY41" fmla="*/ 937305 h 1698556"/>
                <a:gd name="connsiteX42" fmla="*/ 341051 w 1881147"/>
                <a:gd name="connsiteY42" fmla="*/ 975897 h 1698556"/>
                <a:gd name="connsiteX43" fmla="*/ 426184 w 1881147"/>
                <a:gd name="connsiteY43" fmla="*/ 1030149 h 1698556"/>
                <a:gd name="connsiteX44" fmla="*/ 461961 w 1881147"/>
                <a:gd name="connsiteY44" fmla="*/ 1101242 h 1698556"/>
                <a:gd name="connsiteX45" fmla="*/ 441064 w 1881147"/>
                <a:gd name="connsiteY45" fmla="*/ 1170815 h 1698556"/>
                <a:gd name="connsiteX46" fmla="*/ 519111 w 1881147"/>
                <a:gd name="connsiteY46" fmla="*/ 1227278 h 1698556"/>
                <a:gd name="connsiteX47" fmla="*/ 591143 w 1881147"/>
                <a:gd name="connsiteY47" fmla="*/ 1260272 h 1698556"/>
                <a:gd name="connsiteX48" fmla="*/ 571974 w 1881147"/>
                <a:gd name="connsiteY48" fmla="*/ 1319975 h 1698556"/>
                <a:gd name="connsiteX49" fmla="*/ 662461 w 1881147"/>
                <a:gd name="connsiteY49" fmla="*/ 1472375 h 1698556"/>
                <a:gd name="connsiteX50" fmla="*/ 755271 w 1881147"/>
                <a:gd name="connsiteY50" fmla="*/ 1545529 h 1698556"/>
                <a:gd name="connsiteX51" fmla="*/ 805336 w 1881147"/>
                <a:gd name="connsiteY51" fmla="*/ 1496187 h 1698556"/>
                <a:gd name="connsiteX52" fmla="*/ 869926 w 1881147"/>
                <a:gd name="connsiteY52" fmla="*/ 1523584 h 1698556"/>
                <a:gd name="connsiteX53" fmla="*/ 924399 w 1881147"/>
                <a:gd name="connsiteY53" fmla="*/ 1491425 h 1698556"/>
                <a:gd name="connsiteX54" fmla="*/ 941246 w 1881147"/>
                <a:gd name="connsiteY54" fmla="*/ 1449249 h 1698556"/>
                <a:gd name="connsiteX55" fmla="*/ 1005123 w 1881147"/>
                <a:gd name="connsiteY55" fmla="*/ 1535661 h 1698556"/>
                <a:gd name="connsiteX56" fmla="*/ 1050190 w 1881147"/>
                <a:gd name="connsiteY56" fmla="*/ 1606755 h 1698556"/>
                <a:gd name="connsiteX57" fmla="*/ 1120136 w 1881147"/>
                <a:gd name="connsiteY57" fmla="*/ 1698274 h 1698556"/>
                <a:gd name="connsiteX58" fmla="*/ 1151034 w 1881147"/>
                <a:gd name="connsiteY58" fmla="*/ 1635183 h 1698556"/>
                <a:gd name="connsiteX59" fmla="*/ 1181693 w 1881147"/>
                <a:gd name="connsiteY59" fmla="*/ 1628703 h 1698556"/>
                <a:gd name="connsiteX60" fmla="*/ 1224792 w 1881147"/>
                <a:gd name="connsiteY60" fmla="*/ 1657966 h 1698556"/>
                <a:gd name="connsiteX61" fmla="*/ 1258367 w 1881147"/>
                <a:gd name="connsiteY61" fmla="*/ 1617312 h 1698556"/>
                <a:gd name="connsiteX62" fmla="*/ 1277188 w 1881147"/>
                <a:gd name="connsiteY62" fmla="*/ 1621929 h 1698556"/>
                <a:gd name="connsiteX63" fmla="*/ 1311230 w 1881147"/>
                <a:gd name="connsiteY63" fmla="*/ 1688406 h 1698556"/>
                <a:gd name="connsiteX64" fmla="*/ 1367786 w 1881147"/>
                <a:gd name="connsiteY64" fmla="*/ 1664937 h 1698556"/>
                <a:gd name="connsiteX65" fmla="*/ 1419818 w 1881147"/>
                <a:gd name="connsiteY65" fmla="*/ 1608816 h 1698556"/>
                <a:gd name="connsiteX66" fmla="*/ 1470595 w 1881147"/>
                <a:gd name="connsiteY66" fmla="*/ 1592273 h 1698556"/>
                <a:gd name="connsiteX67" fmla="*/ 1488274 w 1881147"/>
                <a:gd name="connsiteY67" fmla="*/ 1648095 h 1698556"/>
                <a:gd name="connsiteX68" fmla="*/ 1558169 w 1881147"/>
                <a:gd name="connsiteY68" fmla="*/ 1622417 h 1698556"/>
                <a:gd name="connsiteX69" fmla="*/ 1588947 w 1881147"/>
                <a:gd name="connsiteY69" fmla="*/ 1535661 h 1698556"/>
                <a:gd name="connsiteX70" fmla="*/ 1670383 w 1881147"/>
                <a:gd name="connsiteY70" fmla="*/ 1445519 h 1698556"/>
                <a:gd name="connsiteX71" fmla="*/ 1714974 w 1881147"/>
                <a:gd name="connsiteY71" fmla="*/ 1414389 h 1698556"/>
                <a:gd name="connsiteX72" fmla="*/ 1743343 w 1881147"/>
                <a:gd name="connsiteY72" fmla="*/ 1417684 h 1698556"/>
                <a:gd name="connsiteX73" fmla="*/ 1820935 w 1881147"/>
                <a:gd name="connsiteY73" fmla="*/ 1407076 h 1698556"/>
                <a:gd name="connsiteX74" fmla="*/ 1816054 w 1881147"/>
                <a:gd name="connsiteY74" fmla="*/ 1460640 h 1698556"/>
                <a:gd name="connsiteX75" fmla="*/ 1874221 w 1881147"/>
                <a:gd name="connsiteY75" fmla="*/ 1483961 h 1698556"/>
                <a:gd name="connsiteX76" fmla="*/ 1875829 w 1881147"/>
                <a:gd name="connsiteY76" fmla="*/ 1461327 h 1698556"/>
                <a:gd name="connsiteX77" fmla="*/ 1875051 w 1881147"/>
                <a:gd name="connsiteY77" fmla="*/ 1400593 h 1698556"/>
                <a:gd name="connsiteX78" fmla="*/ 1853086 w 1881147"/>
                <a:gd name="connsiteY78" fmla="*/ 1310450 h 1698556"/>
                <a:gd name="connsiteX79" fmla="*/ 1853086 w 1881147"/>
                <a:gd name="connsiteY79" fmla="*/ 1253300 h 1698556"/>
                <a:gd name="connsiteX80" fmla="*/ 1810224 w 1881147"/>
                <a:gd name="connsiteY80" fmla="*/ 1243775 h 1698556"/>
                <a:gd name="connsiteX81" fmla="*/ 1734024 w 1881147"/>
                <a:gd name="connsiteY81" fmla="*/ 1162812 h 1698556"/>
                <a:gd name="connsiteX82" fmla="*/ 1695924 w 1881147"/>
                <a:gd name="connsiteY82" fmla="*/ 981837 h 1698556"/>
                <a:gd name="connsiteX83" fmla="*/ 1643536 w 1881147"/>
                <a:gd name="connsiteY83" fmla="*/ 948500 h 1698556"/>
                <a:gd name="connsiteX84" fmla="*/ 1605436 w 1881147"/>
                <a:gd name="connsiteY84" fmla="*/ 891350 h 1698556"/>
                <a:gd name="connsiteX85" fmla="*/ 1557811 w 1881147"/>
                <a:gd name="connsiteY85" fmla="*/ 843725 h 1698556"/>
                <a:gd name="connsiteX86" fmla="*/ 1505424 w 1881147"/>
                <a:gd name="connsiteY86" fmla="*/ 824675 h 1698556"/>
                <a:gd name="connsiteX87" fmla="*/ 1453036 w 1881147"/>
                <a:gd name="connsiteY87" fmla="*/ 819912 h 1698556"/>
                <a:gd name="connsiteX88" fmla="*/ 1510186 w 1881147"/>
                <a:gd name="connsiteY88" fmla="*/ 786575 h 1698556"/>
                <a:gd name="connsiteX89" fmla="*/ 1476849 w 1881147"/>
                <a:gd name="connsiteY89" fmla="*/ 753237 h 1698556"/>
                <a:gd name="connsiteX90" fmla="*/ 1481611 w 1881147"/>
                <a:gd name="connsiteY90" fmla="*/ 729425 h 1698556"/>
                <a:gd name="connsiteX91" fmla="*/ 1572099 w 1881147"/>
                <a:gd name="connsiteY91" fmla="*/ 767525 h 1698556"/>
                <a:gd name="connsiteX92" fmla="*/ 1624486 w 1881147"/>
                <a:gd name="connsiteY92" fmla="*/ 700850 h 1698556"/>
                <a:gd name="connsiteX93" fmla="*/ 1622283 w 1881147"/>
                <a:gd name="connsiteY93" fmla="*/ 557975 h 1698556"/>
                <a:gd name="connsiteX94" fmla="*/ 1639486 w 1881147"/>
                <a:gd name="connsiteY94" fmla="*/ 409649 h 1698556"/>
                <a:gd name="connsiteX0" fmla="*/ 1639486 w 1881147"/>
                <a:gd name="connsiteY0" fmla="*/ 411844 h 1700751"/>
                <a:gd name="connsiteX1" fmla="*/ 1567336 w 1881147"/>
                <a:gd name="connsiteY1" fmla="*/ 379195 h 1700751"/>
                <a:gd name="connsiteX2" fmla="*/ 1477087 w 1881147"/>
                <a:gd name="connsiteY2" fmla="*/ 355382 h 1700751"/>
                <a:gd name="connsiteX3" fmla="*/ 1423767 w 1881147"/>
                <a:gd name="connsiteY3" fmla="*/ 278298 h 1700751"/>
                <a:gd name="connsiteX4" fmla="*/ 1395785 w 1881147"/>
                <a:gd name="connsiteY4" fmla="*/ 176453 h 1700751"/>
                <a:gd name="connsiteX5" fmla="*/ 1364769 w 1881147"/>
                <a:gd name="connsiteY5" fmla="*/ 8391 h 1700751"/>
                <a:gd name="connsiteX6" fmla="*/ 1282757 w 1881147"/>
                <a:gd name="connsiteY6" fmla="*/ 44983 h 1700751"/>
                <a:gd name="connsiteX7" fmla="*/ 1291832 w 1881147"/>
                <a:gd name="connsiteY7" fmla="*/ 107612 h 1700751"/>
                <a:gd name="connsiteX8" fmla="*/ 1275927 w 1881147"/>
                <a:gd name="connsiteY8" fmla="*/ 158825 h 1700751"/>
                <a:gd name="connsiteX9" fmla="*/ 1214911 w 1881147"/>
                <a:gd name="connsiteY9" fmla="*/ 164882 h 1700751"/>
                <a:gd name="connsiteX10" fmla="*/ 1186336 w 1881147"/>
                <a:gd name="connsiteY10" fmla="*/ 193457 h 1700751"/>
                <a:gd name="connsiteX11" fmla="*/ 1176811 w 1881147"/>
                <a:gd name="connsiteY11" fmla="*/ 264895 h 1700751"/>
                <a:gd name="connsiteX12" fmla="*/ 1114899 w 1881147"/>
                <a:gd name="connsiteY12" fmla="*/ 307757 h 1700751"/>
                <a:gd name="connsiteX13" fmla="*/ 1005361 w 1881147"/>
                <a:gd name="connsiteY13" fmla="*/ 322045 h 1700751"/>
                <a:gd name="connsiteX14" fmla="*/ 962499 w 1881147"/>
                <a:gd name="connsiteY14" fmla="*/ 364907 h 1700751"/>
                <a:gd name="connsiteX15" fmla="*/ 838674 w 1881147"/>
                <a:gd name="connsiteY15" fmla="*/ 364907 h 1700751"/>
                <a:gd name="connsiteX16" fmla="*/ 781524 w 1881147"/>
                <a:gd name="connsiteY16" fmla="*/ 436345 h 1700751"/>
                <a:gd name="connsiteX17" fmla="*/ 781524 w 1881147"/>
                <a:gd name="connsiteY17" fmla="*/ 469682 h 1700751"/>
                <a:gd name="connsiteX18" fmla="*/ 743424 w 1881147"/>
                <a:gd name="connsiteY18" fmla="*/ 493495 h 1700751"/>
                <a:gd name="connsiteX19" fmla="*/ 671986 w 1881147"/>
                <a:gd name="connsiteY19" fmla="*/ 426820 h 1700751"/>
                <a:gd name="connsiteX20" fmla="*/ 519586 w 1881147"/>
                <a:gd name="connsiteY20" fmla="*/ 422057 h 1700751"/>
                <a:gd name="connsiteX21" fmla="*/ 457674 w 1881147"/>
                <a:gd name="connsiteY21" fmla="*/ 441107 h 1700751"/>
                <a:gd name="connsiteX22" fmla="*/ 419574 w 1881147"/>
                <a:gd name="connsiteY22" fmla="*/ 426820 h 1700751"/>
                <a:gd name="connsiteX23" fmla="*/ 400524 w 1881147"/>
                <a:gd name="connsiteY23" fmla="*/ 364907 h 1700751"/>
                <a:gd name="connsiteX24" fmla="*/ 333849 w 1881147"/>
                <a:gd name="connsiteY24" fmla="*/ 312520 h 1700751"/>
                <a:gd name="connsiteX25" fmla="*/ 286224 w 1881147"/>
                <a:gd name="connsiteY25" fmla="*/ 245845 h 1700751"/>
                <a:gd name="connsiteX26" fmla="*/ 143349 w 1881147"/>
                <a:gd name="connsiteY26" fmla="*/ 264895 h 1700751"/>
                <a:gd name="connsiteX27" fmla="*/ 124299 w 1881147"/>
                <a:gd name="connsiteY27" fmla="*/ 341095 h 1700751"/>
                <a:gd name="connsiteX28" fmla="*/ 110011 w 1881147"/>
                <a:gd name="connsiteY28" fmla="*/ 374432 h 1700751"/>
                <a:gd name="connsiteX29" fmla="*/ 133824 w 1881147"/>
                <a:gd name="connsiteY29" fmla="*/ 422057 h 1700751"/>
                <a:gd name="connsiteX30" fmla="*/ 81436 w 1881147"/>
                <a:gd name="connsiteY30" fmla="*/ 460157 h 1700751"/>
                <a:gd name="connsiteX31" fmla="*/ 33811 w 1881147"/>
                <a:gd name="connsiteY31" fmla="*/ 455395 h 1700751"/>
                <a:gd name="connsiteX32" fmla="*/ 33811 w 1881147"/>
                <a:gd name="connsiteY32" fmla="*/ 526832 h 1700751"/>
                <a:gd name="connsiteX33" fmla="*/ 474 w 1881147"/>
                <a:gd name="connsiteY33" fmla="*/ 631607 h 1700751"/>
                <a:gd name="connsiteX34" fmla="*/ 62386 w 1881147"/>
                <a:gd name="connsiteY34" fmla="*/ 707807 h 1700751"/>
                <a:gd name="connsiteX35" fmla="*/ 111977 w 1881147"/>
                <a:gd name="connsiteY35" fmla="*/ 688069 h 1700751"/>
                <a:gd name="connsiteX36" fmla="*/ 112334 w 1881147"/>
                <a:gd name="connsiteY36" fmla="*/ 758328 h 1700751"/>
                <a:gd name="connsiteX37" fmla="*/ 167161 w 1881147"/>
                <a:gd name="connsiteY37" fmla="*/ 788770 h 1700751"/>
                <a:gd name="connsiteX38" fmla="*/ 236159 w 1881147"/>
                <a:gd name="connsiteY38" fmla="*/ 798982 h 1700751"/>
                <a:gd name="connsiteX39" fmla="*/ 271462 w 1881147"/>
                <a:gd name="connsiteY39" fmla="*/ 854953 h 1700751"/>
                <a:gd name="connsiteX40" fmla="*/ 270869 w 1881147"/>
                <a:gd name="connsiteY40" fmla="*/ 900025 h 1700751"/>
                <a:gd name="connsiteX41" fmla="*/ 295393 w 1881147"/>
                <a:gd name="connsiteY41" fmla="*/ 939500 h 1700751"/>
                <a:gd name="connsiteX42" fmla="*/ 341051 w 1881147"/>
                <a:gd name="connsiteY42" fmla="*/ 978092 h 1700751"/>
                <a:gd name="connsiteX43" fmla="*/ 426184 w 1881147"/>
                <a:gd name="connsiteY43" fmla="*/ 1032344 h 1700751"/>
                <a:gd name="connsiteX44" fmla="*/ 461961 w 1881147"/>
                <a:gd name="connsiteY44" fmla="*/ 1103437 h 1700751"/>
                <a:gd name="connsiteX45" fmla="*/ 441064 w 1881147"/>
                <a:gd name="connsiteY45" fmla="*/ 1173010 h 1700751"/>
                <a:gd name="connsiteX46" fmla="*/ 519111 w 1881147"/>
                <a:gd name="connsiteY46" fmla="*/ 1229473 h 1700751"/>
                <a:gd name="connsiteX47" fmla="*/ 591143 w 1881147"/>
                <a:gd name="connsiteY47" fmla="*/ 1262467 h 1700751"/>
                <a:gd name="connsiteX48" fmla="*/ 571974 w 1881147"/>
                <a:gd name="connsiteY48" fmla="*/ 1322170 h 1700751"/>
                <a:gd name="connsiteX49" fmla="*/ 662461 w 1881147"/>
                <a:gd name="connsiteY49" fmla="*/ 1474570 h 1700751"/>
                <a:gd name="connsiteX50" fmla="*/ 755271 w 1881147"/>
                <a:gd name="connsiteY50" fmla="*/ 1547724 h 1700751"/>
                <a:gd name="connsiteX51" fmla="*/ 805336 w 1881147"/>
                <a:gd name="connsiteY51" fmla="*/ 1498382 h 1700751"/>
                <a:gd name="connsiteX52" fmla="*/ 869926 w 1881147"/>
                <a:gd name="connsiteY52" fmla="*/ 1525779 h 1700751"/>
                <a:gd name="connsiteX53" fmla="*/ 924399 w 1881147"/>
                <a:gd name="connsiteY53" fmla="*/ 1493620 h 1700751"/>
                <a:gd name="connsiteX54" fmla="*/ 941246 w 1881147"/>
                <a:gd name="connsiteY54" fmla="*/ 1451444 h 1700751"/>
                <a:gd name="connsiteX55" fmla="*/ 1005123 w 1881147"/>
                <a:gd name="connsiteY55" fmla="*/ 1537856 h 1700751"/>
                <a:gd name="connsiteX56" fmla="*/ 1050190 w 1881147"/>
                <a:gd name="connsiteY56" fmla="*/ 1608950 h 1700751"/>
                <a:gd name="connsiteX57" fmla="*/ 1120136 w 1881147"/>
                <a:gd name="connsiteY57" fmla="*/ 1700469 h 1700751"/>
                <a:gd name="connsiteX58" fmla="*/ 1151034 w 1881147"/>
                <a:gd name="connsiteY58" fmla="*/ 1637378 h 1700751"/>
                <a:gd name="connsiteX59" fmla="*/ 1181693 w 1881147"/>
                <a:gd name="connsiteY59" fmla="*/ 1630898 h 1700751"/>
                <a:gd name="connsiteX60" fmla="*/ 1224792 w 1881147"/>
                <a:gd name="connsiteY60" fmla="*/ 1660161 h 1700751"/>
                <a:gd name="connsiteX61" fmla="*/ 1258367 w 1881147"/>
                <a:gd name="connsiteY61" fmla="*/ 1619507 h 1700751"/>
                <a:gd name="connsiteX62" fmla="*/ 1277188 w 1881147"/>
                <a:gd name="connsiteY62" fmla="*/ 1624124 h 1700751"/>
                <a:gd name="connsiteX63" fmla="*/ 1311230 w 1881147"/>
                <a:gd name="connsiteY63" fmla="*/ 1690601 h 1700751"/>
                <a:gd name="connsiteX64" fmla="*/ 1367786 w 1881147"/>
                <a:gd name="connsiteY64" fmla="*/ 1667132 h 1700751"/>
                <a:gd name="connsiteX65" fmla="*/ 1419818 w 1881147"/>
                <a:gd name="connsiteY65" fmla="*/ 1611011 h 1700751"/>
                <a:gd name="connsiteX66" fmla="*/ 1470595 w 1881147"/>
                <a:gd name="connsiteY66" fmla="*/ 1594468 h 1700751"/>
                <a:gd name="connsiteX67" fmla="*/ 1488274 w 1881147"/>
                <a:gd name="connsiteY67" fmla="*/ 1650290 h 1700751"/>
                <a:gd name="connsiteX68" fmla="*/ 1558169 w 1881147"/>
                <a:gd name="connsiteY68" fmla="*/ 1624612 h 1700751"/>
                <a:gd name="connsiteX69" fmla="*/ 1588947 w 1881147"/>
                <a:gd name="connsiteY69" fmla="*/ 1537856 h 1700751"/>
                <a:gd name="connsiteX70" fmla="*/ 1670383 w 1881147"/>
                <a:gd name="connsiteY70" fmla="*/ 1447714 h 1700751"/>
                <a:gd name="connsiteX71" fmla="*/ 1714974 w 1881147"/>
                <a:gd name="connsiteY71" fmla="*/ 1416584 h 1700751"/>
                <a:gd name="connsiteX72" fmla="*/ 1743343 w 1881147"/>
                <a:gd name="connsiteY72" fmla="*/ 1419879 h 1700751"/>
                <a:gd name="connsiteX73" fmla="*/ 1820935 w 1881147"/>
                <a:gd name="connsiteY73" fmla="*/ 1409271 h 1700751"/>
                <a:gd name="connsiteX74" fmla="*/ 1816054 w 1881147"/>
                <a:gd name="connsiteY74" fmla="*/ 1462835 h 1700751"/>
                <a:gd name="connsiteX75" fmla="*/ 1874221 w 1881147"/>
                <a:gd name="connsiteY75" fmla="*/ 1486156 h 1700751"/>
                <a:gd name="connsiteX76" fmla="*/ 1875829 w 1881147"/>
                <a:gd name="connsiteY76" fmla="*/ 1463522 h 1700751"/>
                <a:gd name="connsiteX77" fmla="*/ 1875051 w 1881147"/>
                <a:gd name="connsiteY77" fmla="*/ 1402788 h 1700751"/>
                <a:gd name="connsiteX78" fmla="*/ 1853086 w 1881147"/>
                <a:gd name="connsiteY78" fmla="*/ 1312645 h 1700751"/>
                <a:gd name="connsiteX79" fmla="*/ 1853086 w 1881147"/>
                <a:gd name="connsiteY79" fmla="*/ 1255495 h 1700751"/>
                <a:gd name="connsiteX80" fmla="*/ 1810224 w 1881147"/>
                <a:gd name="connsiteY80" fmla="*/ 1245970 h 1700751"/>
                <a:gd name="connsiteX81" fmla="*/ 1734024 w 1881147"/>
                <a:gd name="connsiteY81" fmla="*/ 1165007 h 1700751"/>
                <a:gd name="connsiteX82" fmla="*/ 1695924 w 1881147"/>
                <a:gd name="connsiteY82" fmla="*/ 984032 h 1700751"/>
                <a:gd name="connsiteX83" fmla="*/ 1643536 w 1881147"/>
                <a:gd name="connsiteY83" fmla="*/ 950695 h 1700751"/>
                <a:gd name="connsiteX84" fmla="*/ 1605436 w 1881147"/>
                <a:gd name="connsiteY84" fmla="*/ 893545 h 1700751"/>
                <a:gd name="connsiteX85" fmla="*/ 1557811 w 1881147"/>
                <a:gd name="connsiteY85" fmla="*/ 845920 h 1700751"/>
                <a:gd name="connsiteX86" fmla="*/ 1505424 w 1881147"/>
                <a:gd name="connsiteY86" fmla="*/ 826870 h 1700751"/>
                <a:gd name="connsiteX87" fmla="*/ 1453036 w 1881147"/>
                <a:gd name="connsiteY87" fmla="*/ 822107 h 1700751"/>
                <a:gd name="connsiteX88" fmla="*/ 1510186 w 1881147"/>
                <a:gd name="connsiteY88" fmla="*/ 788770 h 1700751"/>
                <a:gd name="connsiteX89" fmla="*/ 1476849 w 1881147"/>
                <a:gd name="connsiteY89" fmla="*/ 755432 h 1700751"/>
                <a:gd name="connsiteX90" fmla="*/ 1481611 w 1881147"/>
                <a:gd name="connsiteY90" fmla="*/ 731620 h 1700751"/>
                <a:gd name="connsiteX91" fmla="*/ 1572099 w 1881147"/>
                <a:gd name="connsiteY91" fmla="*/ 769720 h 1700751"/>
                <a:gd name="connsiteX92" fmla="*/ 1624486 w 1881147"/>
                <a:gd name="connsiteY92" fmla="*/ 703045 h 1700751"/>
                <a:gd name="connsiteX93" fmla="*/ 1622283 w 1881147"/>
                <a:gd name="connsiteY93" fmla="*/ 560170 h 1700751"/>
                <a:gd name="connsiteX94" fmla="*/ 1639486 w 1881147"/>
                <a:gd name="connsiteY94" fmla="*/ 411844 h 1700751"/>
                <a:gd name="connsiteX0" fmla="*/ 1639486 w 1881147"/>
                <a:gd name="connsiteY0" fmla="*/ 410679 h 1699586"/>
                <a:gd name="connsiteX1" fmla="*/ 1567336 w 1881147"/>
                <a:gd name="connsiteY1" fmla="*/ 378030 h 1699586"/>
                <a:gd name="connsiteX2" fmla="*/ 1477087 w 1881147"/>
                <a:gd name="connsiteY2" fmla="*/ 354217 h 1699586"/>
                <a:gd name="connsiteX3" fmla="*/ 1423767 w 1881147"/>
                <a:gd name="connsiteY3" fmla="*/ 277133 h 1699586"/>
                <a:gd name="connsiteX4" fmla="*/ 1395785 w 1881147"/>
                <a:gd name="connsiteY4" fmla="*/ 175288 h 1699586"/>
                <a:gd name="connsiteX5" fmla="*/ 1364769 w 1881147"/>
                <a:gd name="connsiteY5" fmla="*/ 7226 h 1699586"/>
                <a:gd name="connsiteX6" fmla="*/ 1297400 w 1881147"/>
                <a:gd name="connsiteY6" fmla="*/ 48924 h 1699586"/>
                <a:gd name="connsiteX7" fmla="*/ 1291832 w 1881147"/>
                <a:gd name="connsiteY7" fmla="*/ 106447 h 1699586"/>
                <a:gd name="connsiteX8" fmla="*/ 1275927 w 1881147"/>
                <a:gd name="connsiteY8" fmla="*/ 157660 h 1699586"/>
                <a:gd name="connsiteX9" fmla="*/ 1214911 w 1881147"/>
                <a:gd name="connsiteY9" fmla="*/ 163717 h 1699586"/>
                <a:gd name="connsiteX10" fmla="*/ 1186336 w 1881147"/>
                <a:gd name="connsiteY10" fmla="*/ 192292 h 1699586"/>
                <a:gd name="connsiteX11" fmla="*/ 1176811 w 1881147"/>
                <a:gd name="connsiteY11" fmla="*/ 263730 h 1699586"/>
                <a:gd name="connsiteX12" fmla="*/ 1114899 w 1881147"/>
                <a:gd name="connsiteY12" fmla="*/ 306592 h 1699586"/>
                <a:gd name="connsiteX13" fmla="*/ 1005361 w 1881147"/>
                <a:gd name="connsiteY13" fmla="*/ 320880 h 1699586"/>
                <a:gd name="connsiteX14" fmla="*/ 962499 w 1881147"/>
                <a:gd name="connsiteY14" fmla="*/ 363742 h 1699586"/>
                <a:gd name="connsiteX15" fmla="*/ 838674 w 1881147"/>
                <a:gd name="connsiteY15" fmla="*/ 363742 h 1699586"/>
                <a:gd name="connsiteX16" fmla="*/ 781524 w 1881147"/>
                <a:gd name="connsiteY16" fmla="*/ 435180 h 1699586"/>
                <a:gd name="connsiteX17" fmla="*/ 781524 w 1881147"/>
                <a:gd name="connsiteY17" fmla="*/ 468517 h 1699586"/>
                <a:gd name="connsiteX18" fmla="*/ 743424 w 1881147"/>
                <a:gd name="connsiteY18" fmla="*/ 492330 h 1699586"/>
                <a:gd name="connsiteX19" fmla="*/ 671986 w 1881147"/>
                <a:gd name="connsiteY19" fmla="*/ 425655 h 1699586"/>
                <a:gd name="connsiteX20" fmla="*/ 519586 w 1881147"/>
                <a:gd name="connsiteY20" fmla="*/ 420892 h 1699586"/>
                <a:gd name="connsiteX21" fmla="*/ 457674 w 1881147"/>
                <a:gd name="connsiteY21" fmla="*/ 439942 h 1699586"/>
                <a:gd name="connsiteX22" fmla="*/ 419574 w 1881147"/>
                <a:gd name="connsiteY22" fmla="*/ 425655 h 1699586"/>
                <a:gd name="connsiteX23" fmla="*/ 400524 w 1881147"/>
                <a:gd name="connsiteY23" fmla="*/ 363742 h 1699586"/>
                <a:gd name="connsiteX24" fmla="*/ 333849 w 1881147"/>
                <a:gd name="connsiteY24" fmla="*/ 311355 h 1699586"/>
                <a:gd name="connsiteX25" fmla="*/ 286224 w 1881147"/>
                <a:gd name="connsiteY25" fmla="*/ 244680 h 1699586"/>
                <a:gd name="connsiteX26" fmla="*/ 143349 w 1881147"/>
                <a:gd name="connsiteY26" fmla="*/ 263730 h 1699586"/>
                <a:gd name="connsiteX27" fmla="*/ 124299 w 1881147"/>
                <a:gd name="connsiteY27" fmla="*/ 339930 h 1699586"/>
                <a:gd name="connsiteX28" fmla="*/ 110011 w 1881147"/>
                <a:gd name="connsiteY28" fmla="*/ 373267 h 1699586"/>
                <a:gd name="connsiteX29" fmla="*/ 133824 w 1881147"/>
                <a:gd name="connsiteY29" fmla="*/ 420892 h 1699586"/>
                <a:gd name="connsiteX30" fmla="*/ 81436 w 1881147"/>
                <a:gd name="connsiteY30" fmla="*/ 458992 h 1699586"/>
                <a:gd name="connsiteX31" fmla="*/ 33811 w 1881147"/>
                <a:gd name="connsiteY31" fmla="*/ 454230 h 1699586"/>
                <a:gd name="connsiteX32" fmla="*/ 33811 w 1881147"/>
                <a:gd name="connsiteY32" fmla="*/ 525667 h 1699586"/>
                <a:gd name="connsiteX33" fmla="*/ 474 w 1881147"/>
                <a:gd name="connsiteY33" fmla="*/ 630442 h 1699586"/>
                <a:gd name="connsiteX34" fmla="*/ 62386 w 1881147"/>
                <a:gd name="connsiteY34" fmla="*/ 706642 h 1699586"/>
                <a:gd name="connsiteX35" fmla="*/ 111977 w 1881147"/>
                <a:gd name="connsiteY35" fmla="*/ 686904 h 1699586"/>
                <a:gd name="connsiteX36" fmla="*/ 112334 w 1881147"/>
                <a:gd name="connsiteY36" fmla="*/ 757163 h 1699586"/>
                <a:gd name="connsiteX37" fmla="*/ 167161 w 1881147"/>
                <a:gd name="connsiteY37" fmla="*/ 787605 h 1699586"/>
                <a:gd name="connsiteX38" fmla="*/ 236159 w 1881147"/>
                <a:gd name="connsiteY38" fmla="*/ 797817 h 1699586"/>
                <a:gd name="connsiteX39" fmla="*/ 271462 w 1881147"/>
                <a:gd name="connsiteY39" fmla="*/ 853788 h 1699586"/>
                <a:gd name="connsiteX40" fmla="*/ 270869 w 1881147"/>
                <a:gd name="connsiteY40" fmla="*/ 898860 h 1699586"/>
                <a:gd name="connsiteX41" fmla="*/ 295393 w 1881147"/>
                <a:gd name="connsiteY41" fmla="*/ 938335 h 1699586"/>
                <a:gd name="connsiteX42" fmla="*/ 341051 w 1881147"/>
                <a:gd name="connsiteY42" fmla="*/ 976927 h 1699586"/>
                <a:gd name="connsiteX43" fmla="*/ 426184 w 1881147"/>
                <a:gd name="connsiteY43" fmla="*/ 1031179 h 1699586"/>
                <a:gd name="connsiteX44" fmla="*/ 461961 w 1881147"/>
                <a:gd name="connsiteY44" fmla="*/ 1102272 h 1699586"/>
                <a:gd name="connsiteX45" fmla="*/ 441064 w 1881147"/>
                <a:gd name="connsiteY45" fmla="*/ 1171845 h 1699586"/>
                <a:gd name="connsiteX46" fmla="*/ 519111 w 1881147"/>
                <a:gd name="connsiteY46" fmla="*/ 1228308 h 1699586"/>
                <a:gd name="connsiteX47" fmla="*/ 591143 w 1881147"/>
                <a:gd name="connsiteY47" fmla="*/ 1261302 h 1699586"/>
                <a:gd name="connsiteX48" fmla="*/ 571974 w 1881147"/>
                <a:gd name="connsiteY48" fmla="*/ 1321005 h 1699586"/>
                <a:gd name="connsiteX49" fmla="*/ 662461 w 1881147"/>
                <a:gd name="connsiteY49" fmla="*/ 1473405 h 1699586"/>
                <a:gd name="connsiteX50" fmla="*/ 755271 w 1881147"/>
                <a:gd name="connsiteY50" fmla="*/ 1546559 h 1699586"/>
                <a:gd name="connsiteX51" fmla="*/ 805336 w 1881147"/>
                <a:gd name="connsiteY51" fmla="*/ 1497217 h 1699586"/>
                <a:gd name="connsiteX52" fmla="*/ 869926 w 1881147"/>
                <a:gd name="connsiteY52" fmla="*/ 1524614 h 1699586"/>
                <a:gd name="connsiteX53" fmla="*/ 924399 w 1881147"/>
                <a:gd name="connsiteY53" fmla="*/ 1492455 h 1699586"/>
                <a:gd name="connsiteX54" fmla="*/ 941246 w 1881147"/>
                <a:gd name="connsiteY54" fmla="*/ 1450279 h 1699586"/>
                <a:gd name="connsiteX55" fmla="*/ 1005123 w 1881147"/>
                <a:gd name="connsiteY55" fmla="*/ 1536691 h 1699586"/>
                <a:gd name="connsiteX56" fmla="*/ 1050190 w 1881147"/>
                <a:gd name="connsiteY56" fmla="*/ 1607785 h 1699586"/>
                <a:gd name="connsiteX57" fmla="*/ 1120136 w 1881147"/>
                <a:gd name="connsiteY57" fmla="*/ 1699304 h 1699586"/>
                <a:gd name="connsiteX58" fmla="*/ 1151034 w 1881147"/>
                <a:gd name="connsiteY58" fmla="*/ 1636213 h 1699586"/>
                <a:gd name="connsiteX59" fmla="*/ 1181693 w 1881147"/>
                <a:gd name="connsiteY59" fmla="*/ 1629733 h 1699586"/>
                <a:gd name="connsiteX60" fmla="*/ 1224792 w 1881147"/>
                <a:gd name="connsiteY60" fmla="*/ 1658996 h 1699586"/>
                <a:gd name="connsiteX61" fmla="*/ 1258367 w 1881147"/>
                <a:gd name="connsiteY61" fmla="*/ 1618342 h 1699586"/>
                <a:gd name="connsiteX62" fmla="*/ 1277188 w 1881147"/>
                <a:gd name="connsiteY62" fmla="*/ 1622959 h 1699586"/>
                <a:gd name="connsiteX63" fmla="*/ 1311230 w 1881147"/>
                <a:gd name="connsiteY63" fmla="*/ 1689436 h 1699586"/>
                <a:gd name="connsiteX64" fmla="*/ 1367786 w 1881147"/>
                <a:gd name="connsiteY64" fmla="*/ 1665967 h 1699586"/>
                <a:gd name="connsiteX65" fmla="*/ 1419818 w 1881147"/>
                <a:gd name="connsiteY65" fmla="*/ 1609846 h 1699586"/>
                <a:gd name="connsiteX66" fmla="*/ 1470595 w 1881147"/>
                <a:gd name="connsiteY66" fmla="*/ 1593303 h 1699586"/>
                <a:gd name="connsiteX67" fmla="*/ 1488274 w 1881147"/>
                <a:gd name="connsiteY67" fmla="*/ 1649125 h 1699586"/>
                <a:gd name="connsiteX68" fmla="*/ 1558169 w 1881147"/>
                <a:gd name="connsiteY68" fmla="*/ 1623447 h 1699586"/>
                <a:gd name="connsiteX69" fmla="*/ 1588947 w 1881147"/>
                <a:gd name="connsiteY69" fmla="*/ 1536691 h 1699586"/>
                <a:gd name="connsiteX70" fmla="*/ 1670383 w 1881147"/>
                <a:gd name="connsiteY70" fmla="*/ 1446549 h 1699586"/>
                <a:gd name="connsiteX71" fmla="*/ 1714974 w 1881147"/>
                <a:gd name="connsiteY71" fmla="*/ 1415419 h 1699586"/>
                <a:gd name="connsiteX72" fmla="*/ 1743343 w 1881147"/>
                <a:gd name="connsiteY72" fmla="*/ 1418714 h 1699586"/>
                <a:gd name="connsiteX73" fmla="*/ 1820935 w 1881147"/>
                <a:gd name="connsiteY73" fmla="*/ 1408106 h 1699586"/>
                <a:gd name="connsiteX74" fmla="*/ 1816054 w 1881147"/>
                <a:gd name="connsiteY74" fmla="*/ 1461670 h 1699586"/>
                <a:gd name="connsiteX75" fmla="*/ 1874221 w 1881147"/>
                <a:gd name="connsiteY75" fmla="*/ 1484991 h 1699586"/>
                <a:gd name="connsiteX76" fmla="*/ 1875829 w 1881147"/>
                <a:gd name="connsiteY76" fmla="*/ 1462357 h 1699586"/>
                <a:gd name="connsiteX77" fmla="*/ 1875051 w 1881147"/>
                <a:gd name="connsiteY77" fmla="*/ 1401623 h 1699586"/>
                <a:gd name="connsiteX78" fmla="*/ 1853086 w 1881147"/>
                <a:gd name="connsiteY78" fmla="*/ 1311480 h 1699586"/>
                <a:gd name="connsiteX79" fmla="*/ 1853086 w 1881147"/>
                <a:gd name="connsiteY79" fmla="*/ 1254330 h 1699586"/>
                <a:gd name="connsiteX80" fmla="*/ 1810224 w 1881147"/>
                <a:gd name="connsiteY80" fmla="*/ 1244805 h 1699586"/>
                <a:gd name="connsiteX81" fmla="*/ 1734024 w 1881147"/>
                <a:gd name="connsiteY81" fmla="*/ 1163842 h 1699586"/>
                <a:gd name="connsiteX82" fmla="*/ 1695924 w 1881147"/>
                <a:gd name="connsiteY82" fmla="*/ 982867 h 1699586"/>
                <a:gd name="connsiteX83" fmla="*/ 1643536 w 1881147"/>
                <a:gd name="connsiteY83" fmla="*/ 949530 h 1699586"/>
                <a:gd name="connsiteX84" fmla="*/ 1605436 w 1881147"/>
                <a:gd name="connsiteY84" fmla="*/ 892380 h 1699586"/>
                <a:gd name="connsiteX85" fmla="*/ 1557811 w 1881147"/>
                <a:gd name="connsiteY85" fmla="*/ 844755 h 1699586"/>
                <a:gd name="connsiteX86" fmla="*/ 1505424 w 1881147"/>
                <a:gd name="connsiteY86" fmla="*/ 825705 h 1699586"/>
                <a:gd name="connsiteX87" fmla="*/ 1453036 w 1881147"/>
                <a:gd name="connsiteY87" fmla="*/ 820942 h 1699586"/>
                <a:gd name="connsiteX88" fmla="*/ 1510186 w 1881147"/>
                <a:gd name="connsiteY88" fmla="*/ 787605 h 1699586"/>
                <a:gd name="connsiteX89" fmla="*/ 1476849 w 1881147"/>
                <a:gd name="connsiteY89" fmla="*/ 754267 h 1699586"/>
                <a:gd name="connsiteX90" fmla="*/ 1481611 w 1881147"/>
                <a:gd name="connsiteY90" fmla="*/ 730455 h 1699586"/>
                <a:gd name="connsiteX91" fmla="*/ 1572099 w 1881147"/>
                <a:gd name="connsiteY91" fmla="*/ 768555 h 1699586"/>
                <a:gd name="connsiteX92" fmla="*/ 1624486 w 1881147"/>
                <a:gd name="connsiteY92" fmla="*/ 701880 h 1699586"/>
                <a:gd name="connsiteX93" fmla="*/ 1622283 w 1881147"/>
                <a:gd name="connsiteY93" fmla="*/ 559005 h 1699586"/>
                <a:gd name="connsiteX94" fmla="*/ 1639486 w 1881147"/>
                <a:gd name="connsiteY94" fmla="*/ 410679 h 1699586"/>
                <a:gd name="connsiteX0" fmla="*/ 1639486 w 1881147"/>
                <a:gd name="connsiteY0" fmla="*/ 403727 h 1692634"/>
                <a:gd name="connsiteX1" fmla="*/ 1567336 w 1881147"/>
                <a:gd name="connsiteY1" fmla="*/ 371078 h 1692634"/>
                <a:gd name="connsiteX2" fmla="*/ 1477087 w 1881147"/>
                <a:gd name="connsiteY2" fmla="*/ 347265 h 1692634"/>
                <a:gd name="connsiteX3" fmla="*/ 1423767 w 1881147"/>
                <a:gd name="connsiteY3" fmla="*/ 270181 h 1692634"/>
                <a:gd name="connsiteX4" fmla="*/ 1395785 w 1881147"/>
                <a:gd name="connsiteY4" fmla="*/ 168336 h 1692634"/>
                <a:gd name="connsiteX5" fmla="*/ 1364769 w 1881147"/>
                <a:gd name="connsiteY5" fmla="*/ 274 h 1692634"/>
                <a:gd name="connsiteX6" fmla="*/ 1297400 w 1881147"/>
                <a:gd name="connsiteY6" fmla="*/ 41972 h 1692634"/>
                <a:gd name="connsiteX7" fmla="*/ 1291832 w 1881147"/>
                <a:gd name="connsiteY7" fmla="*/ 99495 h 1692634"/>
                <a:gd name="connsiteX8" fmla="*/ 1275927 w 1881147"/>
                <a:gd name="connsiteY8" fmla="*/ 150708 h 1692634"/>
                <a:gd name="connsiteX9" fmla="*/ 1214911 w 1881147"/>
                <a:gd name="connsiteY9" fmla="*/ 156765 h 1692634"/>
                <a:gd name="connsiteX10" fmla="*/ 1186336 w 1881147"/>
                <a:gd name="connsiteY10" fmla="*/ 185340 h 1692634"/>
                <a:gd name="connsiteX11" fmla="*/ 1176811 w 1881147"/>
                <a:gd name="connsiteY11" fmla="*/ 256778 h 1692634"/>
                <a:gd name="connsiteX12" fmla="*/ 1114899 w 1881147"/>
                <a:gd name="connsiteY12" fmla="*/ 299640 h 1692634"/>
                <a:gd name="connsiteX13" fmla="*/ 1005361 w 1881147"/>
                <a:gd name="connsiteY13" fmla="*/ 313928 h 1692634"/>
                <a:gd name="connsiteX14" fmla="*/ 962499 w 1881147"/>
                <a:gd name="connsiteY14" fmla="*/ 356790 h 1692634"/>
                <a:gd name="connsiteX15" fmla="*/ 838674 w 1881147"/>
                <a:gd name="connsiteY15" fmla="*/ 356790 h 1692634"/>
                <a:gd name="connsiteX16" fmla="*/ 781524 w 1881147"/>
                <a:gd name="connsiteY16" fmla="*/ 428228 h 1692634"/>
                <a:gd name="connsiteX17" fmla="*/ 781524 w 1881147"/>
                <a:gd name="connsiteY17" fmla="*/ 461565 h 1692634"/>
                <a:gd name="connsiteX18" fmla="*/ 743424 w 1881147"/>
                <a:gd name="connsiteY18" fmla="*/ 485378 h 1692634"/>
                <a:gd name="connsiteX19" fmla="*/ 671986 w 1881147"/>
                <a:gd name="connsiteY19" fmla="*/ 418703 h 1692634"/>
                <a:gd name="connsiteX20" fmla="*/ 519586 w 1881147"/>
                <a:gd name="connsiteY20" fmla="*/ 413940 h 1692634"/>
                <a:gd name="connsiteX21" fmla="*/ 457674 w 1881147"/>
                <a:gd name="connsiteY21" fmla="*/ 432990 h 1692634"/>
                <a:gd name="connsiteX22" fmla="*/ 419574 w 1881147"/>
                <a:gd name="connsiteY22" fmla="*/ 418703 h 1692634"/>
                <a:gd name="connsiteX23" fmla="*/ 400524 w 1881147"/>
                <a:gd name="connsiteY23" fmla="*/ 356790 h 1692634"/>
                <a:gd name="connsiteX24" fmla="*/ 333849 w 1881147"/>
                <a:gd name="connsiteY24" fmla="*/ 304403 h 1692634"/>
                <a:gd name="connsiteX25" fmla="*/ 286224 w 1881147"/>
                <a:gd name="connsiteY25" fmla="*/ 237728 h 1692634"/>
                <a:gd name="connsiteX26" fmla="*/ 143349 w 1881147"/>
                <a:gd name="connsiteY26" fmla="*/ 256778 h 1692634"/>
                <a:gd name="connsiteX27" fmla="*/ 124299 w 1881147"/>
                <a:gd name="connsiteY27" fmla="*/ 332978 h 1692634"/>
                <a:gd name="connsiteX28" fmla="*/ 110011 w 1881147"/>
                <a:gd name="connsiteY28" fmla="*/ 366315 h 1692634"/>
                <a:gd name="connsiteX29" fmla="*/ 133824 w 1881147"/>
                <a:gd name="connsiteY29" fmla="*/ 413940 h 1692634"/>
                <a:gd name="connsiteX30" fmla="*/ 81436 w 1881147"/>
                <a:gd name="connsiteY30" fmla="*/ 452040 h 1692634"/>
                <a:gd name="connsiteX31" fmla="*/ 33811 w 1881147"/>
                <a:gd name="connsiteY31" fmla="*/ 447278 h 1692634"/>
                <a:gd name="connsiteX32" fmla="*/ 33811 w 1881147"/>
                <a:gd name="connsiteY32" fmla="*/ 518715 h 1692634"/>
                <a:gd name="connsiteX33" fmla="*/ 474 w 1881147"/>
                <a:gd name="connsiteY33" fmla="*/ 623490 h 1692634"/>
                <a:gd name="connsiteX34" fmla="*/ 62386 w 1881147"/>
                <a:gd name="connsiteY34" fmla="*/ 699690 h 1692634"/>
                <a:gd name="connsiteX35" fmla="*/ 111977 w 1881147"/>
                <a:gd name="connsiteY35" fmla="*/ 679952 h 1692634"/>
                <a:gd name="connsiteX36" fmla="*/ 112334 w 1881147"/>
                <a:gd name="connsiteY36" fmla="*/ 750211 h 1692634"/>
                <a:gd name="connsiteX37" fmla="*/ 167161 w 1881147"/>
                <a:gd name="connsiteY37" fmla="*/ 780653 h 1692634"/>
                <a:gd name="connsiteX38" fmla="*/ 236159 w 1881147"/>
                <a:gd name="connsiteY38" fmla="*/ 790865 h 1692634"/>
                <a:gd name="connsiteX39" fmla="*/ 271462 w 1881147"/>
                <a:gd name="connsiteY39" fmla="*/ 846836 h 1692634"/>
                <a:gd name="connsiteX40" fmla="*/ 270869 w 1881147"/>
                <a:gd name="connsiteY40" fmla="*/ 891908 h 1692634"/>
                <a:gd name="connsiteX41" fmla="*/ 295393 w 1881147"/>
                <a:gd name="connsiteY41" fmla="*/ 931383 h 1692634"/>
                <a:gd name="connsiteX42" fmla="*/ 341051 w 1881147"/>
                <a:gd name="connsiteY42" fmla="*/ 969975 h 1692634"/>
                <a:gd name="connsiteX43" fmla="*/ 426184 w 1881147"/>
                <a:gd name="connsiteY43" fmla="*/ 1024227 h 1692634"/>
                <a:gd name="connsiteX44" fmla="*/ 461961 w 1881147"/>
                <a:gd name="connsiteY44" fmla="*/ 1095320 h 1692634"/>
                <a:gd name="connsiteX45" fmla="*/ 441064 w 1881147"/>
                <a:gd name="connsiteY45" fmla="*/ 1164893 h 1692634"/>
                <a:gd name="connsiteX46" fmla="*/ 519111 w 1881147"/>
                <a:gd name="connsiteY46" fmla="*/ 1221356 h 1692634"/>
                <a:gd name="connsiteX47" fmla="*/ 591143 w 1881147"/>
                <a:gd name="connsiteY47" fmla="*/ 1254350 h 1692634"/>
                <a:gd name="connsiteX48" fmla="*/ 571974 w 1881147"/>
                <a:gd name="connsiteY48" fmla="*/ 1314053 h 1692634"/>
                <a:gd name="connsiteX49" fmla="*/ 662461 w 1881147"/>
                <a:gd name="connsiteY49" fmla="*/ 1466453 h 1692634"/>
                <a:gd name="connsiteX50" fmla="*/ 755271 w 1881147"/>
                <a:gd name="connsiteY50" fmla="*/ 1539607 h 1692634"/>
                <a:gd name="connsiteX51" fmla="*/ 805336 w 1881147"/>
                <a:gd name="connsiteY51" fmla="*/ 1490265 h 1692634"/>
                <a:gd name="connsiteX52" fmla="*/ 869926 w 1881147"/>
                <a:gd name="connsiteY52" fmla="*/ 1517662 h 1692634"/>
                <a:gd name="connsiteX53" fmla="*/ 924399 w 1881147"/>
                <a:gd name="connsiteY53" fmla="*/ 1485503 h 1692634"/>
                <a:gd name="connsiteX54" fmla="*/ 941246 w 1881147"/>
                <a:gd name="connsiteY54" fmla="*/ 1443327 h 1692634"/>
                <a:gd name="connsiteX55" fmla="*/ 1005123 w 1881147"/>
                <a:gd name="connsiteY55" fmla="*/ 1529739 h 1692634"/>
                <a:gd name="connsiteX56" fmla="*/ 1050190 w 1881147"/>
                <a:gd name="connsiteY56" fmla="*/ 1600833 h 1692634"/>
                <a:gd name="connsiteX57" fmla="*/ 1120136 w 1881147"/>
                <a:gd name="connsiteY57" fmla="*/ 1692352 h 1692634"/>
                <a:gd name="connsiteX58" fmla="*/ 1151034 w 1881147"/>
                <a:gd name="connsiteY58" fmla="*/ 1629261 h 1692634"/>
                <a:gd name="connsiteX59" fmla="*/ 1181693 w 1881147"/>
                <a:gd name="connsiteY59" fmla="*/ 1622781 h 1692634"/>
                <a:gd name="connsiteX60" fmla="*/ 1224792 w 1881147"/>
                <a:gd name="connsiteY60" fmla="*/ 1652044 h 1692634"/>
                <a:gd name="connsiteX61" fmla="*/ 1258367 w 1881147"/>
                <a:gd name="connsiteY61" fmla="*/ 1611390 h 1692634"/>
                <a:gd name="connsiteX62" fmla="*/ 1277188 w 1881147"/>
                <a:gd name="connsiteY62" fmla="*/ 1616007 h 1692634"/>
                <a:gd name="connsiteX63" fmla="*/ 1311230 w 1881147"/>
                <a:gd name="connsiteY63" fmla="*/ 1682484 h 1692634"/>
                <a:gd name="connsiteX64" fmla="*/ 1367786 w 1881147"/>
                <a:gd name="connsiteY64" fmla="*/ 1659015 h 1692634"/>
                <a:gd name="connsiteX65" fmla="*/ 1419818 w 1881147"/>
                <a:gd name="connsiteY65" fmla="*/ 1602894 h 1692634"/>
                <a:gd name="connsiteX66" fmla="*/ 1470595 w 1881147"/>
                <a:gd name="connsiteY66" fmla="*/ 1586351 h 1692634"/>
                <a:gd name="connsiteX67" fmla="*/ 1488274 w 1881147"/>
                <a:gd name="connsiteY67" fmla="*/ 1642173 h 1692634"/>
                <a:gd name="connsiteX68" fmla="*/ 1558169 w 1881147"/>
                <a:gd name="connsiteY68" fmla="*/ 1616495 h 1692634"/>
                <a:gd name="connsiteX69" fmla="*/ 1588947 w 1881147"/>
                <a:gd name="connsiteY69" fmla="*/ 1529739 h 1692634"/>
                <a:gd name="connsiteX70" fmla="*/ 1670383 w 1881147"/>
                <a:gd name="connsiteY70" fmla="*/ 1439597 h 1692634"/>
                <a:gd name="connsiteX71" fmla="*/ 1714974 w 1881147"/>
                <a:gd name="connsiteY71" fmla="*/ 1408467 h 1692634"/>
                <a:gd name="connsiteX72" fmla="*/ 1743343 w 1881147"/>
                <a:gd name="connsiteY72" fmla="*/ 1411762 h 1692634"/>
                <a:gd name="connsiteX73" fmla="*/ 1820935 w 1881147"/>
                <a:gd name="connsiteY73" fmla="*/ 1401154 h 1692634"/>
                <a:gd name="connsiteX74" fmla="*/ 1816054 w 1881147"/>
                <a:gd name="connsiteY74" fmla="*/ 1454718 h 1692634"/>
                <a:gd name="connsiteX75" fmla="*/ 1874221 w 1881147"/>
                <a:gd name="connsiteY75" fmla="*/ 1478039 h 1692634"/>
                <a:gd name="connsiteX76" fmla="*/ 1875829 w 1881147"/>
                <a:gd name="connsiteY76" fmla="*/ 1455405 h 1692634"/>
                <a:gd name="connsiteX77" fmla="*/ 1875051 w 1881147"/>
                <a:gd name="connsiteY77" fmla="*/ 1394671 h 1692634"/>
                <a:gd name="connsiteX78" fmla="*/ 1853086 w 1881147"/>
                <a:gd name="connsiteY78" fmla="*/ 1304528 h 1692634"/>
                <a:gd name="connsiteX79" fmla="*/ 1853086 w 1881147"/>
                <a:gd name="connsiteY79" fmla="*/ 1247378 h 1692634"/>
                <a:gd name="connsiteX80" fmla="*/ 1810224 w 1881147"/>
                <a:gd name="connsiteY80" fmla="*/ 1237853 h 1692634"/>
                <a:gd name="connsiteX81" fmla="*/ 1734024 w 1881147"/>
                <a:gd name="connsiteY81" fmla="*/ 1156890 h 1692634"/>
                <a:gd name="connsiteX82" fmla="*/ 1695924 w 1881147"/>
                <a:gd name="connsiteY82" fmla="*/ 975915 h 1692634"/>
                <a:gd name="connsiteX83" fmla="*/ 1643536 w 1881147"/>
                <a:gd name="connsiteY83" fmla="*/ 942578 h 1692634"/>
                <a:gd name="connsiteX84" fmla="*/ 1605436 w 1881147"/>
                <a:gd name="connsiteY84" fmla="*/ 885428 h 1692634"/>
                <a:gd name="connsiteX85" fmla="*/ 1557811 w 1881147"/>
                <a:gd name="connsiteY85" fmla="*/ 837803 h 1692634"/>
                <a:gd name="connsiteX86" fmla="*/ 1505424 w 1881147"/>
                <a:gd name="connsiteY86" fmla="*/ 818753 h 1692634"/>
                <a:gd name="connsiteX87" fmla="*/ 1453036 w 1881147"/>
                <a:gd name="connsiteY87" fmla="*/ 813990 h 1692634"/>
                <a:gd name="connsiteX88" fmla="*/ 1510186 w 1881147"/>
                <a:gd name="connsiteY88" fmla="*/ 780653 h 1692634"/>
                <a:gd name="connsiteX89" fmla="*/ 1476849 w 1881147"/>
                <a:gd name="connsiteY89" fmla="*/ 747315 h 1692634"/>
                <a:gd name="connsiteX90" fmla="*/ 1481611 w 1881147"/>
                <a:gd name="connsiteY90" fmla="*/ 723503 h 1692634"/>
                <a:gd name="connsiteX91" fmla="*/ 1572099 w 1881147"/>
                <a:gd name="connsiteY91" fmla="*/ 761603 h 1692634"/>
                <a:gd name="connsiteX92" fmla="*/ 1624486 w 1881147"/>
                <a:gd name="connsiteY92" fmla="*/ 694928 h 1692634"/>
                <a:gd name="connsiteX93" fmla="*/ 1622283 w 1881147"/>
                <a:gd name="connsiteY93" fmla="*/ 552053 h 1692634"/>
                <a:gd name="connsiteX94" fmla="*/ 1639486 w 1881147"/>
                <a:gd name="connsiteY94" fmla="*/ 403727 h 1692634"/>
                <a:gd name="connsiteX0" fmla="*/ 1639486 w 1881147"/>
                <a:gd name="connsiteY0" fmla="*/ 403995 h 1692902"/>
                <a:gd name="connsiteX1" fmla="*/ 1567336 w 1881147"/>
                <a:gd name="connsiteY1" fmla="*/ 371346 h 1692902"/>
                <a:gd name="connsiteX2" fmla="*/ 1477087 w 1881147"/>
                <a:gd name="connsiteY2" fmla="*/ 347533 h 1692902"/>
                <a:gd name="connsiteX3" fmla="*/ 1423767 w 1881147"/>
                <a:gd name="connsiteY3" fmla="*/ 270449 h 1692902"/>
                <a:gd name="connsiteX4" fmla="*/ 1395785 w 1881147"/>
                <a:gd name="connsiteY4" fmla="*/ 168604 h 1692902"/>
                <a:gd name="connsiteX5" fmla="*/ 1364769 w 1881147"/>
                <a:gd name="connsiteY5" fmla="*/ 542 h 1692902"/>
                <a:gd name="connsiteX6" fmla="*/ 1297400 w 1881147"/>
                <a:gd name="connsiteY6" fmla="*/ 42240 h 1692902"/>
                <a:gd name="connsiteX7" fmla="*/ 1291832 w 1881147"/>
                <a:gd name="connsiteY7" fmla="*/ 99763 h 1692902"/>
                <a:gd name="connsiteX8" fmla="*/ 1275927 w 1881147"/>
                <a:gd name="connsiteY8" fmla="*/ 150976 h 1692902"/>
                <a:gd name="connsiteX9" fmla="*/ 1214911 w 1881147"/>
                <a:gd name="connsiteY9" fmla="*/ 157033 h 1692902"/>
                <a:gd name="connsiteX10" fmla="*/ 1186336 w 1881147"/>
                <a:gd name="connsiteY10" fmla="*/ 185608 h 1692902"/>
                <a:gd name="connsiteX11" fmla="*/ 1176811 w 1881147"/>
                <a:gd name="connsiteY11" fmla="*/ 257046 h 1692902"/>
                <a:gd name="connsiteX12" fmla="*/ 1114899 w 1881147"/>
                <a:gd name="connsiteY12" fmla="*/ 299908 h 1692902"/>
                <a:gd name="connsiteX13" fmla="*/ 1005361 w 1881147"/>
                <a:gd name="connsiteY13" fmla="*/ 314196 h 1692902"/>
                <a:gd name="connsiteX14" fmla="*/ 962499 w 1881147"/>
                <a:gd name="connsiteY14" fmla="*/ 357058 h 1692902"/>
                <a:gd name="connsiteX15" fmla="*/ 838674 w 1881147"/>
                <a:gd name="connsiteY15" fmla="*/ 357058 h 1692902"/>
                <a:gd name="connsiteX16" fmla="*/ 781524 w 1881147"/>
                <a:gd name="connsiteY16" fmla="*/ 428496 h 1692902"/>
                <a:gd name="connsiteX17" fmla="*/ 781524 w 1881147"/>
                <a:gd name="connsiteY17" fmla="*/ 461833 h 1692902"/>
                <a:gd name="connsiteX18" fmla="*/ 743424 w 1881147"/>
                <a:gd name="connsiteY18" fmla="*/ 485646 h 1692902"/>
                <a:gd name="connsiteX19" fmla="*/ 671986 w 1881147"/>
                <a:gd name="connsiteY19" fmla="*/ 418971 h 1692902"/>
                <a:gd name="connsiteX20" fmla="*/ 519586 w 1881147"/>
                <a:gd name="connsiteY20" fmla="*/ 414208 h 1692902"/>
                <a:gd name="connsiteX21" fmla="*/ 457674 w 1881147"/>
                <a:gd name="connsiteY21" fmla="*/ 433258 h 1692902"/>
                <a:gd name="connsiteX22" fmla="*/ 419574 w 1881147"/>
                <a:gd name="connsiteY22" fmla="*/ 418971 h 1692902"/>
                <a:gd name="connsiteX23" fmla="*/ 400524 w 1881147"/>
                <a:gd name="connsiteY23" fmla="*/ 357058 h 1692902"/>
                <a:gd name="connsiteX24" fmla="*/ 333849 w 1881147"/>
                <a:gd name="connsiteY24" fmla="*/ 304671 h 1692902"/>
                <a:gd name="connsiteX25" fmla="*/ 286224 w 1881147"/>
                <a:gd name="connsiteY25" fmla="*/ 237996 h 1692902"/>
                <a:gd name="connsiteX26" fmla="*/ 143349 w 1881147"/>
                <a:gd name="connsiteY26" fmla="*/ 257046 h 1692902"/>
                <a:gd name="connsiteX27" fmla="*/ 124299 w 1881147"/>
                <a:gd name="connsiteY27" fmla="*/ 333246 h 1692902"/>
                <a:gd name="connsiteX28" fmla="*/ 110011 w 1881147"/>
                <a:gd name="connsiteY28" fmla="*/ 366583 h 1692902"/>
                <a:gd name="connsiteX29" fmla="*/ 133824 w 1881147"/>
                <a:gd name="connsiteY29" fmla="*/ 414208 h 1692902"/>
                <a:gd name="connsiteX30" fmla="*/ 81436 w 1881147"/>
                <a:gd name="connsiteY30" fmla="*/ 452308 h 1692902"/>
                <a:gd name="connsiteX31" fmla="*/ 33811 w 1881147"/>
                <a:gd name="connsiteY31" fmla="*/ 447546 h 1692902"/>
                <a:gd name="connsiteX32" fmla="*/ 33811 w 1881147"/>
                <a:gd name="connsiteY32" fmla="*/ 518983 h 1692902"/>
                <a:gd name="connsiteX33" fmla="*/ 474 w 1881147"/>
                <a:gd name="connsiteY33" fmla="*/ 623758 h 1692902"/>
                <a:gd name="connsiteX34" fmla="*/ 62386 w 1881147"/>
                <a:gd name="connsiteY34" fmla="*/ 699958 h 1692902"/>
                <a:gd name="connsiteX35" fmla="*/ 111977 w 1881147"/>
                <a:gd name="connsiteY35" fmla="*/ 680220 h 1692902"/>
                <a:gd name="connsiteX36" fmla="*/ 112334 w 1881147"/>
                <a:gd name="connsiteY36" fmla="*/ 750479 h 1692902"/>
                <a:gd name="connsiteX37" fmla="*/ 167161 w 1881147"/>
                <a:gd name="connsiteY37" fmla="*/ 780921 h 1692902"/>
                <a:gd name="connsiteX38" fmla="*/ 236159 w 1881147"/>
                <a:gd name="connsiteY38" fmla="*/ 791133 h 1692902"/>
                <a:gd name="connsiteX39" fmla="*/ 271462 w 1881147"/>
                <a:gd name="connsiteY39" fmla="*/ 847104 h 1692902"/>
                <a:gd name="connsiteX40" fmla="*/ 270869 w 1881147"/>
                <a:gd name="connsiteY40" fmla="*/ 892176 h 1692902"/>
                <a:gd name="connsiteX41" fmla="*/ 295393 w 1881147"/>
                <a:gd name="connsiteY41" fmla="*/ 931651 h 1692902"/>
                <a:gd name="connsiteX42" fmla="*/ 341051 w 1881147"/>
                <a:gd name="connsiteY42" fmla="*/ 970243 h 1692902"/>
                <a:gd name="connsiteX43" fmla="*/ 426184 w 1881147"/>
                <a:gd name="connsiteY43" fmla="*/ 1024495 h 1692902"/>
                <a:gd name="connsiteX44" fmla="*/ 461961 w 1881147"/>
                <a:gd name="connsiteY44" fmla="*/ 1095588 h 1692902"/>
                <a:gd name="connsiteX45" fmla="*/ 441064 w 1881147"/>
                <a:gd name="connsiteY45" fmla="*/ 1165161 h 1692902"/>
                <a:gd name="connsiteX46" fmla="*/ 519111 w 1881147"/>
                <a:gd name="connsiteY46" fmla="*/ 1221624 h 1692902"/>
                <a:gd name="connsiteX47" fmla="*/ 591143 w 1881147"/>
                <a:gd name="connsiteY47" fmla="*/ 1254618 h 1692902"/>
                <a:gd name="connsiteX48" fmla="*/ 571974 w 1881147"/>
                <a:gd name="connsiteY48" fmla="*/ 1314321 h 1692902"/>
                <a:gd name="connsiteX49" fmla="*/ 662461 w 1881147"/>
                <a:gd name="connsiteY49" fmla="*/ 1466721 h 1692902"/>
                <a:gd name="connsiteX50" fmla="*/ 755271 w 1881147"/>
                <a:gd name="connsiteY50" fmla="*/ 1539875 h 1692902"/>
                <a:gd name="connsiteX51" fmla="*/ 805336 w 1881147"/>
                <a:gd name="connsiteY51" fmla="*/ 1490533 h 1692902"/>
                <a:gd name="connsiteX52" fmla="*/ 869926 w 1881147"/>
                <a:gd name="connsiteY52" fmla="*/ 1517930 h 1692902"/>
                <a:gd name="connsiteX53" fmla="*/ 924399 w 1881147"/>
                <a:gd name="connsiteY53" fmla="*/ 1485771 h 1692902"/>
                <a:gd name="connsiteX54" fmla="*/ 941246 w 1881147"/>
                <a:gd name="connsiteY54" fmla="*/ 1443595 h 1692902"/>
                <a:gd name="connsiteX55" fmla="*/ 1005123 w 1881147"/>
                <a:gd name="connsiteY55" fmla="*/ 1530007 h 1692902"/>
                <a:gd name="connsiteX56" fmla="*/ 1050190 w 1881147"/>
                <a:gd name="connsiteY56" fmla="*/ 1601101 h 1692902"/>
                <a:gd name="connsiteX57" fmla="*/ 1120136 w 1881147"/>
                <a:gd name="connsiteY57" fmla="*/ 1692620 h 1692902"/>
                <a:gd name="connsiteX58" fmla="*/ 1151034 w 1881147"/>
                <a:gd name="connsiteY58" fmla="*/ 1629529 h 1692902"/>
                <a:gd name="connsiteX59" fmla="*/ 1181693 w 1881147"/>
                <a:gd name="connsiteY59" fmla="*/ 1623049 h 1692902"/>
                <a:gd name="connsiteX60" fmla="*/ 1224792 w 1881147"/>
                <a:gd name="connsiteY60" fmla="*/ 1652312 h 1692902"/>
                <a:gd name="connsiteX61" fmla="*/ 1258367 w 1881147"/>
                <a:gd name="connsiteY61" fmla="*/ 1611658 h 1692902"/>
                <a:gd name="connsiteX62" fmla="*/ 1277188 w 1881147"/>
                <a:gd name="connsiteY62" fmla="*/ 1616275 h 1692902"/>
                <a:gd name="connsiteX63" fmla="*/ 1311230 w 1881147"/>
                <a:gd name="connsiteY63" fmla="*/ 1682752 h 1692902"/>
                <a:gd name="connsiteX64" fmla="*/ 1367786 w 1881147"/>
                <a:gd name="connsiteY64" fmla="*/ 1659283 h 1692902"/>
                <a:gd name="connsiteX65" fmla="*/ 1419818 w 1881147"/>
                <a:gd name="connsiteY65" fmla="*/ 1603162 h 1692902"/>
                <a:gd name="connsiteX66" fmla="*/ 1470595 w 1881147"/>
                <a:gd name="connsiteY66" fmla="*/ 1586619 h 1692902"/>
                <a:gd name="connsiteX67" fmla="*/ 1488274 w 1881147"/>
                <a:gd name="connsiteY67" fmla="*/ 1642441 h 1692902"/>
                <a:gd name="connsiteX68" fmla="*/ 1558169 w 1881147"/>
                <a:gd name="connsiteY68" fmla="*/ 1616763 h 1692902"/>
                <a:gd name="connsiteX69" fmla="*/ 1588947 w 1881147"/>
                <a:gd name="connsiteY69" fmla="*/ 1530007 h 1692902"/>
                <a:gd name="connsiteX70" fmla="*/ 1670383 w 1881147"/>
                <a:gd name="connsiteY70" fmla="*/ 1439865 h 1692902"/>
                <a:gd name="connsiteX71" fmla="*/ 1714974 w 1881147"/>
                <a:gd name="connsiteY71" fmla="*/ 1408735 h 1692902"/>
                <a:gd name="connsiteX72" fmla="*/ 1743343 w 1881147"/>
                <a:gd name="connsiteY72" fmla="*/ 1412030 h 1692902"/>
                <a:gd name="connsiteX73" fmla="*/ 1820935 w 1881147"/>
                <a:gd name="connsiteY73" fmla="*/ 1401422 h 1692902"/>
                <a:gd name="connsiteX74" fmla="*/ 1816054 w 1881147"/>
                <a:gd name="connsiteY74" fmla="*/ 1454986 h 1692902"/>
                <a:gd name="connsiteX75" fmla="*/ 1874221 w 1881147"/>
                <a:gd name="connsiteY75" fmla="*/ 1478307 h 1692902"/>
                <a:gd name="connsiteX76" fmla="*/ 1875829 w 1881147"/>
                <a:gd name="connsiteY76" fmla="*/ 1455673 h 1692902"/>
                <a:gd name="connsiteX77" fmla="*/ 1875051 w 1881147"/>
                <a:gd name="connsiteY77" fmla="*/ 1394939 h 1692902"/>
                <a:gd name="connsiteX78" fmla="*/ 1853086 w 1881147"/>
                <a:gd name="connsiteY78" fmla="*/ 1304796 h 1692902"/>
                <a:gd name="connsiteX79" fmla="*/ 1853086 w 1881147"/>
                <a:gd name="connsiteY79" fmla="*/ 1247646 h 1692902"/>
                <a:gd name="connsiteX80" fmla="*/ 1810224 w 1881147"/>
                <a:gd name="connsiteY80" fmla="*/ 1238121 h 1692902"/>
                <a:gd name="connsiteX81" fmla="*/ 1734024 w 1881147"/>
                <a:gd name="connsiteY81" fmla="*/ 1157158 h 1692902"/>
                <a:gd name="connsiteX82" fmla="*/ 1695924 w 1881147"/>
                <a:gd name="connsiteY82" fmla="*/ 976183 h 1692902"/>
                <a:gd name="connsiteX83" fmla="*/ 1643536 w 1881147"/>
                <a:gd name="connsiteY83" fmla="*/ 942846 h 1692902"/>
                <a:gd name="connsiteX84" fmla="*/ 1605436 w 1881147"/>
                <a:gd name="connsiteY84" fmla="*/ 885696 h 1692902"/>
                <a:gd name="connsiteX85" fmla="*/ 1557811 w 1881147"/>
                <a:gd name="connsiteY85" fmla="*/ 838071 h 1692902"/>
                <a:gd name="connsiteX86" fmla="*/ 1505424 w 1881147"/>
                <a:gd name="connsiteY86" fmla="*/ 819021 h 1692902"/>
                <a:gd name="connsiteX87" fmla="*/ 1453036 w 1881147"/>
                <a:gd name="connsiteY87" fmla="*/ 814258 h 1692902"/>
                <a:gd name="connsiteX88" fmla="*/ 1510186 w 1881147"/>
                <a:gd name="connsiteY88" fmla="*/ 780921 h 1692902"/>
                <a:gd name="connsiteX89" fmla="*/ 1476849 w 1881147"/>
                <a:gd name="connsiteY89" fmla="*/ 747583 h 1692902"/>
                <a:gd name="connsiteX90" fmla="*/ 1481611 w 1881147"/>
                <a:gd name="connsiteY90" fmla="*/ 723771 h 1692902"/>
                <a:gd name="connsiteX91" fmla="*/ 1572099 w 1881147"/>
                <a:gd name="connsiteY91" fmla="*/ 761871 h 1692902"/>
                <a:gd name="connsiteX92" fmla="*/ 1624486 w 1881147"/>
                <a:gd name="connsiteY92" fmla="*/ 695196 h 1692902"/>
                <a:gd name="connsiteX93" fmla="*/ 1622283 w 1881147"/>
                <a:gd name="connsiteY93" fmla="*/ 552321 h 1692902"/>
                <a:gd name="connsiteX94" fmla="*/ 1639486 w 1881147"/>
                <a:gd name="connsiteY94" fmla="*/ 403995 h 1692902"/>
                <a:gd name="connsiteX0" fmla="*/ 1639486 w 1881147"/>
                <a:gd name="connsiteY0" fmla="*/ 410678 h 1699585"/>
                <a:gd name="connsiteX1" fmla="*/ 1567336 w 1881147"/>
                <a:gd name="connsiteY1" fmla="*/ 378029 h 1699585"/>
                <a:gd name="connsiteX2" fmla="*/ 1477087 w 1881147"/>
                <a:gd name="connsiteY2" fmla="*/ 354216 h 1699585"/>
                <a:gd name="connsiteX3" fmla="*/ 1423767 w 1881147"/>
                <a:gd name="connsiteY3" fmla="*/ 277132 h 1699585"/>
                <a:gd name="connsiteX4" fmla="*/ 1400666 w 1881147"/>
                <a:gd name="connsiteY4" fmla="*/ 175287 h 1699585"/>
                <a:gd name="connsiteX5" fmla="*/ 1364769 w 1881147"/>
                <a:gd name="connsiteY5" fmla="*/ 7225 h 1699585"/>
                <a:gd name="connsiteX6" fmla="*/ 1297400 w 1881147"/>
                <a:gd name="connsiteY6" fmla="*/ 48923 h 1699585"/>
                <a:gd name="connsiteX7" fmla="*/ 1291832 w 1881147"/>
                <a:gd name="connsiteY7" fmla="*/ 106446 h 1699585"/>
                <a:gd name="connsiteX8" fmla="*/ 1275927 w 1881147"/>
                <a:gd name="connsiteY8" fmla="*/ 157659 h 1699585"/>
                <a:gd name="connsiteX9" fmla="*/ 1214911 w 1881147"/>
                <a:gd name="connsiteY9" fmla="*/ 163716 h 1699585"/>
                <a:gd name="connsiteX10" fmla="*/ 1186336 w 1881147"/>
                <a:gd name="connsiteY10" fmla="*/ 192291 h 1699585"/>
                <a:gd name="connsiteX11" fmla="*/ 1176811 w 1881147"/>
                <a:gd name="connsiteY11" fmla="*/ 263729 h 1699585"/>
                <a:gd name="connsiteX12" fmla="*/ 1114899 w 1881147"/>
                <a:gd name="connsiteY12" fmla="*/ 306591 h 1699585"/>
                <a:gd name="connsiteX13" fmla="*/ 1005361 w 1881147"/>
                <a:gd name="connsiteY13" fmla="*/ 320879 h 1699585"/>
                <a:gd name="connsiteX14" fmla="*/ 962499 w 1881147"/>
                <a:gd name="connsiteY14" fmla="*/ 363741 h 1699585"/>
                <a:gd name="connsiteX15" fmla="*/ 838674 w 1881147"/>
                <a:gd name="connsiteY15" fmla="*/ 363741 h 1699585"/>
                <a:gd name="connsiteX16" fmla="*/ 781524 w 1881147"/>
                <a:gd name="connsiteY16" fmla="*/ 435179 h 1699585"/>
                <a:gd name="connsiteX17" fmla="*/ 781524 w 1881147"/>
                <a:gd name="connsiteY17" fmla="*/ 468516 h 1699585"/>
                <a:gd name="connsiteX18" fmla="*/ 743424 w 1881147"/>
                <a:gd name="connsiteY18" fmla="*/ 492329 h 1699585"/>
                <a:gd name="connsiteX19" fmla="*/ 671986 w 1881147"/>
                <a:gd name="connsiteY19" fmla="*/ 425654 h 1699585"/>
                <a:gd name="connsiteX20" fmla="*/ 519586 w 1881147"/>
                <a:gd name="connsiteY20" fmla="*/ 420891 h 1699585"/>
                <a:gd name="connsiteX21" fmla="*/ 457674 w 1881147"/>
                <a:gd name="connsiteY21" fmla="*/ 439941 h 1699585"/>
                <a:gd name="connsiteX22" fmla="*/ 419574 w 1881147"/>
                <a:gd name="connsiteY22" fmla="*/ 425654 h 1699585"/>
                <a:gd name="connsiteX23" fmla="*/ 400524 w 1881147"/>
                <a:gd name="connsiteY23" fmla="*/ 363741 h 1699585"/>
                <a:gd name="connsiteX24" fmla="*/ 333849 w 1881147"/>
                <a:gd name="connsiteY24" fmla="*/ 311354 h 1699585"/>
                <a:gd name="connsiteX25" fmla="*/ 286224 w 1881147"/>
                <a:gd name="connsiteY25" fmla="*/ 244679 h 1699585"/>
                <a:gd name="connsiteX26" fmla="*/ 143349 w 1881147"/>
                <a:gd name="connsiteY26" fmla="*/ 263729 h 1699585"/>
                <a:gd name="connsiteX27" fmla="*/ 124299 w 1881147"/>
                <a:gd name="connsiteY27" fmla="*/ 339929 h 1699585"/>
                <a:gd name="connsiteX28" fmla="*/ 110011 w 1881147"/>
                <a:gd name="connsiteY28" fmla="*/ 373266 h 1699585"/>
                <a:gd name="connsiteX29" fmla="*/ 133824 w 1881147"/>
                <a:gd name="connsiteY29" fmla="*/ 420891 h 1699585"/>
                <a:gd name="connsiteX30" fmla="*/ 81436 w 1881147"/>
                <a:gd name="connsiteY30" fmla="*/ 458991 h 1699585"/>
                <a:gd name="connsiteX31" fmla="*/ 33811 w 1881147"/>
                <a:gd name="connsiteY31" fmla="*/ 454229 h 1699585"/>
                <a:gd name="connsiteX32" fmla="*/ 33811 w 1881147"/>
                <a:gd name="connsiteY32" fmla="*/ 525666 h 1699585"/>
                <a:gd name="connsiteX33" fmla="*/ 474 w 1881147"/>
                <a:gd name="connsiteY33" fmla="*/ 630441 h 1699585"/>
                <a:gd name="connsiteX34" fmla="*/ 62386 w 1881147"/>
                <a:gd name="connsiteY34" fmla="*/ 706641 h 1699585"/>
                <a:gd name="connsiteX35" fmla="*/ 111977 w 1881147"/>
                <a:gd name="connsiteY35" fmla="*/ 686903 h 1699585"/>
                <a:gd name="connsiteX36" fmla="*/ 112334 w 1881147"/>
                <a:gd name="connsiteY36" fmla="*/ 757162 h 1699585"/>
                <a:gd name="connsiteX37" fmla="*/ 167161 w 1881147"/>
                <a:gd name="connsiteY37" fmla="*/ 787604 h 1699585"/>
                <a:gd name="connsiteX38" fmla="*/ 236159 w 1881147"/>
                <a:gd name="connsiteY38" fmla="*/ 797816 h 1699585"/>
                <a:gd name="connsiteX39" fmla="*/ 271462 w 1881147"/>
                <a:gd name="connsiteY39" fmla="*/ 853787 h 1699585"/>
                <a:gd name="connsiteX40" fmla="*/ 270869 w 1881147"/>
                <a:gd name="connsiteY40" fmla="*/ 898859 h 1699585"/>
                <a:gd name="connsiteX41" fmla="*/ 295393 w 1881147"/>
                <a:gd name="connsiteY41" fmla="*/ 938334 h 1699585"/>
                <a:gd name="connsiteX42" fmla="*/ 341051 w 1881147"/>
                <a:gd name="connsiteY42" fmla="*/ 976926 h 1699585"/>
                <a:gd name="connsiteX43" fmla="*/ 426184 w 1881147"/>
                <a:gd name="connsiteY43" fmla="*/ 1031178 h 1699585"/>
                <a:gd name="connsiteX44" fmla="*/ 461961 w 1881147"/>
                <a:gd name="connsiteY44" fmla="*/ 1102271 h 1699585"/>
                <a:gd name="connsiteX45" fmla="*/ 441064 w 1881147"/>
                <a:gd name="connsiteY45" fmla="*/ 1171844 h 1699585"/>
                <a:gd name="connsiteX46" fmla="*/ 519111 w 1881147"/>
                <a:gd name="connsiteY46" fmla="*/ 1228307 h 1699585"/>
                <a:gd name="connsiteX47" fmla="*/ 591143 w 1881147"/>
                <a:gd name="connsiteY47" fmla="*/ 1261301 h 1699585"/>
                <a:gd name="connsiteX48" fmla="*/ 571974 w 1881147"/>
                <a:gd name="connsiteY48" fmla="*/ 1321004 h 1699585"/>
                <a:gd name="connsiteX49" fmla="*/ 662461 w 1881147"/>
                <a:gd name="connsiteY49" fmla="*/ 1473404 h 1699585"/>
                <a:gd name="connsiteX50" fmla="*/ 755271 w 1881147"/>
                <a:gd name="connsiteY50" fmla="*/ 1546558 h 1699585"/>
                <a:gd name="connsiteX51" fmla="*/ 805336 w 1881147"/>
                <a:gd name="connsiteY51" fmla="*/ 1497216 h 1699585"/>
                <a:gd name="connsiteX52" fmla="*/ 869926 w 1881147"/>
                <a:gd name="connsiteY52" fmla="*/ 1524613 h 1699585"/>
                <a:gd name="connsiteX53" fmla="*/ 924399 w 1881147"/>
                <a:gd name="connsiteY53" fmla="*/ 1492454 h 1699585"/>
                <a:gd name="connsiteX54" fmla="*/ 941246 w 1881147"/>
                <a:gd name="connsiteY54" fmla="*/ 1450278 h 1699585"/>
                <a:gd name="connsiteX55" fmla="*/ 1005123 w 1881147"/>
                <a:gd name="connsiteY55" fmla="*/ 1536690 h 1699585"/>
                <a:gd name="connsiteX56" fmla="*/ 1050190 w 1881147"/>
                <a:gd name="connsiteY56" fmla="*/ 1607784 h 1699585"/>
                <a:gd name="connsiteX57" fmla="*/ 1120136 w 1881147"/>
                <a:gd name="connsiteY57" fmla="*/ 1699303 h 1699585"/>
                <a:gd name="connsiteX58" fmla="*/ 1151034 w 1881147"/>
                <a:gd name="connsiteY58" fmla="*/ 1636212 h 1699585"/>
                <a:gd name="connsiteX59" fmla="*/ 1181693 w 1881147"/>
                <a:gd name="connsiteY59" fmla="*/ 1629732 h 1699585"/>
                <a:gd name="connsiteX60" fmla="*/ 1224792 w 1881147"/>
                <a:gd name="connsiteY60" fmla="*/ 1658995 h 1699585"/>
                <a:gd name="connsiteX61" fmla="*/ 1258367 w 1881147"/>
                <a:gd name="connsiteY61" fmla="*/ 1618341 h 1699585"/>
                <a:gd name="connsiteX62" fmla="*/ 1277188 w 1881147"/>
                <a:gd name="connsiteY62" fmla="*/ 1622958 h 1699585"/>
                <a:gd name="connsiteX63" fmla="*/ 1311230 w 1881147"/>
                <a:gd name="connsiteY63" fmla="*/ 1689435 h 1699585"/>
                <a:gd name="connsiteX64" fmla="*/ 1367786 w 1881147"/>
                <a:gd name="connsiteY64" fmla="*/ 1665966 h 1699585"/>
                <a:gd name="connsiteX65" fmla="*/ 1419818 w 1881147"/>
                <a:gd name="connsiteY65" fmla="*/ 1609845 h 1699585"/>
                <a:gd name="connsiteX66" fmla="*/ 1470595 w 1881147"/>
                <a:gd name="connsiteY66" fmla="*/ 1593302 h 1699585"/>
                <a:gd name="connsiteX67" fmla="*/ 1488274 w 1881147"/>
                <a:gd name="connsiteY67" fmla="*/ 1649124 h 1699585"/>
                <a:gd name="connsiteX68" fmla="*/ 1558169 w 1881147"/>
                <a:gd name="connsiteY68" fmla="*/ 1623446 h 1699585"/>
                <a:gd name="connsiteX69" fmla="*/ 1588947 w 1881147"/>
                <a:gd name="connsiteY69" fmla="*/ 1536690 h 1699585"/>
                <a:gd name="connsiteX70" fmla="*/ 1670383 w 1881147"/>
                <a:gd name="connsiteY70" fmla="*/ 1446548 h 1699585"/>
                <a:gd name="connsiteX71" fmla="*/ 1714974 w 1881147"/>
                <a:gd name="connsiteY71" fmla="*/ 1415418 h 1699585"/>
                <a:gd name="connsiteX72" fmla="*/ 1743343 w 1881147"/>
                <a:gd name="connsiteY72" fmla="*/ 1418713 h 1699585"/>
                <a:gd name="connsiteX73" fmla="*/ 1820935 w 1881147"/>
                <a:gd name="connsiteY73" fmla="*/ 1408105 h 1699585"/>
                <a:gd name="connsiteX74" fmla="*/ 1816054 w 1881147"/>
                <a:gd name="connsiteY74" fmla="*/ 1461669 h 1699585"/>
                <a:gd name="connsiteX75" fmla="*/ 1874221 w 1881147"/>
                <a:gd name="connsiteY75" fmla="*/ 1484990 h 1699585"/>
                <a:gd name="connsiteX76" fmla="*/ 1875829 w 1881147"/>
                <a:gd name="connsiteY76" fmla="*/ 1462356 h 1699585"/>
                <a:gd name="connsiteX77" fmla="*/ 1875051 w 1881147"/>
                <a:gd name="connsiteY77" fmla="*/ 1401622 h 1699585"/>
                <a:gd name="connsiteX78" fmla="*/ 1853086 w 1881147"/>
                <a:gd name="connsiteY78" fmla="*/ 1311479 h 1699585"/>
                <a:gd name="connsiteX79" fmla="*/ 1853086 w 1881147"/>
                <a:gd name="connsiteY79" fmla="*/ 1254329 h 1699585"/>
                <a:gd name="connsiteX80" fmla="*/ 1810224 w 1881147"/>
                <a:gd name="connsiteY80" fmla="*/ 1244804 h 1699585"/>
                <a:gd name="connsiteX81" fmla="*/ 1734024 w 1881147"/>
                <a:gd name="connsiteY81" fmla="*/ 1163841 h 1699585"/>
                <a:gd name="connsiteX82" fmla="*/ 1695924 w 1881147"/>
                <a:gd name="connsiteY82" fmla="*/ 982866 h 1699585"/>
                <a:gd name="connsiteX83" fmla="*/ 1643536 w 1881147"/>
                <a:gd name="connsiteY83" fmla="*/ 949529 h 1699585"/>
                <a:gd name="connsiteX84" fmla="*/ 1605436 w 1881147"/>
                <a:gd name="connsiteY84" fmla="*/ 892379 h 1699585"/>
                <a:gd name="connsiteX85" fmla="*/ 1557811 w 1881147"/>
                <a:gd name="connsiteY85" fmla="*/ 844754 h 1699585"/>
                <a:gd name="connsiteX86" fmla="*/ 1505424 w 1881147"/>
                <a:gd name="connsiteY86" fmla="*/ 825704 h 1699585"/>
                <a:gd name="connsiteX87" fmla="*/ 1453036 w 1881147"/>
                <a:gd name="connsiteY87" fmla="*/ 820941 h 1699585"/>
                <a:gd name="connsiteX88" fmla="*/ 1510186 w 1881147"/>
                <a:gd name="connsiteY88" fmla="*/ 787604 h 1699585"/>
                <a:gd name="connsiteX89" fmla="*/ 1476849 w 1881147"/>
                <a:gd name="connsiteY89" fmla="*/ 754266 h 1699585"/>
                <a:gd name="connsiteX90" fmla="*/ 1481611 w 1881147"/>
                <a:gd name="connsiteY90" fmla="*/ 730454 h 1699585"/>
                <a:gd name="connsiteX91" fmla="*/ 1572099 w 1881147"/>
                <a:gd name="connsiteY91" fmla="*/ 768554 h 1699585"/>
                <a:gd name="connsiteX92" fmla="*/ 1624486 w 1881147"/>
                <a:gd name="connsiteY92" fmla="*/ 701879 h 1699585"/>
                <a:gd name="connsiteX93" fmla="*/ 1622283 w 1881147"/>
                <a:gd name="connsiteY93" fmla="*/ 559004 h 1699585"/>
                <a:gd name="connsiteX94" fmla="*/ 1639486 w 1881147"/>
                <a:gd name="connsiteY94" fmla="*/ 410678 h 1699585"/>
                <a:gd name="connsiteX0" fmla="*/ 1639486 w 1881147"/>
                <a:gd name="connsiteY0" fmla="*/ 419377 h 1708284"/>
                <a:gd name="connsiteX1" fmla="*/ 1567336 w 1881147"/>
                <a:gd name="connsiteY1" fmla="*/ 386728 h 1708284"/>
                <a:gd name="connsiteX2" fmla="*/ 1477087 w 1881147"/>
                <a:gd name="connsiteY2" fmla="*/ 362915 h 1708284"/>
                <a:gd name="connsiteX3" fmla="*/ 1423767 w 1881147"/>
                <a:gd name="connsiteY3" fmla="*/ 285831 h 1708284"/>
                <a:gd name="connsiteX4" fmla="*/ 1400666 w 1881147"/>
                <a:gd name="connsiteY4" fmla="*/ 183986 h 1708284"/>
                <a:gd name="connsiteX5" fmla="*/ 1364769 w 1881147"/>
                <a:gd name="connsiteY5" fmla="*/ 15924 h 1708284"/>
                <a:gd name="connsiteX6" fmla="*/ 1297400 w 1881147"/>
                <a:gd name="connsiteY6" fmla="*/ 57622 h 1708284"/>
                <a:gd name="connsiteX7" fmla="*/ 1291832 w 1881147"/>
                <a:gd name="connsiteY7" fmla="*/ 115145 h 1708284"/>
                <a:gd name="connsiteX8" fmla="*/ 1275927 w 1881147"/>
                <a:gd name="connsiteY8" fmla="*/ 166358 h 1708284"/>
                <a:gd name="connsiteX9" fmla="*/ 1214911 w 1881147"/>
                <a:gd name="connsiteY9" fmla="*/ 172415 h 1708284"/>
                <a:gd name="connsiteX10" fmla="*/ 1186336 w 1881147"/>
                <a:gd name="connsiteY10" fmla="*/ 200990 h 1708284"/>
                <a:gd name="connsiteX11" fmla="*/ 1176811 w 1881147"/>
                <a:gd name="connsiteY11" fmla="*/ 272428 h 1708284"/>
                <a:gd name="connsiteX12" fmla="*/ 1114899 w 1881147"/>
                <a:gd name="connsiteY12" fmla="*/ 315290 h 1708284"/>
                <a:gd name="connsiteX13" fmla="*/ 1005361 w 1881147"/>
                <a:gd name="connsiteY13" fmla="*/ 329578 h 1708284"/>
                <a:gd name="connsiteX14" fmla="*/ 962499 w 1881147"/>
                <a:gd name="connsiteY14" fmla="*/ 372440 h 1708284"/>
                <a:gd name="connsiteX15" fmla="*/ 838674 w 1881147"/>
                <a:gd name="connsiteY15" fmla="*/ 372440 h 1708284"/>
                <a:gd name="connsiteX16" fmla="*/ 781524 w 1881147"/>
                <a:gd name="connsiteY16" fmla="*/ 443878 h 1708284"/>
                <a:gd name="connsiteX17" fmla="*/ 781524 w 1881147"/>
                <a:gd name="connsiteY17" fmla="*/ 477215 h 1708284"/>
                <a:gd name="connsiteX18" fmla="*/ 743424 w 1881147"/>
                <a:gd name="connsiteY18" fmla="*/ 501028 h 1708284"/>
                <a:gd name="connsiteX19" fmla="*/ 671986 w 1881147"/>
                <a:gd name="connsiteY19" fmla="*/ 434353 h 1708284"/>
                <a:gd name="connsiteX20" fmla="*/ 519586 w 1881147"/>
                <a:gd name="connsiteY20" fmla="*/ 429590 h 1708284"/>
                <a:gd name="connsiteX21" fmla="*/ 457674 w 1881147"/>
                <a:gd name="connsiteY21" fmla="*/ 448640 h 1708284"/>
                <a:gd name="connsiteX22" fmla="*/ 419574 w 1881147"/>
                <a:gd name="connsiteY22" fmla="*/ 434353 h 1708284"/>
                <a:gd name="connsiteX23" fmla="*/ 400524 w 1881147"/>
                <a:gd name="connsiteY23" fmla="*/ 372440 h 1708284"/>
                <a:gd name="connsiteX24" fmla="*/ 333849 w 1881147"/>
                <a:gd name="connsiteY24" fmla="*/ 320053 h 1708284"/>
                <a:gd name="connsiteX25" fmla="*/ 286224 w 1881147"/>
                <a:gd name="connsiteY25" fmla="*/ 253378 h 1708284"/>
                <a:gd name="connsiteX26" fmla="*/ 143349 w 1881147"/>
                <a:gd name="connsiteY26" fmla="*/ 272428 h 1708284"/>
                <a:gd name="connsiteX27" fmla="*/ 124299 w 1881147"/>
                <a:gd name="connsiteY27" fmla="*/ 348628 h 1708284"/>
                <a:gd name="connsiteX28" fmla="*/ 110011 w 1881147"/>
                <a:gd name="connsiteY28" fmla="*/ 381965 h 1708284"/>
                <a:gd name="connsiteX29" fmla="*/ 133824 w 1881147"/>
                <a:gd name="connsiteY29" fmla="*/ 429590 h 1708284"/>
                <a:gd name="connsiteX30" fmla="*/ 81436 w 1881147"/>
                <a:gd name="connsiteY30" fmla="*/ 467690 h 1708284"/>
                <a:gd name="connsiteX31" fmla="*/ 33811 w 1881147"/>
                <a:gd name="connsiteY31" fmla="*/ 462928 h 1708284"/>
                <a:gd name="connsiteX32" fmla="*/ 33811 w 1881147"/>
                <a:gd name="connsiteY32" fmla="*/ 534365 h 1708284"/>
                <a:gd name="connsiteX33" fmla="*/ 474 w 1881147"/>
                <a:gd name="connsiteY33" fmla="*/ 639140 h 1708284"/>
                <a:gd name="connsiteX34" fmla="*/ 62386 w 1881147"/>
                <a:gd name="connsiteY34" fmla="*/ 715340 h 1708284"/>
                <a:gd name="connsiteX35" fmla="*/ 111977 w 1881147"/>
                <a:gd name="connsiteY35" fmla="*/ 695602 h 1708284"/>
                <a:gd name="connsiteX36" fmla="*/ 112334 w 1881147"/>
                <a:gd name="connsiteY36" fmla="*/ 765861 h 1708284"/>
                <a:gd name="connsiteX37" fmla="*/ 167161 w 1881147"/>
                <a:gd name="connsiteY37" fmla="*/ 796303 h 1708284"/>
                <a:gd name="connsiteX38" fmla="*/ 236159 w 1881147"/>
                <a:gd name="connsiteY38" fmla="*/ 806515 h 1708284"/>
                <a:gd name="connsiteX39" fmla="*/ 271462 w 1881147"/>
                <a:gd name="connsiteY39" fmla="*/ 862486 h 1708284"/>
                <a:gd name="connsiteX40" fmla="*/ 270869 w 1881147"/>
                <a:gd name="connsiteY40" fmla="*/ 907558 h 1708284"/>
                <a:gd name="connsiteX41" fmla="*/ 295393 w 1881147"/>
                <a:gd name="connsiteY41" fmla="*/ 947033 h 1708284"/>
                <a:gd name="connsiteX42" fmla="*/ 341051 w 1881147"/>
                <a:gd name="connsiteY42" fmla="*/ 985625 h 1708284"/>
                <a:gd name="connsiteX43" fmla="*/ 426184 w 1881147"/>
                <a:gd name="connsiteY43" fmla="*/ 1039877 h 1708284"/>
                <a:gd name="connsiteX44" fmla="*/ 461961 w 1881147"/>
                <a:gd name="connsiteY44" fmla="*/ 1110970 h 1708284"/>
                <a:gd name="connsiteX45" fmla="*/ 441064 w 1881147"/>
                <a:gd name="connsiteY45" fmla="*/ 1180543 h 1708284"/>
                <a:gd name="connsiteX46" fmla="*/ 519111 w 1881147"/>
                <a:gd name="connsiteY46" fmla="*/ 1237006 h 1708284"/>
                <a:gd name="connsiteX47" fmla="*/ 591143 w 1881147"/>
                <a:gd name="connsiteY47" fmla="*/ 1270000 h 1708284"/>
                <a:gd name="connsiteX48" fmla="*/ 571974 w 1881147"/>
                <a:gd name="connsiteY48" fmla="*/ 1329703 h 1708284"/>
                <a:gd name="connsiteX49" fmla="*/ 662461 w 1881147"/>
                <a:gd name="connsiteY49" fmla="*/ 1482103 h 1708284"/>
                <a:gd name="connsiteX50" fmla="*/ 755271 w 1881147"/>
                <a:gd name="connsiteY50" fmla="*/ 1555257 h 1708284"/>
                <a:gd name="connsiteX51" fmla="*/ 805336 w 1881147"/>
                <a:gd name="connsiteY51" fmla="*/ 1505915 h 1708284"/>
                <a:gd name="connsiteX52" fmla="*/ 869926 w 1881147"/>
                <a:gd name="connsiteY52" fmla="*/ 1533312 h 1708284"/>
                <a:gd name="connsiteX53" fmla="*/ 924399 w 1881147"/>
                <a:gd name="connsiteY53" fmla="*/ 1501153 h 1708284"/>
                <a:gd name="connsiteX54" fmla="*/ 941246 w 1881147"/>
                <a:gd name="connsiteY54" fmla="*/ 1458977 h 1708284"/>
                <a:gd name="connsiteX55" fmla="*/ 1005123 w 1881147"/>
                <a:gd name="connsiteY55" fmla="*/ 1545389 h 1708284"/>
                <a:gd name="connsiteX56" fmla="*/ 1050190 w 1881147"/>
                <a:gd name="connsiteY56" fmla="*/ 1616483 h 1708284"/>
                <a:gd name="connsiteX57" fmla="*/ 1120136 w 1881147"/>
                <a:gd name="connsiteY57" fmla="*/ 1708002 h 1708284"/>
                <a:gd name="connsiteX58" fmla="*/ 1151034 w 1881147"/>
                <a:gd name="connsiteY58" fmla="*/ 1644911 h 1708284"/>
                <a:gd name="connsiteX59" fmla="*/ 1181693 w 1881147"/>
                <a:gd name="connsiteY59" fmla="*/ 1638431 h 1708284"/>
                <a:gd name="connsiteX60" fmla="*/ 1224792 w 1881147"/>
                <a:gd name="connsiteY60" fmla="*/ 1667694 h 1708284"/>
                <a:gd name="connsiteX61" fmla="*/ 1258367 w 1881147"/>
                <a:gd name="connsiteY61" fmla="*/ 1627040 h 1708284"/>
                <a:gd name="connsiteX62" fmla="*/ 1277188 w 1881147"/>
                <a:gd name="connsiteY62" fmla="*/ 1631657 h 1708284"/>
                <a:gd name="connsiteX63" fmla="*/ 1311230 w 1881147"/>
                <a:gd name="connsiteY63" fmla="*/ 1698134 h 1708284"/>
                <a:gd name="connsiteX64" fmla="*/ 1367786 w 1881147"/>
                <a:gd name="connsiteY64" fmla="*/ 1674665 h 1708284"/>
                <a:gd name="connsiteX65" fmla="*/ 1419818 w 1881147"/>
                <a:gd name="connsiteY65" fmla="*/ 1618544 h 1708284"/>
                <a:gd name="connsiteX66" fmla="*/ 1470595 w 1881147"/>
                <a:gd name="connsiteY66" fmla="*/ 1602001 h 1708284"/>
                <a:gd name="connsiteX67" fmla="*/ 1488274 w 1881147"/>
                <a:gd name="connsiteY67" fmla="*/ 1657823 h 1708284"/>
                <a:gd name="connsiteX68" fmla="*/ 1558169 w 1881147"/>
                <a:gd name="connsiteY68" fmla="*/ 1632145 h 1708284"/>
                <a:gd name="connsiteX69" fmla="*/ 1588947 w 1881147"/>
                <a:gd name="connsiteY69" fmla="*/ 1545389 h 1708284"/>
                <a:gd name="connsiteX70" fmla="*/ 1670383 w 1881147"/>
                <a:gd name="connsiteY70" fmla="*/ 1455247 h 1708284"/>
                <a:gd name="connsiteX71" fmla="*/ 1714974 w 1881147"/>
                <a:gd name="connsiteY71" fmla="*/ 1424117 h 1708284"/>
                <a:gd name="connsiteX72" fmla="*/ 1743343 w 1881147"/>
                <a:gd name="connsiteY72" fmla="*/ 1427412 h 1708284"/>
                <a:gd name="connsiteX73" fmla="*/ 1820935 w 1881147"/>
                <a:gd name="connsiteY73" fmla="*/ 1416804 h 1708284"/>
                <a:gd name="connsiteX74" fmla="*/ 1816054 w 1881147"/>
                <a:gd name="connsiteY74" fmla="*/ 1470368 h 1708284"/>
                <a:gd name="connsiteX75" fmla="*/ 1874221 w 1881147"/>
                <a:gd name="connsiteY75" fmla="*/ 1493689 h 1708284"/>
                <a:gd name="connsiteX76" fmla="*/ 1875829 w 1881147"/>
                <a:gd name="connsiteY76" fmla="*/ 1471055 h 1708284"/>
                <a:gd name="connsiteX77" fmla="*/ 1875051 w 1881147"/>
                <a:gd name="connsiteY77" fmla="*/ 1410321 h 1708284"/>
                <a:gd name="connsiteX78" fmla="*/ 1853086 w 1881147"/>
                <a:gd name="connsiteY78" fmla="*/ 1320178 h 1708284"/>
                <a:gd name="connsiteX79" fmla="*/ 1853086 w 1881147"/>
                <a:gd name="connsiteY79" fmla="*/ 1263028 h 1708284"/>
                <a:gd name="connsiteX80" fmla="*/ 1810224 w 1881147"/>
                <a:gd name="connsiteY80" fmla="*/ 1253503 h 1708284"/>
                <a:gd name="connsiteX81" fmla="*/ 1734024 w 1881147"/>
                <a:gd name="connsiteY81" fmla="*/ 1172540 h 1708284"/>
                <a:gd name="connsiteX82" fmla="*/ 1695924 w 1881147"/>
                <a:gd name="connsiteY82" fmla="*/ 991565 h 1708284"/>
                <a:gd name="connsiteX83" fmla="*/ 1643536 w 1881147"/>
                <a:gd name="connsiteY83" fmla="*/ 958228 h 1708284"/>
                <a:gd name="connsiteX84" fmla="*/ 1605436 w 1881147"/>
                <a:gd name="connsiteY84" fmla="*/ 901078 h 1708284"/>
                <a:gd name="connsiteX85" fmla="*/ 1557811 w 1881147"/>
                <a:gd name="connsiteY85" fmla="*/ 853453 h 1708284"/>
                <a:gd name="connsiteX86" fmla="*/ 1505424 w 1881147"/>
                <a:gd name="connsiteY86" fmla="*/ 834403 h 1708284"/>
                <a:gd name="connsiteX87" fmla="*/ 1453036 w 1881147"/>
                <a:gd name="connsiteY87" fmla="*/ 829640 h 1708284"/>
                <a:gd name="connsiteX88" fmla="*/ 1510186 w 1881147"/>
                <a:gd name="connsiteY88" fmla="*/ 796303 h 1708284"/>
                <a:gd name="connsiteX89" fmla="*/ 1476849 w 1881147"/>
                <a:gd name="connsiteY89" fmla="*/ 762965 h 1708284"/>
                <a:gd name="connsiteX90" fmla="*/ 1481611 w 1881147"/>
                <a:gd name="connsiteY90" fmla="*/ 739153 h 1708284"/>
                <a:gd name="connsiteX91" fmla="*/ 1572099 w 1881147"/>
                <a:gd name="connsiteY91" fmla="*/ 777253 h 1708284"/>
                <a:gd name="connsiteX92" fmla="*/ 1624486 w 1881147"/>
                <a:gd name="connsiteY92" fmla="*/ 710578 h 1708284"/>
                <a:gd name="connsiteX93" fmla="*/ 1622283 w 1881147"/>
                <a:gd name="connsiteY93" fmla="*/ 567703 h 1708284"/>
                <a:gd name="connsiteX94" fmla="*/ 1639486 w 1881147"/>
                <a:gd name="connsiteY94" fmla="*/ 419377 h 1708284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14911 w 1881147"/>
                <a:gd name="connsiteY9" fmla="*/ 158360 h 1694229"/>
                <a:gd name="connsiteX10" fmla="*/ 1186336 w 1881147"/>
                <a:gd name="connsiteY10" fmla="*/ 186935 h 1694229"/>
                <a:gd name="connsiteX11" fmla="*/ 1176811 w 1881147"/>
                <a:gd name="connsiteY11" fmla="*/ 258373 h 1694229"/>
                <a:gd name="connsiteX12" fmla="*/ 1114899 w 1881147"/>
                <a:gd name="connsiteY12" fmla="*/ 301235 h 1694229"/>
                <a:gd name="connsiteX13" fmla="*/ 1005361 w 1881147"/>
                <a:gd name="connsiteY13" fmla="*/ 315523 h 1694229"/>
                <a:gd name="connsiteX14" fmla="*/ 962499 w 1881147"/>
                <a:gd name="connsiteY14" fmla="*/ 358385 h 1694229"/>
                <a:gd name="connsiteX15" fmla="*/ 838674 w 1881147"/>
                <a:gd name="connsiteY15" fmla="*/ 358385 h 1694229"/>
                <a:gd name="connsiteX16" fmla="*/ 781524 w 1881147"/>
                <a:gd name="connsiteY16" fmla="*/ 429823 h 1694229"/>
                <a:gd name="connsiteX17" fmla="*/ 781524 w 1881147"/>
                <a:gd name="connsiteY17" fmla="*/ 463160 h 1694229"/>
                <a:gd name="connsiteX18" fmla="*/ 743424 w 1881147"/>
                <a:gd name="connsiteY18" fmla="*/ 486973 h 1694229"/>
                <a:gd name="connsiteX19" fmla="*/ 671986 w 1881147"/>
                <a:gd name="connsiteY19" fmla="*/ 420298 h 1694229"/>
                <a:gd name="connsiteX20" fmla="*/ 519586 w 1881147"/>
                <a:gd name="connsiteY20" fmla="*/ 415535 h 1694229"/>
                <a:gd name="connsiteX21" fmla="*/ 457674 w 1881147"/>
                <a:gd name="connsiteY21" fmla="*/ 434585 h 1694229"/>
                <a:gd name="connsiteX22" fmla="*/ 419574 w 1881147"/>
                <a:gd name="connsiteY22" fmla="*/ 420298 h 1694229"/>
                <a:gd name="connsiteX23" fmla="*/ 400524 w 1881147"/>
                <a:gd name="connsiteY23" fmla="*/ 358385 h 1694229"/>
                <a:gd name="connsiteX24" fmla="*/ 333849 w 1881147"/>
                <a:gd name="connsiteY24" fmla="*/ 305998 h 1694229"/>
                <a:gd name="connsiteX25" fmla="*/ 286224 w 1881147"/>
                <a:gd name="connsiteY25" fmla="*/ 239323 h 1694229"/>
                <a:gd name="connsiteX26" fmla="*/ 143349 w 1881147"/>
                <a:gd name="connsiteY26" fmla="*/ 258373 h 1694229"/>
                <a:gd name="connsiteX27" fmla="*/ 124299 w 1881147"/>
                <a:gd name="connsiteY27" fmla="*/ 334573 h 1694229"/>
                <a:gd name="connsiteX28" fmla="*/ 110011 w 1881147"/>
                <a:gd name="connsiteY28" fmla="*/ 367910 h 1694229"/>
                <a:gd name="connsiteX29" fmla="*/ 133824 w 1881147"/>
                <a:gd name="connsiteY29" fmla="*/ 415535 h 1694229"/>
                <a:gd name="connsiteX30" fmla="*/ 81436 w 1881147"/>
                <a:gd name="connsiteY30" fmla="*/ 453635 h 1694229"/>
                <a:gd name="connsiteX31" fmla="*/ 33811 w 1881147"/>
                <a:gd name="connsiteY31" fmla="*/ 448873 h 1694229"/>
                <a:gd name="connsiteX32" fmla="*/ 33811 w 1881147"/>
                <a:gd name="connsiteY32" fmla="*/ 520310 h 1694229"/>
                <a:gd name="connsiteX33" fmla="*/ 474 w 1881147"/>
                <a:gd name="connsiteY33" fmla="*/ 625085 h 1694229"/>
                <a:gd name="connsiteX34" fmla="*/ 62386 w 1881147"/>
                <a:gd name="connsiteY34" fmla="*/ 701285 h 1694229"/>
                <a:gd name="connsiteX35" fmla="*/ 111977 w 1881147"/>
                <a:gd name="connsiteY35" fmla="*/ 681547 h 1694229"/>
                <a:gd name="connsiteX36" fmla="*/ 112334 w 1881147"/>
                <a:gd name="connsiteY36" fmla="*/ 751806 h 1694229"/>
                <a:gd name="connsiteX37" fmla="*/ 167161 w 1881147"/>
                <a:gd name="connsiteY37" fmla="*/ 782248 h 1694229"/>
                <a:gd name="connsiteX38" fmla="*/ 236159 w 1881147"/>
                <a:gd name="connsiteY38" fmla="*/ 792460 h 1694229"/>
                <a:gd name="connsiteX39" fmla="*/ 271462 w 1881147"/>
                <a:gd name="connsiteY39" fmla="*/ 848431 h 1694229"/>
                <a:gd name="connsiteX40" fmla="*/ 270869 w 1881147"/>
                <a:gd name="connsiteY40" fmla="*/ 893503 h 1694229"/>
                <a:gd name="connsiteX41" fmla="*/ 295393 w 1881147"/>
                <a:gd name="connsiteY41" fmla="*/ 932978 h 1694229"/>
                <a:gd name="connsiteX42" fmla="*/ 341051 w 1881147"/>
                <a:gd name="connsiteY42" fmla="*/ 971570 h 1694229"/>
                <a:gd name="connsiteX43" fmla="*/ 426184 w 1881147"/>
                <a:gd name="connsiteY43" fmla="*/ 1025822 h 1694229"/>
                <a:gd name="connsiteX44" fmla="*/ 461961 w 1881147"/>
                <a:gd name="connsiteY44" fmla="*/ 1096915 h 1694229"/>
                <a:gd name="connsiteX45" fmla="*/ 441064 w 1881147"/>
                <a:gd name="connsiteY45" fmla="*/ 1166488 h 1694229"/>
                <a:gd name="connsiteX46" fmla="*/ 519111 w 1881147"/>
                <a:gd name="connsiteY46" fmla="*/ 1222951 h 1694229"/>
                <a:gd name="connsiteX47" fmla="*/ 591143 w 1881147"/>
                <a:gd name="connsiteY47" fmla="*/ 1255945 h 1694229"/>
                <a:gd name="connsiteX48" fmla="*/ 571974 w 1881147"/>
                <a:gd name="connsiteY48" fmla="*/ 1315648 h 1694229"/>
                <a:gd name="connsiteX49" fmla="*/ 662461 w 1881147"/>
                <a:gd name="connsiteY49" fmla="*/ 1468048 h 1694229"/>
                <a:gd name="connsiteX50" fmla="*/ 755271 w 1881147"/>
                <a:gd name="connsiteY50" fmla="*/ 1541202 h 1694229"/>
                <a:gd name="connsiteX51" fmla="*/ 805336 w 1881147"/>
                <a:gd name="connsiteY51" fmla="*/ 1491860 h 1694229"/>
                <a:gd name="connsiteX52" fmla="*/ 869926 w 1881147"/>
                <a:gd name="connsiteY52" fmla="*/ 1519257 h 1694229"/>
                <a:gd name="connsiteX53" fmla="*/ 924399 w 1881147"/>
                <a:gd name="connsiteY53" fmla="*/ 1487098 h 1694229"/>
                <a:gd name="connsiteX54" fmla="*/ 941246 w 1881147"/>
                <a:gd name="connsiteY54" fmla="*/ 1444922 h 1694229"/>
                <a:gd name="connsiteX55" fmla="*/ 1005123 w 1881147"/>
                <a:gd name="connsiteY55" fmla="*/ 1531334 h 1694229"/>
                <a:gd name="connsiteX56" fmla="*/ 1050190 w 1881147"/>
                <a:gd name="connsiteY56" fmla="*/ 1602428 h 1694229"/>
                <a:gd name="connsiteX57" fmla="*/ 1120136 w 1881147"/>
                <a:gd name="connsiteY57" fmla="*/ 1693947 h 1694229"/>
                <a:gd name="connsiteX58" fmla="*/ 1151034 w 1881147"/>
                <a:gd name="connsiteY58" fmla="*/ 1630856 h 1694229"/>
                <a:gd name="connsiteX59" fmla="*/ 1181693 w 1881147"/>
                <a:gd name="connsiteY59" fmla="*/ 1624376 h 1694229"/>
                <a:gd name="connsiteX60" fmla="*/ 1224792 w 1881147"/>
                <a:gd name="connsiteY60" fmla="*/ 1653639 h 1694229"/>
                <a:gd name="connsiteX61" fmla="*/ 1258367 w 1881147"/>
                <a:gd name="connsiteY61" fmla="*/ 1612985 h 1694229"/>
                <a:gd name="connsiteX62" fmla="*/ 1277188 w 1881147"/>
                <a:gd name="connsiteY62" fmla="*/ 1617602 h 1694229"/>
                <a:gd name="connsiteX63" fmla="*/ 1311230 w 1881147"/>
                <a:gd name="connsiteY63" fmla="*/ 1684079 h 1694229"/>
                <a:gd name="connsiteX64" fmla="*/ 1367786 w 1881147"/>
                <a:gd name="connsiteY64" fmla="*/ 1660610 h 1694229"/>
                <a:gd name="connsiteX65" fmla="*/ 1419818 w 1881147"/>
                <a:gd name="connsiteY65" fmla="*/ 1604489 h 1694229"/>
                <a:gd name="connsiteX66" fmla="*/ 1470595 w 1881147"/>
                <a:gd name="connsiteY66" fmla="*/ 1587946 h 1694229"/>
                <a:gd name="connsiteX67" fmla="*/ 1488274 w 1881147"/>
                <a:gd name="connsiteY67" fmla="*/ 1643768 h 1694229"/>
                <a:gd name="connsiteX68" fmla="*/ 1558169 w 1881147"/>
                <a:gd name="connsiteY68" fmla="*/ 1618090 h 1694229"/>
                <a:gd name="connsiteX69" fmla="*/ 1588947 w 1881147"/>
                <a:gd name="connsiteY69" fmla="*/ 1531334 h 1694229"/>
                <a:gd name="connsiteX70" fmla="*/ 1670383 w 1881147"/>
                <a:gd name="connsiteY70" fmla="*/ 1441192 h 1694229"/>
                <a:gd name="connsiteX71" fmla="*/ 1714974 w 1881147"/>
                <a:gd name="connsiteY71" fmla="*/ 1410062 h 1694229"/>
                <a:gd name="connsiteX72" fmla="*/ 1743343 w 1881147"/>
                <a:gd name="connsiteY72" fmla="*/ 1413357 h 1694229"/>
                <a:gd name="connsiteX73" fmla="*/ 1820935 w 1881147"/>
                <a:gd name="connsiteY73" fmla="*/ 1402749 h 1694229"/>
                <a:gd name="connsiteX74" fmla="*/ 1816054 w 1881147"/>
                <a:gd name="connsiteY74" fmla="*/ 1456313 h 1694229"/>
                <a:gd name="connsiteX75" fmla="*/ 1874221 w 1881147"/>
                <a:gd name="connsiteY75" fmla="*/ 1479634 h 1694229"/>
                <a:gd name="connsiteX76" fmla="*/ 1875829 w 1881147"/>
                <a:gd name="connsiteY76" fmla="*/ 1457000 h 1694229"/>
                <a:gd name="connsiteX77" fmla="*/ 1875051 w 1881147"/>
                <a:gd name="connsiteY77" fmla="*/ 1396266 h 1694229"/>
                <a:gd name="connsiteX78" fmla="*/ 1853086 w 1881147"/>
                <a:gd name="connsiteY78" fmla="*/ 1306123 h 1694229"/>
                <a:gd name="connsiteX79" fmla="*/ 1853086 w 1881147"/>
                <a:gd name="connsiteY79" fmla="*/ 1248973 h 1694229"/>
                <a:gd name="connsiteX80" fmla="*/ 1810224 w 1881147"/>
                <a:gd name="connsiteY80" fmla="*/ 1239448 h 1694229"/>
                <a:gd name="connsiteX81" fmla="*/ 1734024 w 1881147"/>
                <a:gd name="connsiteY81" fmla="*/ 1158485 h 1694229"/>
                <a:gd name="connsiteX82" fmla="*/ 1695924 w 1881147"/>
                <a:gd name="connsiteY82" fmla="*/ 977510 h 1694229"/>
                <a:gd name="connsiteX83" fmla="*/ 1643536 w 1881147"/>
                <a:gd name="connsiteY83" fmla="*/ 944173 h 1694229"/>
                <a:gd name="connsiteX84" fmla="*/ 1605436 w 1881147"/>
                <a:gd name="connsiteY84" fmla="*/ 887023 h 1694229"/>
                <a:gd name="connsiteX85" fmla="*/ 1557811 w 1881147"/>
                <a:gd name="connsiteY85" fmla="*/ 839398 h 1694229"/>
                <a:gd name="connsiteX86" fmla="*/ 1505424 w 1881147"/>
                <a:gd name="connsiteY86" fmla="*/ 820348 h 1694229"/>
                <a:gd name="connsiteX87" fmla="*/ 1453036 w 1881147"/>
                <a:gd name="connsiteY87" fmla="*/ 815585 h 1694229"/>
                <a:gd name="connsiteX88" fmla="*/ 1510186 w 1881147"/>
                <a:gd name="connsiteY88" fmla="*/ 782248 h 1694229"/>
                <a:gd name="connsiteX89" fmla="*/ 1476849 w 1881147"/>
                <a:gd name="connsiteY89" fmla="*/ 748910 h 1694229"/>
                <a:gd name="connsiteX90" fmla="*/ 1481611 w 1881147"/>
                <a:gd name="connsiteY90" fmla="*/ 725098 h 1694229"/>
                <a:gd name="connsiteX91" fmla="*/ 1572099 w 1881147"/>
                <a:gd name="connsiteY91" fmla="*/ 763198 h 1694229"/>
                <a:gd name="connsiteX92" fmla="*/ 1624486 w 1881147"/>
                <a:gd name="connsiteY92" fmla="*/ 696523 h 1694229"/>
                <a:gd name="connsiteX93" fmla="*/ 1622283 w 1881147"/>
                <a:gd name="connsiteY93" fmla="*/ 553648 h 1694229"/>
                <a:gd name="connsiteX94" fmla="*/ 1639486 w 1881147"/>
                <a:gd name="connsiteY94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1520 w 1881147"/>
                <a:gd name="connsiteY9" fmla="*/ 206869 h 1694229"/>
                <a:gd name="connsiteX10" fmla="*/ 1186336 w 1881147"/>
                <a:gd name="connsiteY10" fmla="*/ 186935 h 1694229"/>
                <a:gd name="connsiteX11" fmla="*/ 1176811 w 1881147"/>
                <a:gd name="connsiteY11" fmla="*/ 258373 h 1694229"/>
                <a:gd name="connsiteX12" fmla="*/ 1114899 w 1881147"/>
                <a:gd name="connsiteY12" fmla="*/ 301235 h 1694229"/>
                <a:gd name="connsiteX13" fmla="*/ 1005361 w 1881147"/>
                <a:gd name="connsiteY13" fmla="*/ 315523 h 1694229"/>
                <a:gd name="connsiteX14" fmla="*/ 962499 w 1881147"/>
                <a:gd name="connsiteY14" fmla="*/ 358385 h 1694229"/>
                <a:gd name="connsiteX15" fmla="*/ 838674 w 1881147"/>
                <a:gd name="connsiteY15" fmla="*/ 358385 h 1694229"/>
                <a:gd name="connsiteX16" fmla="*/ 781524 w 1881147"/>
                <a:gd name="connsiteY16" fmla="*/ 429823 h 1694229"/>
                <a:gd name="connsiteX17" fmla="*/ 781524 w 1881147"/>
                <a:gd name="connsiteY17" fmla="*/ 463160 h 1694229"/>
                <a:gd name="connsiteX18" fmla="*/ 743424 w 1881147"/>
                <a:gd name="connsiteY18" fmla="*/ 486973 h 1694229"/>
                <a:gd name="connsiteX19" fmla="*/ 671986 w 1881147"/>
                <a:gd name="connsiteY19" fmla="*/ 420298 h 1694229"/>
                <a:gd name="connsiteX20" fmla="*/ 519586 w 1881147"/>
                <a:gd name="connsiteY20" fmla="*/ 415535 h 1694229"/>
                <a:gd name="connsiteX21" fmla="*/ 457674 w 1881147"/>
                <a:gd name="connsiteY21" fmla="*/ 434585 h 1694229"/>
                <a:gd name="connsiteX22" fmla="*/ 419574 w 1881147"/>
                <a:gd name="connsiteY22" fmla="*/ 420298 h 1694229"/>
                <a:gd name="connsiteX23" fmla="*/ 400524 w 1881147"/>
                <a:gd name="connsiteY23" fmla="*/ 358385 h 1694229"/>
                <a:gd name="connsiteX24" fmla="*/ 333849 w 1881147"/>
                <a:gd name="connsiteY24" fmla="*/ 305998 h 1694229"/>
                <a:gd name="connsiteX25" fmla="*/ 286224 w 1881147"/>
                <a:gd name="connsiteY25" fmla="*/ 239323 h 1694229"/>
                <a:gd name="connsiteX26" fmla="*/ 143349 w 1881147"/>
                <a:gd name="connsiteY26" fmla="*/ 258373 h 1694229"/>
                <a:gd name="connsiteX27" fmla="*/ 124299 w 1881147"/>
                <a:gd name="connsiteY27" fmla="*/ 334573 h 1694229"/>
                <a:gd name="connsiteX28" fmla="*/ 110011 w 1881147"/>
                <a:gd name="connsiteY28" fmla="*/ 367910 h 1694229"/>
                <a:gd name="connsiteX29" fmla="*/ 133824 w 1881147"/>
                <a:gd name="connsiteY29" fmla="*/ 415535 h 1694229"/>
                <a:gd name="connsiteX30" fmla="*/ 81436 w 1881147"/>
                <a:gd name="connsiteY30" fmla="*/ 453635 h 1694229"/>
                <a:gd name="connsiteX31" fmla="*/ 33811 w 1881147"/>
                <a:gd name="connsiteY31" fmla="*/ 448873 h 1694229"/>
                <a:gd name="connsiteX32" fmla="*/ 33811 w 1881147"/>
                <a:gd name="connsiteY32" fmla="*/ 520310 h 1694229"/>
                <a:gd name="connsiteX33" fmla="*/ 474 w 1881147"/>
                <a:gd name="connsiteY33" fmla="*/ 625085 h 1694229"/>
                <a:gd name="connsiteX34" fmla="*/ 62386 w 1881147"/>
                <a:gd name="connsiteY34" fmla="*/ 701285 h 1694229"/>
                <a:gd name="connsiteX35" fmla="*/ 111977 w 1881147"/>
                <a:gd name="connsiteY35" fmla="*/ 681547 h 1694229"/>
                <a:gd name="connsiteX36" fmla="*/ 112334 w 1881147"/>
                <a:gd name="connsiteY36" fmla="*/ 751806 h 1694229"/>
                <a:gd name="connsiteX37" fmla="*/ 167161 w 1881147"/>
                <a:gd name="connsiteY37" fmla="*/ 782248 h 1694229"/>
                <a:gd name="connsiteX38" fmla="*/ 236159 w 1881147"/>
                <a:gd name="connsiteY38" fmla="*/ 792460 h 1694229"/>
                <a:gd name="connsiteX39" fmla="*/ 271462 w 1881147"/>
                <a:gd name="connsiteY39" fmla="*/ 848431 h 1694229"/>
                <a:gd name="connsiteX40" fmla="*/ 270869 w 1881147"/>
                <a:gd name="connsiteY40" fmla="*/ 893503 h 1694229"/>
                <a:gd name="connsiteX41" fmla="*/ 295393 w 1881147"/>
                <a:gd name="connsiteY41" fmla="*/ 932978 h 1694229"/>
                <a:gd name="connsiteX42" fmla="*/ 341051 w 1881147"/>
                <a:gd name="connsiteY42" fmla="*/ 971570 h 1694229"/>
                <a:gd name="connsiteX43" fmla="*/ 426184 w 1881147"/>
                <a:gd name="connsiteY43" fmla="*/ 1025822 h 1694229"/>
                <a:gd name="connsiteX44" fmla="*/ 461961 w 1881147"/>
                <a:gd name="connsiteY44" fmla="*/ 1096915 h 1694229"/>
                <a:gd name="connsiteX45" fmla="*/ 441064 w 1881147"/>
                <a:gd name="connsiteY45" fmla="*/ 1166488 h 1694229"/>
                <a:gd name="connsiteX46" fmla="*/ 519111 w 1881147"/>
                <a:gd name="connsiteY46" fmla="*/ 1222951 h 1694229"/>
                <a:gd name="connsiteX47" fmla="*/ 591143 w 1881147"/>
                <a:gd name="connsiteY47" fmla="*/ 1255945 h 1694229"/>
                <a:gd name="connsiteX48" fmla="*/ 571974 w 1881147"/>
                <a:gd name="connsiteY48" fmla="*/ 1315648 h 1694229"/>
                <a:gd name="connsiteX49" fmla="*/ 662461 w 1881147"/>
                <a:gd name="connsiteY49" fmla="*/ 1468048 h 1694229"/>
                <a:gd name="connsiteX50" fmla="*/ 755271 w 1881147"/>
                <a:gd name="connsiteY50" fmla="*/ 1541202 h 1694229"/>
                <a:gd name="connsiteX51" fmla="*/ 805336 w 1881147"/>
                <a:gd name="connsiteY51" fmla="*/ 1491860 h 1694229"/>
                <a:gd name="connsiteX52" fmla="*/ 869926 w 1881147"/>
                <a:gd name="connsiteY52" fmla="*/ 1519257 h 1694229"/>
                <a:gd name="connsiteX53" fmla="*/ 924399 w 1881147"/>
                <a:gd name="connsiteY53" fmla="*/ 1487098 h 1694229"/>
                <a:gd name="connsiteX54" fmla="*/ 941246 w 1881147"/>
                <a:gd name="connsiteY54" fmla="*/ 1444922 h 1694229"/>
                <a:gd name="connsiteX55" fmla="*/ 1005123 w 1881147"/>
                <a:gd name="connsiteY55" fmla="*/ 1531334 h 1694229"/>
                <a:gd name="connsiteX56" fmla="*/ 1050190 w 1881147"/>
                <a:gd name="connsiteY56" fmla="*/ 1602428 h 1694229"/>
                <a:gd name="connsiteX57" fmla="*/ 1120136 w 1881147"/>
                <a:gd name="connsiteY57" fmla="*/ 1693947 h 1694229"/>
                <a:gd name="connsiteX58" fmla="*/ 1151034 w 1881147"/>
                <a:gd name="connsiteY58" fmla="*/ 1630856 h 1694229"/>
                <a:gd name="connsiteX59" fmla="*/ 1181693 w 1881147"/>
                <a:gd name="connsiteY59" fmla="*/ 1624376 h 1694229"/>
                <a:gd name="connsiteX60" fmla="*/ 1224792 w 1881147"/>
                <a:gd name="connsiteY60" fmla="*/ 1653639 h 1694229"/>
                <a:gd name="connsiteX61" fmla="*/ 1258367 w 1881147"/>
                <a:gd name="connsiteY61" fmla="*/ 1612985 h 1694229"/>
                <a:gd name="connsiteX62" fmla="*/ 1277188 w 1881147"/>
                <a:gd name="connsiteY62" fmla="*/ 1617602 h 1694229"/>
                <a:gd name="connsiteX63" fmla="*/ 1311230 w 1881147"/>
                <a:gd name="connsiteY63" fmla="*/ 1684079 h 1694229"/>
                <a:gd name="connsiteX64" fmla="*/ 1367786 w 1881147"/>
                <a:gd name="connsiteY64" fmla="*/ 1660610 h 1694229"/>
                <a:gd name="connsiteX65" fmla="*/ 1419818 w 1881147"/>
                <a:gd name="connsiteY65" fmla="*/ 1604489 h 1694229"/>
                <a:gd name="connsiteX66" fmla="*/ 1470595 w 1881147"/>
                <a:gd name="connsiteY66" fmla="*/ 1587946 h 1694229"/>
                <a:gd name="connsiteX67" fmla="*/ 1488274 w 1881147"/>
                <a:gd name="connsiteY67" fmla="*/ 1643768 h 1694229"/>
                <a:gd name="connsiteX68" fmla="*/ 1558169 w 1881147"/>
                <a:gd name="connsiteY68" fmla="*/ 1618090 h 1694229"/>
                <a:gd name="connsiteX69" fmla="*/ 1588947 w 1881147"/>
                <a:gd name="connsiteY69" fmla="*/ 1531334 h 1694229"/>
                <a:gd name="connsiteX70" fmla="*/ 1670383 w 1881147"/>
                <a:gd name="connsiteY70" fmla="*/ 1441192 h 1694229"/>
                <a:gd name="connsiteX71" fmla="*/ 1714974 w 1881147"/>
                <a:gd name="connsiteY71" fmla="*/ 1410062 h 1694229"/>
                <a:gd name="connsiteX72" fmla="*/ 1743343 w 1881147"/>
                <a:gd name="connsiteY72" fmla="*/ 1413357 h 1694229"/>
                <a:gd name="connsiteX73" fmla="*/ 1820935 w 1881147"/>
                <a:gd name="connsiteY73" fmla="*/ 1402749 h 1694229"/>
                <a:gd name="connsiteX74" fmla="*/ 1816054 w 1881147"/>
                <a:gd name="connsiteY74" fmla="*/ 1456313 h 1694229"/>
                <a:gd name="connsiteX75" fmla="*/ 1874221 w 1881147"/>
                <a:gd name="connsiteY75" fmla="*/ 1479634 h 1694229"/>
                <a:gd name="connsiteX76" fmla="*/ 1875829 w 1881147"/>
                <a:gd name="connsiteY76" fmla="*/ 1457000 h 1694229"/>
                <a:gd name="connsiteX77" fmla="*/ 1875051 w 1881147"/>
                <a:gd name="connsiteY77" fmla="*/ 1396266 h 1694229"/>
                <a:gd name="connsiteX78" fmla="*/ 1853086 w 1881147"/>
                <a:gd name="connsiteY78" fmla="*/ 1306123 h 1694229"/>
                <a:gd name="connsiteX79" fmla="*/ 1853086 w 1881147"/>
                <a:gd name="connsiteY79" fmla="*/ 1248973 h 1694229"/>
                <a:gd name="connsiteX80" fmla="*/ 1810224 w 1881147"/>
                <a:gd name="connsiteY80" fmla="*/ 1239448 h 1694229"/>
                <a:gd name="connsiteX81" fmla="*/ 1734024 w 1881147"/>
                <a:gd name="connsiteY81" fmla="*/ 1158485 h 1694229"/>
                <a:gd name="connsiteX82" fmla="*/ 1695924 w 1881147"/>
                <a:gd name="connsiteY82" fmla="*/ 977510 h 1694229"/>
                <a:gd name="connsiteX83" fmla="*/ 1643536 w 1881147"/>
                <a:gd name="connsiteY83" fmla="*/ 944173 h 1694229"/>
                <a:gd name="connsiteX84" fmla="*/ 1605436 w 1881147"/>
                <a:gd name="connsiteY84" fmla="*/ 887023 h 1694229"/>
                <a:gd name="connsiteX85" fmla="*/ 1557811 w 1881147"/>
                <a:gd name="connsiteY85" fmla="*/ 839398 h 1694229"/>
                <a:gd name="connsiteX86" fmla="*/ 1505424 w 1881147"/>
                <a:gd name="connsiteY86" fmla="*/ 820348 h 1694229"/>
                <a:gd name="connsiteX87" fmla="*/ 1453036 w 1881147"/>
                <a:gd name="connsiteY87" fmla="*/ 815585 h 1694229"/>
                <a:gd name="connsiteX88" fmla="*/ 1510186 w 1881147"/>
                <a:gd name="connsiteY88" fmla="*/ 782248 h 1694229"/>
                <a:gd name="connsiteX89" fmla="*/ 1476849 w 1881147"/>
                <a:gd name="connsiteY89" fmla="*/ 748910 h 1694229"/>
                <a:gd name="connsiteX90" fmla="*/ 1481611 w 1881147"/>
                <a:gd name="connsiteY90" fmla="*/ 725098 h 1694229"/>
                <a:gd name="connsiteX91" fmla="*/ 1572099 w 1881147"/>
                <a:gd name="connsiteY91" fmla="*/ 763198 h 1694229"/>
                <a:gd name="connsiteX92" fmla="*/ 1624486 w 1881147"/>
                <a:gd name="connsiteY92" fmla="*/ 696523 h 1694229"/>
                <a:gd name="connsiteX93" fmla="*/ 1622283 w 1881147"/>
                <a:gd name="connsiteY93" fmla="*/ 553648 h 1694229"/>
                <a:gd name="connsiteX94" fmla="*/ 1639486 w 1881147"/>
                <a:gd name="connsiteY94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1520 w 1881147"/>
                <a:gd name="connsiteY9" fmla="*/ 206869 h 1694229"/>
                <a:gd name="connsiteX10" fmla="*/ 1254673 w 1881147"/>
                <a:gd name="connsiteY10" fmla="*/ 273739 h 1694229"/>
                <a:gd name="connsiteX11" fmla="*/ 1176811 w 1881147"/>
                <a:gd name="connsiteY11" fmla="*/ 258373 h 1694229"/>
                <a:gd name="connsiteX12" fmla="*/ 1114899 w 1881147"/>
                <a:gd name="connsiteY12" fmla="*/ 301235 h 1694229"/>
                <a:gd name="connsiteX13" fmla="*/ 1005361 w 1881147"/>
                <a:gd name="connsiteY13" fmla="*/ 315523 h 1694229"/>
                <a:gd name="connsiteX14" fmla="*/ 962499 w 1881147"/>
                <a:gd name="connsiteY14" fmla="*/ 358385 h 1694229"/>
                <a:gd name="connsiteX15" fmla="*/ 838674 w 1881147"/>
                <a:gd name="connsiteY15" fmla="*/ 358385 h 1694229"/>
                <a:gd name="connsiteX16" fmla="*/ 781524 w 1881147"/>
                <a:gd name="connsiteY16" fmla="*/ 429823 h 1694229"/>
                <a:gd name="connsiteX17" fmla="*/ 781524 w 1881147"/>
                <a:gd name="connsiteY17" fmla="*/ 463160 h 1694229"/>
                <a:gd name="connsiteX18" fmla="*/ 743424 w 1881147"/>
                <a:gd name="connsiteY18" fmla="*/ 486973 h 1694229"/>
                <a:gd name="connsiteX19" fmla="*/ 671986 w 1881147"/>
                <a:gd name="connsiteY19" fmla="*/ 420298 h 1694229"/>
                <a:gd name="connsiteX20" fmla="*/ 519586 w 1881147"/>
                <a:gd name="connsiteY20" fmla="*/ 415535 h 1694229"/>
                <a:gd name="connsiteX21" fmla="*/ 457674 w 1881147"/>
                <a:gd name="connsiteY21" fmla="*/ 434585 h 1694229"/>
                <a:gd name="connsiteX22" fmla="*/ 419574 w 1881147"/>
                <a:gd name="connsiteY22" fmla="*/ 420298 h 1694229"/>
                <a:gd name="connsiteX23" fmla="*/ 400524 w 1881147"/>
                <a:gd name="connsiteY23" fmla="*/ 358385 h 1694229"/>
                <a:gd name="connsiteX24" fmla="*/ 333849 w 1881147"/>
                <a:gd name="connsiteY24" fmla="*/ 305998 h 1694229"/>
                <a:gd name="connsiteX25" fmla="*/ 286224 w 1881147"/>
                <a:gd name="connsiteY25" fmla="*/ 239323 h 1694229"/>
                <a:gd name="connsiteX26" fmla="*/ 143349 w 1881147"/>
                <a:gd name="connsiteY26" fmla="*/ 258373 h 1694229"/>
                <a:gd name="connsiteX27" fmla="*/ 124299 w 1881147"/>
                <a:gd name="connsiteY27" fmla="*/ 334573 h 1694229"/>
                <a:gd name="connsiteX28" fmla="*/ 110011 w 1881147"/>
                <a:gd name="connsiteY28" fmla="*/ 367910 h 1694229"/>
                <a:gd name="connsiteX29" fmla="*/ 133824 w 1881147"/>
                <a:gd name="connsiteY29" fmla="*/ 415535 h 1694229"/>
                <a:gd name="connsiteX30" fmla="*/ 81436 w 1881147"/>
                <a:gd name="connsiteY30" fmla="*/ 453635 h 1694229"/>
                <a:gd name="connsiteX31" fmla="*/ 33811 w 1881147"/>
                <a:gd name="connsiteY31" fmla="*/ 448873 h 1694229"/>
                <a:gd name="connsiteX32" fmla="*/ 33811 w 1881147"/>
                <a:gd name="connsiteY32" fmla="*/ 520310 h 1694229"/>
                <a:gd name="connsiteX33" fmla="*/ 474 w 1881147"/>
                <a:gd name="connsiteY33" fmla="*/ 625085 h 1694229"/>
                <a:gd name="connsiteX34" fmla="*/ 62386 w 1881147"/>
                <a:gd name="connsiteY34" fmla="*/ 701285 h 1694229"/>
                <a:gd name="connsiteX35" fmla="*/ 111977 w 1881147"/>
                <a:gd name="connsiteY35" fmla="*/ 681547 h 1694229"/>
                <a:gd name="connsiteX36" fmla="*/ 112334 w 1881147"/>
                <a:gd name="connsiteY36" fmla="*/ 751806 h 1694229"/>
                <a:gd name="connsiteX37" fmla="*/ 167161 w 1881147"/>
                <a:gd name="connsiteY37" fmla="*/ 782248 h 1694229"/>
                <a:gd name="connsiteX38" fmla="*/ 236159 w 1881147"/>
                <a:gd name="connsiteY38" fmla="*/ 792460 h 1694229"/>
                <a:gd name="connsiteX39" fmla="*/ 271462 w 1881147"/>
                <a:gd name="connsiteY39" fmla="*/ 848431 h 1694229"/>
                <a:gd name="connsiteX40" fmla="*/ 270869 w 1881147"/>
                <a:gd name="connsiteY40" fmla="*/ 893503 h 1694229"/>
                <a:gd name="connsiteX41" fmla="*/ 295393 w 1881147"/>
                <a:gd name="connsiteY41" fmla="*/ 932978 h 1694229"/>
                <a:gd name="connsiteX42" fmla="*/ 341051 w 1881147"/>
                <a:gd name="connsiteY42" fmla="*/ 971570 h 1694229"/>
                <a:gd name="connsiteX43" fmla="*/ 426184 w 1881147"/>
                <a:gd name="connsiteY43" fmla="*/ 1025822 h 1694229"/>
                <a:gd name="connsiteX44" fmla="*/ 461961 w 1881147"/>
                <a:gd name="connsiteY44" fmla="*/ 1096915 h 1694229"/>
                <a:gd name="connsiteX45" fmla="*/ 441064 w 1881147"/>
                <a:gd name="connsiteY45" fmla="*/ 1166488 h 1694229"/>
                <a:gd name="connsiteX46" fmla="*/ 519111 w 1881147"/>
                <a:gd name="connsiteY46" fmla="*/ 1222951 h 1694229"/>
                <a:gd name="connsiteX47" fmla="*/ 591143 w 1881147"/>
                <a:gd name="connsiteY47" fmla="*/ 1255945 h 1694229"/>
                <a:gd name="connsiteX48" fmla="*/ 571974 w 1881147"/>
                <a:gd name="connsiteY48" fmla="*/ 1315648 h 1694229"/>
                <a:gd name="connsiteX49" fmla="*/ 662461 w 1881147"/>
                <a:gd name="connsiteY49" fmla="*/ 1468048 h 1694229"/>
                <a:gd name="connsiteX50" fmla="*/ 755271 w 1881147"/>
                <a:gd name="connsiteY50" fmla="*/ 1541202 h 1694229"/>
                <a:gd name="connsiteX51" fmla="*/ 805336 w 1881147"/>
                <a:gd name="connsiteY51" fmla="*/ 1491860 h 1694229"/>
                <a:gd name="connsiteX52" fmla="*/ 869926 w 1881147"/>
                <a:gd name="connsiteY52" fmla="*/ 1519257 h 1694229"/>
                <a:gd name="connsiteX53" fmla="*/ 924399 w 1881147"/>
                <a:gd name="connsiteY53" fmla="*/ 1487098 h 1694229"/>
                <a:gd name="connsiteX54" fmla="*/ 941246 w 1881147"/>
                <a:gd name="connsiteY54" fmla="*/ 1444922 h 1694229"/>
                <a:gd name="connsiteX55" fmla="*/ 1005123 w 1881147"/>
                <a:gd name="connsiteY55" fmla="*/ 1531334 h 1694229"/>
                <a:gd name="connsiteX56" fmla="*/ 1050190 w 1881147"/>
                <a:gd name="connsiteY56" fmla="*/ 1602428 h 1694229"/>
                <a:gd name="connsiteX57" fmla="*/ 1120136 w 1881147"/>
                <a:gd name="connsiteY57" fmla="*/ 1693947 h 1694229"/>
                <a:gd name="connsiteX58" fmla="*/ 1151034 w 1881147"/>
                <a:gd name="connsiteY58" fmla="*/ 1630856 h 1694229"/>
                <a:gd name="connsiteX59" fmla="*/ 1181693 w 1881147"/>
                <a:gd name="connsiteY59" fmla="*/ 1624376 h 1694229"/>
                <a:gd name="connsiteX60" fmla="*/ 1224792 w 1881147"/>
                <a:gd name="connsiteY60" fmla="*/ 1653639 h 1694229"/>
                <a:gd name="connsiteX61" fmla="*/ 1258367 w 1881147"/>
                <a:gd name="connsiteY61" fmla="*/ 1612985 h 1694229"/>
                <a:gd name="connsiteX62" fmla="*/ 1277188 w 1881147"/>
                <a:gd name="connsiteY62" fmla="*/ 1617602 h 1694229"/>
                <a:gd name="connsiteX63" fmla="*/ 1311230 w 1881147"/>
                <a:gd name="connsiteY63" fmla="*/ 1684079 h 1694229"/>
                <a:gd name="connsiteX64" fmla="*/ 1367786 w 1881147"/>
                <a:gd name="connsiteY64" fmla="*/ 1660610 h 1694229"/>
                <a:gd name="connsiteX65" fmla="*/ 1419818 w 1881147"/>
                <a:gd name="connsiteY65" fmla="*/ 1604489 h 1694229"/>
                <a:gd name="connsiteX66" fmla="*/ 1470595 w 1881147"/>
                <a:gd name="connsiteY66" fmla="*/ 1587946 h 1694229"/>
                <a:gd name="connsiteX67" fmla="*/ 1488274 w 1881147"/>
                <a:gd name="connsiteY67" fmla="*/ 1643768 h 1694229"/>
                <a:gd name="connsiteX68" fmla="*/ 1558169 w 1881147"/>
                <a:gd name="connsiteY68" fmla="*/ 1618090 h 1694229"/>
                <a:gd name="connsiteX69" fmla="*/ 1588947 w 1881147"/>
                <a:gd name="connsiteY69" fmla="*/ 1531334 h 1694229"/>
                <a:gd name="connsiteX70" fmla="*/ 1670383 w 1881147"/>
                <a:gd name="connsiteY70" fmla="*/ 1441192 h 1694229"/>
                <a:gd name="connsiteX71" fmla="*/ 1714974 w 1881147"/>
                <a:gd name="connsiteY71" fmla="*/ 1410062 h 1694229"/>
                <a:gd name="connsiteX72" fmla="*/ 1743343 w 1881147"/>
                <a:gd name="connsiteY72" fmla="*/ 1413357 h 1694229"/>
                <a:gd name="connsiteX73" fmla="*/ 1820935 w 1881147"/>
                <a:gd name="connsiteY73" fmla="*/ 1402749 h 1694229"/>
                <a:gd name="connsiteX74" fmla="*/ 1816054 w 1881147"/>
                <a:gd name="connsiteY74" fmla="*/ 1456313 h 1694229"/>
                <a:gd name="connsiteX75" fmla="*/ 1874221 w 1881147"/>
                <a:gd name="connsiteY75" fmla="*/ 1479634 h 1694229"/>
                <a:gd name="connsiteX76" fmla="*/ 1875829 w 1881147"/>
                <a:gd name="connsiteY76" fmla="*/ 1457000 h 1694229"/>
                <a:gd name="connsiteX77" fmla="*/ 1875051 w 1881147"/>
                <a:gd name="connsiteY77" fmla="*/ 1396266 h 1694229"/>
                <a:gd name="connsiteX78" fmla="*/ 1853086 w 1881147"/>
                <a:gd name="connsiteY78" fmla="*/ 1306123 h 1694229"/>
                <a:gd name="connsiteX79" fmla="*/ 1853086 w 1881147"/>
                <a:gd name="connsiteY79" fmla="*/ 1248973 h 1694229"/>
                <a:gd name="connsiteX80" fmla="*/ 1810224 w 1881147"/>
                <a:gd name="connsiteY80" fmla="*/ 1239448 h 1694229"/>
                <a:gd name="connsiteX81" fmla="*/ 1734024 w 1881147"/>
                <a:gd name="connsiteY81" fmla="*/ 1158485 h 1694229"/>
                <a:gd name="connsiteX82" fmla="*/ 1695924 w 1881147"/>
                <a:gd name="connsiteY82" fmla="*/ 977510 h 1694229"/>
                <a:gd name="connsiteX83" fmla="*/ 1643536 w 1881147"/>
                <a:gd name="connsiteY83" fmla="*/ 944173 h 1694229"/>
                <a:gd name="connsiteX84" fmla="*/ 1605436 w 1881147"/>
                <a:gd name="connsiteY84" fmla="*/ 887023 h 1694229"/>
                <a:gd name="connsiteX85" fmla="*/ 1557811 w 1881147"/>
                <a:gd name="connsiteY85" fmla="*/ 839398 h 1694229"/>
                <a:gd name="connsiteX86" fmla="*/ 1505424 w 1881147"/>
                <a:gd name="connsiteY86" fmla="*/ 820348 h 1694229"/>
                <a:gd name="connsiteX87" fmla="*/ 1453036 w 1881147"/>
                <a:gd name="connsiteY87" fmla="*/ 815585 h 1694229"/>
                <a:gd name="connsiteX88" fmla="*/ 1510186 w 1881147"/>
                <a:gd name="connsiteY88" fmla="*/ 782248 h 1694229"/>
                <a:gd name="connsiteX89" fmla="*/ 1476849 w 1881147"/>
                <a:gd name="connsiteY89" fmla="*/ 748910 h 1694229"/>
                <a:gd name="connsiteX90" fmla="*/ 1481611 w 1881147"/>
                <a:gd name="connsiteY90" fmla="*/ 725098 h 1694229"/>
                <a:gd name="connsiteX91" fmla="*/ 1572099 w 1881147"/>
                <a:gd name="connsiteY91" fmla="*/ 763198 h 1694229"/>
                <a:gd name="connsiteX92" fmla="*/ 1624486 w 1881147"/>
                <a:gd name="connsiteY92" fmla="*/ 696523 h 1694229"/>
                <a:gd name="connsiteX93" fmla="*/ 1622283 w 1881147"/>
                <a:gd name="connsiteY93" fmla="*/ 553648 h 1694229"/>
                <a:gd name="connsiteX94" fmla="*/ 1639486 w 1881147"/>
                <a:gd name="connsiteY94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76811 w 1881147"/>
                <a:gd name="connsiteY11" fmla="*/ 258373 h 1694229"/>
                <a:gd name="connsiteX12" fmla="*/ 1114899 w 1881147"/>
                <a:gd name="connsiteY12" fmla="*/ 301235 h 1694229"/>
                <a:gd name="connsiteX13" fmla="*/ 1005361 w 1881147"/>
                <a:gd name="connsiteY13" fmla="*/ 315523 h 1694229"/>
                <a:gd name="connsiteX14" fmla="*/ 962499 w 1881147"/>
                <a:gd name="connsiteY14" fmla="*/ 358385 h 1694229"/>
                <a:gd name="connsiteX15" fmla="*/ 838674 w 1881147"/>
                <a:gd name="connsiteY15" fmla="*/ 358385 h 1694229"/>
                <a:gd name="connsiteX16" fmla="*/ 781524 w 1881147"/>
                <a:gd name="connsiteY16" fmla="*/ 429823 h 1694229"/>
                <a:gd name="connsiteX17" fmla="*/ 781524 w 1881147"/>
                <a:gd name="connsiteY17" fmla="*/ 463160 h 1694229"/>
                <a:gd name="connsiteX18" fmla="*/ 743424 w 1881147"/>
                <a:gd name="connsiteY18" fmla="*/ 486973 h 1694229"/>
                <a:gd name="connsiteX19" fmla="*/ 671986 w 1881147"/>
                <a:gd name="connsiteY19" fmla="*/ 420298 h 1694229"/>
                <a:gd name="connsiteX20" fmla="*/ 519586 w 1881147"/>
                <a:gd name="connsiteY20" fmla="*/ 415535 h 1694229"/>
                <a:gd name="connsiteX21" fmla="*/ 457674 w 1881147"/>
                <a:gd name="connsiteY21" fmla="*/ 434585 h 1694229"/>
                <a:gd name="connsiteX22" fmla="*/ 419574 w 1881147"/>
                <a:gd name="connsiteY22" fmla="*/ 420298 h 1694229"/>
                <a:gd name="connsiteX23" fmla="*/ 400524 w 1881147"/>
                <a:gd name="connsiteY23" fmla="*/ 358385 h 1694229"/>
                <a:gd name="connsiteX24" fmla="*/ 333849 w 1881147"/>
                <a:gd name="connsiteY24" fmla="*/ 305998 h 1694229"/>
                <a:gd name="connsiteX25" fmla="*/ 286224 w 1881147"/>
                <a:gd name="connsiteY25" fmla="*/ 239323 h 1694229"/>
                <a:gd name="connsiteX26" fmla="*/ 143349 w 1881147"/>
                <a:gd name="connsiteY26" fmla="*/ 258373 h 1694229"/>
                <a:gd name="connsiteX27" fmla="*/ 124299 w 1881147"/>
                <a:gd name="connsiteY27" fmla="*/ 334573 h 1694229"/>
                <a:gd name="connsiteX28" fmla="*/ 110011 w 1881147"/>
                <a:gd name="connsiteY28" fmla="*/ 367910 h 1694229"/>
                <a:gd name="connsiteX29" fmla="*/ 133824 w 1881147"/>
                <a:gd name="connsiteY29" fmla="*/ 415535 h 1694229"/>
                <a:gd name="connsiteX30" fmla="*/ 81436 w 1881147"/>
                <a:gd name="connsiteY30" fmla="*/ 453635 h 1694229"/>
                <a:gd name="connsiteX31" fmla="*/ 33811 w 1881147"/>
                <a:gd name="connsiteY31" fmla="*/ 448873 h 1694229"/>
                <a:gd name="connsiteX32" fmla="*/ 33811 w 1881147"/>
                <a:gd name="connsiteY32" fmla="*/ 520310 h 1694229"/>
                <a:gd name="connsiteX33" fmla="*/ 474 w 1881147"/>
                <a:gd name="connsiteY33" fmla="*/ 625085 h 1694229"/>
                <a:gd name="connsiteX34" fmla="*/ 62386 w 1881147"/>
                <a:gd name="connsiteY34" fmla="*/ 701285 h 1694229"/>
                <a:gd name="connsiteX35" fmla="*/ 111977 w 1881147"/>
                <a:gd name="connsiteY35" fmla="*/ 681547 h 1694229"/>
                <a:gd name="connsiteX36" fmla="*/ 112334 w 1881147"/>
                <a:gd name="connsiteY36" fmla="*/ 751806 h 1694229"/>
                <a:gd name="connsiteX37" fmla="*/ 167161 w 1881147"/>
                <a:gd name="connsiteY37" fmla="*/ 782248 h 1694229"/>
                <a:gd name="connsiteX38" fmla="*/ 236159 w 1881147"/>
                <a:gd name="connsiteY38" fmla="*/ 792460 h 1694229"/>
                <a:gd name="connsiteX39" fmla="*/ 271462 w 1881147"/>
                <a:gd name="connsiteY39" fmla="*/ 848431 h 1694229"/>
                <a:gd name="connsiteX40" fmla="*/ 270869 w 1881147"/>
                <a:gd name="connsiteY40" fmla="*/ 893503 h 1694229"/>
                <a:gd name="connsiteX41" fmla="*/ 295393 w 1881147"/>
                <a:gd name="connsiteY41" fmla="*/ 932978 h 1694229"/>
                <a:gd name="connsiteX42" fmla="*/ 341051 w 1881147"/>
                <a:gd name="connsiteY42" fmla="*/ 971570 h 1694229"/>
                <a:gd name="connsiteX43" fmla="*/ 426184 w 1881147"/>
                <a:gd name="connsiteY43" fmla="*/ 1025822 h 1694229"/>
                <a:gd name="connsiteX44" fmla="*/ 461961 w 1881147"/>
                <a:gd name="connsiteY44" fmla="*/ 1096915 h 1694229"/>
                <a:gd name="connsiteX45" fmla="*/ 441064 w 1881147"/>
                <a:gd name="connsiteY45" fmla="*/ 1166488 h 1694229"/>
                <a:gd name="connsiteX46" fmla="*/ 519111 w 1881147"/>
                <a:gd name="connsiteY46" fmla="*/ 1222951 h 1694229"/>
                <a:gd name="connsiteX47" fmla="*/ 591143 w 1881147"/>
                <a:gd name="connsiteY47" fmla="*/ 1255945 h 1694229"/>
                <a:gd name="connsiteX48" fmla="*/ 571974 w 1881147"/>
                <a:gd name="connsiteY48" fmla="*/ 1315648 h 1694229"/>
                <a:gd name="connsiteX49" fmla="*/ 662461 w 1881147"/>
                <a:gd name="connsiteY49" fmla="*/ 1468048 h 1694229"/>
                <a:gd name="connsiteX50" fmla="*/ 755271 w 1881147"/>
                <a:gd name="connsiteY50" fmla="*/ 1541202 h 1694229"/>
                <a:gd name="connsiteX51" fmla="*/ 805336 w 1881147"/>
                <a:gd name="connsiteY51" fmla="*/ 1491860 h 1694229"/>
                <a:gd name="connsiteX52" fmla="*/ 869926 w 1881147"/>
                <a:gd name="connsiteY52" fmla="*/ 1519257 h 1694229"/>
                <a:gd name="connsiteX53" fmla="*/ 924399 w 1881147"/>
                <a:gd name="connsiteY53" fmla="*/ 1487098 h 1694229"/>
                <a:gd name="connsiteX54" fmla="*/ 941246 w 1881147"/>
                <a:gd name="connsiteY54" fmla="*/ 1444922 h 1694229"/>
                <a:gd name="connsiteX55" fmla="*/ 1005123 w 1881147"/>
                <a:gd name="connsiteY55" fmla="*/ 1531334 h 1694229"/>
                <a:gd name="connsiteX56" fmla="*/ 1050190 w 1881147"/>
                <a:gd name="connsiteY56" fmla="*/ 1602428 h 1694229"/>
                <a:gd name="connsiteX57" fmla="*/ 1120136 w 1881147"/>
                <a:gd name="connsiteY57" fmla="*/ 1693947 h 1694229"/>
                <a:gd name="connsiteX58" fmla="*/ 1151034 w 1881147"/>
                <a:gd name="connsiteY58" fmla="*/ 1630856 h 1694229"/>
                <a:gd name="connsiteX59" fmla="*/ 1181693 w 1881147"/>
                <a:gd name="connsiteY59" fmla="*/ 1624376 h 1694229"/>
                <a:gd name="connsiteX60" fmla="*/ 1224792 w 1881147"/>
                <a:gd name="connsiteY60" fmla="*/ 1653639 h 1694229"/>
                <a:gd name="connsiteX61" fmla="*/ 1258367 w 1881147"/>
                <a:gd name="connsiteY61" fmla="*/ 1612985 h 1694229"/>
                <a:gd name="connsiteX62" fmla="*/ 1277188 w 1881147"/>
                <a:gd name="connsiteY62" fmla="*/ 1617602 h 1694229"/>
                <a:gd name="connsiteX63" fmla="*/ 1311230 w 1881147"/>
                <a:gd name="connsiteY63" fmla="*/ 1684079 h 1694229"/>
                <a:gd name="connsiteX64" fmla="*/ 1367786 w 1881147"/>
                <a:gd name="connsiteY64" fmla="*/ 1660610 h 1694229"/>
                <a:gd name="connsiteX65" fmla="*/ 1419818 w 1881147"/>
                <a:gd name="connsiteY65" fmla="*/ 1604489 h 1694229"/>
                <a:gd name="connsiteX66" fmla="*/ 1470595 w 1881147"/>
                <a:gd name="connsiteY66" fmla="*/ 1587946 h 1694229"/>
                <a:gd name="connsiteX67" fmla="*/ 1488274 w 1881147"/>
                <a:gd name="connsiteY67" fmla="*/ 1643768 h 1694229"/>
                <a:gd name="connsiteX68" fmla="*/ 1558169 w 1881147"/>
                <a:gd name="connsiteY68" fmla="*/ 1618090 h 1694229"/>
                <a:gd name="connsiteX69" fmla="*/ 1588947 w 1881147"/>
                <a:gd name="connsiteY69" fmla="*/ 1531334 h 1694229"/>
                <a:gd name="connsiteX70" fmla="*/ 1670383 w 1881147"/>
                <a:gd name="connsiteY70" fmla="*/ 1441192 h 1694229"/>
                <a:gd name="connsiteX71" fmla="*/ 1714974 w 1881147"/>
                <a:gd name="connsiteY71" fmla="*/ 1410062 h 1694229"/>
                <a:gd name="connsiteX72" fmla="*/ 1743343 w 1881147"/>
                <a:gd name="connsiteY72" fmla="*/ 1413357 h 1694229"/>
                <a:gd name="connsiteX73" fmla="*/ 1820935 w 1881147"/>
                <a:gd name="connsiteY73" fmla="*/ 1402749 h 1694229"/>
                <a:gd name="connsiteX74" fmla="*/ 1816054 w 1881147"/>
                <a:gd name="connsiteY74" fmla="*/ 1456313 h 1694229"/>
                <a:gd name="connsiteX75" fmla="*/ 1874221 w 1881147"/>
                <a:gd name="connsiteY75" fmla="*/ 1479634 h 1694229"/>
                <a:gd name="connsiteX76" fmla="*/ 1875829 w 1881147"/>
                <a:gd name="connsiteY76" fmla="*/ 1457000 h 1694229"/>
                <a:gd name="connsiteX77" fmla="*/ 1875051 w 1881147"/>
                <a:gd name="connsiteY77" fmla="*/ 1396266 h 1694229"/>
                <a:gd name="connsiteX78" fmla="*/ 1853086 w 1881147"/>
                <a:gd name="connsiteY78" fmla="*/ 1306123 h 1694229"/>
                <a:gd name="connsiteX79" fmla="*/ 1853086 w 1881147"/>
                <a:gd name="connsiteY79" fmla="*/ 1248973 h 1694229"/>
                <a:gd name="connsiteX80" fmla="*/ 1810224 w 1881147"/>
                <a:gd name="connsiteY80" fmla="*/ 1239448 h 1694229"/>
                <a:gd name="connsiteX81" fmla="*/ 1734024 w 1881147"/>
                <a:gd name="connsiteY81" fmla="*/ 1158485 h 1694229"/>
                <a:gd name="connsiteX82" fmla="*/ 1695924 w 1881147"/>
                <a:gd name="connsiteY82" fmla="*/ 977510 h 1694229"/>
                <a:gd name="connsiteX83" fmla="*/ 1643536 w 1881147"/>
                <a:gd name="connsiteY83" fmla="*/ 944173 h 1694229"/>
                <a:gd name="connsiteX84" fmla="*/ 1605436 w 1881147"/>
                <a:gd name="connsiteY84" fmla="*/ 887023 h 1694229"/>
                <a:gd name="connsiteX85" fmla="*/ 1557811 w 1881147"/>
                <a:gd name="connsiteY85" fmla="*/ 839398 h 1694229"/>
                <a:gd name="connsiteX86" fmla="*/ 1505424 w 1881147"/>
                <a:gd name="connsiteY86" fmla="*/ 820348 h 1694229"/>
                <a:gd name="connsiteX87" fmla="*/ 1453036 w 1881147"/>
                <a:gd name="connsiteY87" fmla="*/ 815585 h 1694229"/>
                <a:gd name="connsiteX88" fmla="*/ 1510186 w 1881147"/>
                <a:gd name="connsiteY88" fmla="*/ 782248 h 1694229"/>
                <a:gd name="connsiteX89" fmla="*/ 1476849 w 1881147"/>
                <a:gd name="connsiteY89" fmla="*/ 748910 h 1694229"/>
                <a:gd name="connsiteX90" fmla="*/ 1481611 w 1881147"/>
                <a:gd name="connsiteY90" fmla="*/ 725098 h 1694229"/>
                <a:gd name="connsiteX91" fmla="*/ 1572099 w 1881147"/>
                <a:gd name="connsiteY91" fmla="*/ 763198 h 1694229"/>
                <a:gd name="connsiteX92" fmla="*/ 1624486 w 1881147"/>
                <a:gd name="connsiteY92" fmla="*/ 696523 h 1694229"/>
                <a:gd name="connsiteX93" fmla="*/ 1622283 w 1881147"/>
                <a:gd name="connsiteY93" fmla="*/ 553648 h 1694229"/>
                <a:gd name="connsiteX94" fmla="*/ 1639486 w 1881147"/>
                <a:gd name="connsiteY94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74371 w 1881147"/>
                <a:gd name="connsiteY11" fmla="*/ 291563 h 1694229"/>
                <a:gd name="connsiteX12" fmla="*/ 1114899 w 1881147"/>
                <a:gd name="connsiteY12" fmla="*/ 301235 h 1694229"/>
                <a:gd name="connsiteX13" fmla="*/ 1005361 w 1881147"/>
                <a:gd name="connsiteY13" fmla="*/ 315523 h 1694229"/>
                <a:gd name="connsiteX14" fmla="*/ 962499 w 1881147"/>
                <a:gd name="connsiteY14" fmla="*/ 358385 h 1694229"/>
                <a:gd name="connsiteX15" fmla="*/ 838674 w 1881147"/>
                <a:gd name="connsiteY15" fmla="*/ 358385 h 1694229"/>
                <a:gd name="connsiteX16" fmla="*/ 781524 w 1881147"/>
                <a:gd name="connsiteY16" fmla="*/ 429823 h 1694229"/>
                <a:gd name="connsiteX17" fmla="*/ 781524 w 1881147"/>
                <a:gd name="connsiteY17" fmla="*/ 463160 h 1694229"/>
                <a:gd name="connsiteX18" fmla="*/ 743424 w 1881147"/>
                <a:gd name="connsiteY18" fmla="*/ 486973 h 1694229"/>
                <a:gd name="connsiteX19" fmla="*/ 671986 w 1881147"/>
                <a:gd name="connsiteY19" fmla="*/ 420298 h 1694229"/>
                <a:gd name="connsiteX20" fmla="*/ 519586 w 1881147"/>
                <a:gd name="connsiteY20" fmla="*/ 415535 h 1694229"/>
                <a:gd name="connsiteX21" fmla="*/ 457674 w 1881147"/>
                <a:gd name="connsiteY21" fmla="*/ 434585 h 1694229"/>
                <a:gd name="connsiteX22" fmla="*/ 419574 w 1881147"/>
                <a:gd name="connsiteY22" fmla="*/ 420298 h 1694229"/>
                <a:gd name="connsiteX23" fmla="*/ 400524 w 1881147"/>
                <a:gd name="connsiteY23" fmla="*/ 358385 h 1694229"/>
                <a:gd name="connsiteX24" fmla="*/ 333849 w 1881147"/>
                <a:gd name="connsiteY24" fmla="*/ 305998 h 1694229"/>
                <a:gd name="connsiteX25" fmla="*/ 286224 w 1881147"/>
                <a:gd name="connsiteY25" fmla="*/ 239323 h 1694229"/>
                <a:gd name="connsiteX26" fmla="*/ 143349 w 1881147"/>
                <a:gd name="connsiteY26" fmla="*/ 258373 h 1694229"/>
                <a:gd name="connsiteX27" fmla="*/ 124299 w 1881147"/>
                <a:gd name="connsiteY27" fmla="*/ 334573 h 1694229"/>
                <a:gd name="connsiteX28" fmla="*/ 110011 w 1881147"/>
                <a:gd name="connsiteY28" fmla="*/ 367910 h 1694229"/>
                <a:gd name="connsiteX29" fmla="*/ 133824 w 1881147"/>
                <a:gd name="connsiteY29" fmla="*/ 415535 h 1694229"/>
                <a:gd name="connsiteX30" fmla="*/ 81436 w 1881147"/>
                <a:gd name="connsiteY30" fmla="*/ 453635 h 1694229"/>
                <a:gd name="connsiteX31" fmla="*/ 33811 w 1881147"/>
                <a:gd name="connsiteY31" fmla="*/ 448873 h 1694229"/>
                <a:gd name="connsiteX32" fmla="*/ 33811 w 1881147"/>
                <a:gd name="connsiteY32" fmla="*/ 520310 h 1694229"/>
                <a:gd name="connsiteX33" fmla="*/ 474 w 1881147"/>
                <a:gd name="connsiteY33" fmla="*/ 625085 h 1694229"/>
                <a:gd name="connsiteX34" fmla="*/ 62386 w 1881147"/>
                <a:gd name="connsiteY34" fmla="*/ 701285 h 1694229"/>
                <a:gd name="connsiteX35" fmla="*/ 111977 w 1881147"/>
                <a:gd name="connsiteY35" fmla="*/ 681547 h 1694229"/>
                <a:gd name="connsiteX36" fmla="*/ 112334 w 1881147"/>
                <a:gd name="connsiteY36" fmla="*/ 751806 h 1694229"/>
                <a:gd name="connsiteX37" fmla="*/ 167161 w 1881147"/>
                <a:gd name="connsiteY37" fmla="*/ 782248 h 1694229"/>
                <a:gd name="connsiteX38" fmla="*/ 236159 w 1881147"/>
                <a:gd name="connsiteY38" fmla="*/ 792460 h 1694229"/>
                <a:gd name="connsiteX39" fmla="*/ 271462 w 1881147"/>
                <a:gd name="connsiteY39" fmla="*/ 848431 h 1694229"/>
                <a:gd name="connsiteX40" fmla="*/ 270869 w 1881147"/>
                <a:gd name="connsiteY40" fmla="*/ 893503 h 1694229"/>
                <a:gd name="connsiteX41" fmla="*/ 295393 w 1881147"/>
                <a:gd name="connsiteY41" fmla="*/ 932978 h 1694229"/>
                <a:gd name="connsiteX42" fmla="*/ 341051 w 1881147"/>
                <a:gd name="connsiteY42" fmla="*/ 971570 h 1694229"/>
                <a:gd name="connsiteX43" fmla="*/ 426184 w 1881147"/>
                <a:gd name="connsiteY43" fmla="*/ 1025822 h 1694229"/>
                <a:gd name="connsiteX44" fmla="*/ 461961 w 1881147"/>
                <a:gd name="connsiteY44" fmla="*/ 1096915 h 1694229"/>
                <a:gd name="connsiteX45" fmla="*/ 441064 w 1881147"/>
                <a:gd name="connsiteY45" fmla="*/ 1166488 h 1694229"/>
                <a:gd name="connsiteX46" fmla="*/ 519111 w 1881147"/>
                <a:gd name="connsiteY46" fmla="*/ 1222951 h 1694229"/>
                <a:gd name="connsiteX47" fmla="*/ 591143 w 1881147"/>
                <a:gd name="connsiteY47" fmla="*/ 1255945 h 1694229"/>
                <a:gd name="connsiteX48" fmla="*/ 571974 w 1881147"/>
                <a:gd name="connsiteY48" fmla="*/ 1315648 h 1694229"/>
                <a:gd name="connsiteX49" fmla="*/ 662461 w 1881147"/>
                <a:gd name="connsiteY49" fmla="*/ 1468048 h 1694229"/>
                <a:gd name="connsiteX50" fmla="*/ 755271 w 1881147"/>
                <a:gd name="connsiteY50" fmla="*/ 1541202 h 1694229"/>
                <a:gd name="connsiteX51" fmla="*/ 805336 w 1881147"/>
                <a:gd name="connsiteY51" fmla="*/ 1491860 h 1694229"/>
                <a:gd name="connsiteX52" fmla="*/ 869926 w 1881147"/>
                <a:gd name="connsiteY52" fmla="*/ 1519257 h 1694229"/>
                <a:gd name="connsiteX53" fmla="*/ 924399 w 1881147"/>
                <a:gd name="connsiteY53" fmla="*/ 1487098 h 1694229"/>
                <a:gd name="connsiteX54" fmla="*/ 941246 w 1881147"/>
                <a:gd name="connsiteY54" fmla="*/ 1444922 h 1694229"/>
                <a:gd name="connsiteX55" fmla="*/ 1005123 w 1881147"/>
                <a:gd name="connsiteY55" fmla="*/ 1531334 h 1694229"/>
                <a:gd name="connsiteX56" fmla="*/ 1050190 w 1881147"/>
                <a:gd name="connsiteY56" fmla="*/ 1602428 h 1694229"/>
                <a:gd name="connsiteX57" fmla="*/ 1120136 w 1881147"/>
                <a:gd name="connsiteY57" fmla="*/ 1693947 h 1694229"/>
                <a:gd name="connsiteX58" fmla="*/ 1151034 w 1881147"/>
                <a:gd name="connsiteY58" fmla="*/ 1630856 h 1694229"/>
                <a:gd name="connsiteX59" fmla="*/ 1181693 w 1881147"/>
                <a:gd name="connsiteY59" fmla="*/ 1624376 h 1694229"/>
                <a:gd name="connsiteX60" fmla="*/ 1224792 w 1881147"/>
                <a:gd name="connsiteY60" fmla="*/ 1653639 h 1694229"/>
                <a:gd name="connsiteX61" fmla="*/ 1258367 w 1881147"/>
                <a:gd name="connsiteY61" fmla="*/ 1612985 h 1694229"/>
                <a:gd name="connsiteX62" fmla="*/ 1277188 w 1881147"/>
                <a:gd name="connsiteY62" fmla="*/ 1617602 h 1694229"/>
                <a:gd name="connsiteX63" fmla="*/ 1311230 w 1881147"/>
                <a:gd name="connsiteY63" fmla="*/ 1684079 h 1694229"/>
                <a:gd name="connsiteX64" fmla="*/ 1367786 w 1881147"/>
                <a:gd name="connsiteY64" fmla="*/ 1660610 h 1694229"/>
                <a:gd name="connsiteX65" fmla="*/ 1419818 w 1881147"/>
                <a:gd name="connsiteY65" fmla="*/ 1604489 h 1694229"/>
                <a:gd name="connsiteX66" fmla="*/ 1470595 w 1881147"/>
                <a:gd name="connsiteY66" fmla="*/ 1587946 h 1694229"/>
                <a:gd name="connsiteX67" fmla="*/ 1488274 w 1881147"/>
                <a:gd name="connsiteY67" fmla="*/ 1643768 h 1694229"/>
                <a:gd name="connsiteX68" fmla="*/ 1558169 w 1881147"/>
                <a:gd name="connsiteY68" fmla="*/ 1618090 h 1694229"/>
                <a:gd name="connsiteX69" fmla="*/ 1588947 w 1881147"/>
                <a:gd name="connsiteY69" fmla="*/ 1531334 h 1694229"/>
                <a:gd name="connsiteX70" fmla="*/ 1670383 w 1881147"/>
                <a:gd name="connsiteY70" fmla="*/ 1441192 h 1694229"/>
                <a:gd name="connsiteX71" fmla="*/ 1714974 w 1881147"/>
                <a:gd name="connsiteY71" fmla="*/ 1410062 h 1694229"/>
                <a:gd name="connsiteX72" fmla="*/ 1743343 w 1881147"/>
                <a:gd name="connsiteY72" fmla="*/ 1413357 h 1694229"/>
                <a:gd name="connsiteX73" fmla="*/ 1820935 w 1881147"/>
                <a:gd name="connsiteY73" fmla="*/ 1402749 h 1694229"/>
                <a:gd name="connsiteX74" fmla="*/ 1816054 w 1881147"/>
                <a:gd name="connsiteY74" fmla="*/ 1456313 h 1694229"/>
                <a:gd name="connsiteX75" fmla="*/ 1874221 w 1881147"/>
                <a:gd name="connsiteY75" fmla="*/ 1479634 h 1694229"/>
                <a:gd name="connsiteX76" fmla="*/ 1875829 w 1881147"/>
                <a:gd name="connsiteY76" fmla="*/ 1457000 h 1694229"/>
                <a:gd name="connsiteX77" fmla="*/ 1875051 w 1881147"/>
                <a:gd name="connsiteY77" fmla="*/ 1396266 h 1694229"/>
                <a:gd name="connsiteX78" fmla="*/ 1853086 w 1881147"/>
                <a:gd name="connsiteY78" fmla="*/ 1306123 h 1694229"/>
                <a:gd name="connsiteX79" fmla="*/ 1853086 w 1881147"/>
                <a:gd name="connsiteY79" fmla="*/ 1248973 h 1694229"/>
                <a:gd name="connsiteX80" fmla="*/ 1810224 w 1881147"/>
                <a:gd name="connsiteY80" fmla="*/ 1239448 h 1694229"/>
                <a:gd name="connsiteX81" fmla="*/ 1734024 w 1881147"/>
                <a:gd name="connsiteY81" fmla="*/ 1158485 h 1694229"/>
                <a:gd name="connsiteX82" fmla="*/ 1695924 w 1881147"/>
                <a:gd name="connsiteY82" fmla="*/ 977510 h 1694229"/>
                <a:gd name="connsiteX83" fmla="*/ 1643536 w 1881147"/>
                <a:gd name="connsiteY83" fmla="*/ 944173 h 1694229"/>
                <a:gd name="connsiteX84" fmla="*/ 1605436 w 1881147"/>
                <a:gd name="connsiteY84" fmla="*/ 887023 h 1694229"/>
                <a:gd name="connsiteX85" fmla="*/ 1557811 w 1881147"/>
                <a:gd name="connsiteY85" fmla="*/ 839398 h 1694229"/>
                <a:gd name="connsiteX86" fmla="*/ 1505424 w 1881147"/>
                <a:gd name="connsiteY86" fmla="*/ 820348 h 1694229"/>
                <a:gd name="connsiteX87" fmla="*/ 1453036 w 1881147"/>
                <a:gd name="connsiteY87" fmla="*/ 815585 h 1694229"/>
                <a:gd name="connsiteX88" fmla="*/ 1510186 w 1881147"/>
                <a:gd name="connsiteY88" fmla="*/ 782248 h 1694229"/>
                <a:gd name="connsiteX89" fmla="*/ 1476849 w 1881147"/>
                <a:gd name="connsiteY89" fmla="*/ 748910 h 1694229"/>
                <a:gd name="connsiteX90" fmla="*/ 1481611 w 1881147"/>
                <a:gd name="connsiteY90" fmla="*/ 725098 h 1694229"/>
                <a:gd name="connsiteX91" fmla="*/ 1572099 w 1881147"/>
                <a:gd name="connsiteY91" fmla="*/ 763198 h 1694229"/>
                <a:gd name="connsiteX92" fmla="*/ 1624486 w 1881147"/>
                <a:gd name="connsiteY92" fmla="*/ 696523 h 1694229"/>
                <a:gd name="connsiteX93" fmla="*/ 1622283 w 1881147"/>
                <a:gd name="connsiteY93" fmla="*/ 553648 h 1694229"/>
                <a:gd name="connsiteX94" fmla="*/ 1639486 w 1881147"/>
                <a:gd name="connsiteY94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74371 w 1881147"/>
                <a:gd name="connsiteY11" fmla="*/ 291563 h 1694229"/>
                <a:gd name="connsiteX12" fmla="*/ 1117339 w 1881147"/>
                <a:gd name="connsiteY12" fmla="*/ 285917 h 1694229"/>
                <a:gd name="connsiteX13" fmla="*/ 1005361 w 1881147"/>
                <a:gd name="connsiteY13" fmla="*/ 315523 h 1694229"/>
                <a:gd name="connsiteX14" fmla="*/ 962499 w 1881147"/>
                <a:gd name="connsiteY14" fmla="*/ 358385 h 1694229"/>
                <a:gd name="connsiteX15" fmla="*/ 838674 w 1881147"/>
                <a:gd name="connsiteY15" fmla="*/ 358385 h 1694229"/>
                <a:gd name="connsiteX16" fmla="*/ 781524 w 1881147"/>
                <a:gd name="connsiteY16" fmla="*/ 429823 h 1694229"/>
                <a:gd name="connsiteX17" fmla="*/ 781524 w 1881147"/>
                <a:gd name="connsiteY17" fmla="*/ 463160 h 1694229"/>
                <a:gd name="connsiteX18" fmla="*/ 743424 w 1881147"/>
                <a:gd name="connsiteY18" fmla="*/ 486973 h 1694229"/>
                <a:gd name="connsiteX19" fmla="*/ 671986 w 1881147"/>
                <a:gd name="connsiteY19" fmla="*/ 420298 h 1694229"/>
                <a:gd name="connsiteX20" fmla="*/ 519586 w 1881147"/>
                <a:gd name="connsiteY20" fmla="*/ 415535 h 1694229"/>
                <a:gd name="connsiteX21" fmla="*/ 457674 w 1881147"/>
                <a:gd name="connsiteY21" fmla="*/ 434585 h 1694229"/>
                <a:gd name="connsiteX22" fmla="*/ 419574 w 1881147"/>
                <a:gd name="connsiteY22" fmla="*/ 420298 h 1694229"/>
                <a:gd name="connsiteX23" fmla="*/ 400524 w 1881147"/>
                <a:gd name="connsiteY23" fmla="*/ 358385 h 1694229"/>
                <a:gd name="connsiteX24" fmla="*/ 333849 w 1881147"/>
                <a:gd name="connsiteY24" fmla="*/ 305998 h 1694229"/>
                <a:gd name="connsiteX25" fmla="*/ 286224 w 1881147"/>
                <a:gd name="connsiteY25" fmla="*/ 239323 h 1694229"/>
                <a:gd name="connsiteX26" fmla="*/ 143349 w 1881147"/>
                <a:gd name="connsiteY26" fmla="*/ 258373 h 1694229"/>
                <a:gd name="connsiteX27" fmla="*/ 124299 w 1881147"/>
                <a:gd name="connsiteY27" fmla="*/ 334573 h 1694229"/>
                <a:gd name="connsiteX28" fmla="*/ 110011 w 1881147"/>
                <a:gd name="connsiteY28" fmla="*/ 367910 h 1694229"/>
                <a:gd name="connsiteX29" fmla="*/ 133824 w 1881147"/>
                <a:gd name="connsiteY29" fmla="*/ 415535 h 1694229"/>
                <a:gd name="connsiteX30" fmla="*/ 81436 w 1881147"/>
                <a:gd name="connsiteY30" fmla="*/ 453635 h 1694229"/>
                <a:gd name="connsiteX31" fmla="*/ 33811 w 1881147"/>
                <a:gd name="connsiteY31" fmla="*/ 448873 h 1694229"/>
                <a:gd name="connsiteX32" fmla="*/ 33811 w 1881147"/>
                <a:gd name="connsiteY32" fmla="*/ 520310 h 1694229"/>
                <a:gd name="connsiteX33" fmla="*/ 474 w 1881147"/>
                <a:gd name="connsiteY33" fmla="*/ 625085 h 1694229"/>
                <a:gd name="connsiteX34" fmla="*/ 62386 w 1881147"/>
                <a:gd name="connsiteY34" fmla="*/ 701285 h 1694229"/>
                <a:gd name="connsiteX35" fmla="*/ 111977 w 1881147"/>
                <a:gd name="connsiteY35" fmla="*/ 681547 h 1694229"/>
                <a:gd name="connsiteX36" fmla="*/ 112334 w 1881147"/>
                <a:gd name="connsiteY36" fmla="*/ 751806 h 1694229"/>
                <a:gd name="connsiteX37" fmla="*/ 167161 w 1881147"/>
                <a:gd name="connsiteY37" fmla="*/ 782248 h 1694229"/>
                <a:gd name="connsiteX38" fmla="*/ 236159 w 1881147"/>
                <a:gd name="connsiteY38" fmla="*/ 792460 h 1694229"/>
                <a:gd name="connsiteX39" fmla="*/ 271462 w 1881147"/>
                <a:gd name="connsiteY39" fmla="*/ 848431 h 1694229"/>
                <a:gd name="connsiteX40" fmla="*/ 270869 w 1881147"/>
                <a:gd name="connsiteY40" fmla="*/ 893503 h 1694229"/>
                <a:gd name="connsiteX41" fmla="*/ 295393 w 1881147"/>
                <a:gd name="connsiteY41" fmla="*/ 932978 h 1694229"/>
                <a:gd name="connsiteX42" fmla="*/ 341051 w 1881147"/>
                <a:gd name="connsiteY42" fmla="*/ 971570 h 1694229"/>
                <a:gd name="connsiteX43" fmla="*/ 426184 w 1881147"/>
                <a:gd name="connsiteY43" fmla="*/ 1025822 h 1694229"/>
                <a:gd name="connsiteX44" fmla="*/ 461961 w 1881147"/>
                <a:gd name="connsiteY44" fmla="*/ 1096915 h 1694229"/>
                <a:gd name="connsiteX45" fmla="*/ 441064 w 1881147"/>
                <a:gd name="connsiteY45" fmla="*/ 1166488 h 1694229"/>
                <a:gd name="connsiteX46" fmla="*/ 519111 w 1881147"/>
                <a:gd name="connsiteY46" fmla="*/ 1222951 h 1694229"/>
                <a:gd name="connsiteX47" fmla="*/ 591143 w 1881147"/>
                <a:gd name="connsiteY47" fmla="*/ 1255945 h 1694229"/>
                <a:gd name="connsiteX48" fmla="*/ 571974 w 1881147"/>
                <a:gd name="connsiteY48" fmla="*/ 1315648 h 1694229"/>
                <a:gd name="connsiteX49" fmla="*/ 662461 w 1881147"/>
                <a:gd name="connsiteY49" fmla="*/ 1468048 h 1694229"/>
                <a:gd name="connsiteX50" fmla="*/ 755271 w 1881147"/>
                <a:gd name="connsiteY50" fmla="*/ 1541202 h 1694229"/>
                <a:gd name="connsiteX51" fmla="*/ 805336 w 1881147"/>
                <a:gd name="connsiteY51" fmla="*/ 1491860 h 1694229"/>
                <a:gd name="connsiteX52" fmla="*/ 869926 w 1881147"/>
                <a:gd name="connsiteY52" fmla="*/ 1519257 h 1694229"/>
                <a:gd name="connsiteX53" fmla="*/ 924399 w 1881147"/>
                <a:gd name="connsiteY53" fmla="*/ 1487098 h 1694229"/>
                <a:gd name="connsiteX54" fmla="*/ 941246 w 1881147"/>
                <a:gd name="connsiteY54" fmla="*/ 1444922 h 1694229"/>
                <a:gd name="connsiteX55" fmla="*/ 1005123 w 1881147"/>
                <a:gd name="connsiteY55" fmla="*/ 1531334 h 1694229"/>
                <a:gd name="connsiteX56" fmla="*/ 1050190 w 1881147"/>
                <a:gd name="connsiteY56" fmla="*/ 1602428 h 1694229"/>
                <a:gd name="connsiteX57" fmla="*/ 1120136 w 1881147"/>
                <a:gd name="connsiteY57" fmla="*/ 1693947 h 1694229"/>
                <a:gd name="connsiteX58" fmla="*/ 1151034 w 1881147"/>
                <a:gd name="connsiteY58" fmla="*/ 1630856 h 1694229"/>
                <a:gd name="connsiteX59" fmla="*/ 1181693 w 1881147"/>
                <a:gd name="connsiteY59" fmla="*/ 1624376 h 1694229"/>
                <a:gd name="connsiteX60" fmla="*/ 1224792 w 1881147"/>
                <a:gd name="connsiteY60" fmla="*/ 1653639 h 1694229"/>
                <a:gd name="connsiteX61" fmla="*/ 1258367 w 1881147"/>
                <a:gd name="connsiteY61" fmla="*/ 1612985 h 1694229"/>
                <a:gd name="connsiteX62" fmla="*/ 1277188 w 1881147"/>
                <a:gd name="connsiteY62" fmla="*/ 1617602 h 1694229"/>
                <a:gd name="connsiteX63" fmla="*/ 1311230 w 1881147"/>
                <a:gd name="connsiteY63" fmla="*/ 1684079 h 1694229"/>
                <a:gd name="connsiteX64" fmla="*/ 1367786 w 1881147"/>
                <a:gd name="connsiteY64" fmla="*/ 1660610 h 1694229"/>
                <a:gd name="connsiteX65" fmla="*/ 1419818 w 1881147"/>
                <a:gd name="connsiteY65" fmla="*/ 1604489 h 1694229"/>
                <a:gd name="connsiteX66" fmla="*/ 1470595 w 1881147"/>
                <a:gd name="connsiteY66" fmla="*/ 1587946 h 1694229"/>
                <a:gd name="connsiteX67" fmla="*/ 1488274 w 1881147"/>
                <a:gd name="connsiteY67" fmla="*/ 1643768 h 1694229"/>
                <a:gd name="connsiteX68" fmla="*/ 1558169 w 1881147"/>
                <a:gd name="connsiteY68" fmla="*/ 1618090 h 1694229"/>
                <a:gd name="connsiteX69" fmla="*/ 1588947 w 1881147"/>
                <a:gd name="connsiteY69" fmla="*/ 1531334 h 1694229"/>
                <a:gd name="connsiteX70" fmla="*/ 1670383 w 1881147"/>
                <a:gd name="connsiteY70" fmla="*/ 1441192 h 1694229"/>
                <a:gd name="connsiteX71" fmla="*/ 1714974 w 1881147"/>
                <a:gd name="connsiteY71" fmla="*/ 1410062 h 1694229"/>
                <a:gd name="connsiteX72" fmla="*/ 1743343 w 1881147"/>
                <a:gd name="connsiteY72" fmla="*/ 1413357 h 1694229"/>
                <a:gd name="connsiteX73" fmla="*/ 1820935 w 1881147"/>
                <a:gd name="connsiteY73" fmla="*/ 1402749 h 1694229"/>
                <a:gd name="connsiteX74" fmla="*/ 1816054 w 1881147"/>
                <a:gd name="connsiteY74" fmla="*/ 1456313 h 1694229"/>
                <a:gd name="connsiteX75" fmla="*/ 1874221 w 1881147"/>
                <a:gd name="connsiteY75" fmla="*/ 1479634 h 1694229"/>
                <a:gd name="connsiteX76" fmla="*/ 1875829 w 1881147"/>
                <a:gd name="connsiteY76" fmla="*/ 1457000 h 1694229"/>
                <a:gd name="connsiteX77" fmla="*/ 1875051 w 1881147"/>
                <a:gd name="connsiteY77" fmla="*/ 1396266 h 1694229"/>
                <a:gd name="connsiteX78" fmla="*/ 1853086 w 1881147"/>
                <a:gd name="connsiteY78" fmla="*/ 1306123 h 1694229"/>
                <a:gd name="connsiteX79" fmla="*/ 1853086 w 1881147"/>
                <a:gd name="connsiteY79" fmla="*/ 1248973 h 1694229"/>
                <a:gd name="connsiteX80" fmla="*/ 1810224 w 1881147"/>
                <a:gd name="connsiteY80" fmla="*/ 1239448 h 1694229"/>
                <a:gd name="connsiteX81" fmla="*/ 1734024 w 1881147"/>
                <a:gd name="connsiteY81" fmla="*/ 1158485 h 1694229"/>
                <a:gd name="connsiteX82" fmla="*/ 1695924 w 1881147"/>
                <a:gd name="connsiteY82" fmla="*/ 977510 h 1694229"/>
                <a:gd name="connsiteX83" fmla="*/ 1643536 w 1881147"/>
                <a:gd name="connsiteY83" fmla="*/ 944173 h 1694229"/>
                <a:gd name="connsiteX84" fmla="*/ 1605436 w 1881147"/>
                <a:gd name="connsiteY84" fmla="*/ 887023 h 1694229"/>
                <a:gd name="connsiteX85" fmla="*/ 1557811 w 1881147"/>
                <a:gd name="connsiteY85" fmla="*/ 839398 h 1694229"/>
                <a:gd name="connsiteX86" fmla="*/ 1505424 w 1881147"/>
                <a:gd name="connsiteY86" fmla="*/ 820348 h 1694229"/>
                <a:gd name="connsiteX87" fmla="*/ 1453036 w 1881147"/>
                <a:gd name="connsiteY87" fmla="*/ 815585 h 1694229"/>
                <a:gd name="connsiteX88" fmla="*/ 1510186 w 1881147"/>
                <a:gd name="connsiteY88" fmla="*/ 782248 h 1694229"/>
                <a:gd name="connsiteX89" fmla="*/ 1476849 w 1881147"/>
                <a:gd name="connsiteY89" fmla="*/ 748910 h 1694229"/>
                <a:gd name="connsiteX90" fmla="*/ 1481611 w 1881147"/>
                <a:gd name="connsiteY90" fmla="*/ 725098 h 1694229"/>
                <a:gd name="connsiteX91" fmla="*/ 1572099 w 1881147"/>
                <a:gd name="connsiteY91" fmla="*/ 763198 h 1694229"/>
                <a:gd name="connsiteX92" fmla="*/ 1624486 w 1881147"/>
                <a:gd name="connsiteY92" fmla="*/ 696523 h 1694229"/>
                <a:gd name="connsiteX93" fmla="*/ 1622283 w 1881147"/>
                <a:gd name="connsiteY93" fmla="*/ 553648 h 1694229"/>
                <a:gd name="connsiteX94" fmla="*/ 1639486 w 1881147"/>
                <a:gd name="connsiteY94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05361 w 1881147"/>
                <a:gd name="connsiteY13" fmla="*/ 315523 h 1694229"/>
                <a:gd name="connsiteX14" fmla="*/ 962499 w 1881147"/>
                <a:gd name="connsiteY14" fmla="*/ 358385 h 1694229"/>
                <a:gd name="connsiteX15" fmla="*/ 838674 w 1881147"/>
                <a:gd name="connsiteY15" fmla="*/ 358385 h 1694229"/>
                <a:gd name="connsiteX16" fmla="*/ 781524 w 1881147"/>
                <a:gd name="connsiteY16" fmla="*/ 429823 h 1694229"/>
                <a:gd name="connsiteX17" fmla="*/ 781524 w 1881147"/>
                <a:gd name="connsiteY17" fmla="*/ 463160 h 1694229"/>
                <a:gd name="connsiteX18" fmla="*/ 743424 w 1881147"/>
                <a:gd name="connsiteY18" fmla="*/ 486973 h 1694229"/>
                <a:gd name="connsiteX19" fmla="*/ 671986 w 1881147"/>
                <a:gd name="connsiteY19" fmla="*/ 420298 h 1694229"/>
                <a:gd name="connsiteX20" fmla="*/ 519586 w 1881147"/>
                <a:gd name="connsiteY20" fmla="*/ 415535 h 1694229"/>
                <a:gd name="connsiteX21" fmla="*/ 457674 w 1881147"/>
                <a:gd name="connsiteY21" fmla="*/ 434585 h 1694229"/>
                <a:gd name="connsiteX22" fmla="*/ 419574 w 1881147"/>
                <a:gd name="connsiteY22" fmla="*/ 420298 h 1694229"/>
                <a:gd name="connsiteX23" fmla="*/ 400524 w 1881147"/>
                <a:gd name="connsiteY23" fmla="*/ 358385 h 1694229"/>
                <a:gd name="connsiteX24" fmla="*/ 333849 w 1881147"/>
                <a:gd name="connsiteY24" fmla="*/ 305998 h 1694229"/>
                <a:gd name="connsiteX25" fmla="*/ 286224 w 1881147"/>
                <a:gd name="connsiteY25" fmla="*/ 239323 h 1694229"/>
                <a:gd name="connsiteX26" fmla="*/ 143349 w 1881147"/>
                <a:gd name="connsiteY26" fmla="*/ 258373 h 1694229"/>
                <a:gd name="connsiteX27" fmla="*/ 124299 w 1881147"/>
                <a:gd name="connsiteY27" fmla="*/ 334573 h 1694229"/>
                <a:gd name="connsiteX28" fmla="*/ 110011 w 1881147"/>
                <a:gd name="connsiteY28" fmla="*/ 367910 h 1694229"/>
                <a:gd name="connsiteX29" fmla="*/ 133824 w 1881147"/>
                <a:gd name="connsiteY29" fmla="*/ 415535 h 1694229"/>
                <a:gd name="connsiteX30" fmla="*/ 81436 w 1881147"/>
                <a:gd name="connsiteY30" fmla="*/ 453635 h 1694229"/>
                <a:gd name="connsiteX31" fmla="*/ 33811 w 1881147"/>
                <a:gd name="connsiteY31" fmla="*/ 448873 h 1694229"/>
                <a:gd name="connsiteX32" fmla="*/ 33811 w 1881147"/>
                <a:gd name="connsiteY32" fmla="*/ 520310 h 1694229"/>
                <a:gd name="connsiteX33" fmla="*/ 474 w 1881147"/>
                <a:gd name="connsiteY33" fmla="*/ 625085 h 1694229"/>
                <a:gd name="connsiteX34" fmla="*/ 62386 w 1881147"/>
                <a:gd name="connsiteY34" fmla="*/ 701285 h 1694229"/>
                <a:gd name="connsiteX35" fmla="*/ 111977 w 1881147"/>
                <a:gd name="connsiteY35" fmla="*/ 681547 h 1694229"/>
                <a:gd name="connsiteX36" fmla="*/ 112334 w 1881147"/>
                <a:gd name="connsiteY36" fmla="*/ 751806 h 1694229"/>
                <a:gd name="connsiteX37" fmla="*/ 167161 w 1881147"/>
                <a:gd name="connsiteY37" fmla="*/ 782248 h 1694229"/>
                <a:gd name="connsiteX38" fmla="*/ 236159 w 1881147"/>
                <a:gd name="connsiteY38" fmla="*/ 792460 h 1694229"/>
                <a:gd name="connsiteX39" fmla="*/ 271462 w 1881147"/>
                <a:gd name="connsiteY39" fmla="*/ 848431 h 1694229"/>
                <a:gd name="connsiteX40" fmla="*/ 270869 w 1881147"/>
                <a:gd name="connsiteY40" fmla="*/ 893503 h 1694229"/>
                <a:gd name="connsiteX41" fmla="*/ 295393 w 1881147"/>
                <a:gd name="connsiteY41" fmla="*/ 932978 h 1694229"/>
                <a:gd name="connsiteX42" fmla="*/ 341051 w 1881147"/>
                <a:gd name="connsiteY42" fmla="*/ 971570 h 1694229"/>
                <a:gd name="connsiteX43" fmla="*/ 426184 w 1881147"/>
                <a:gd name="connsiteY43" fmla="*/ 1025822 h 1694229"/>
                <a:gd name="connsiteX44" fmla="*/ 461961 w 1881147"/>
                <a:gd name="connsiteY44" fmla="*/ 1096915 h 1694229"/>
                <a:gd name="connsiteX45" fmla="*/ 441064 w 1881147"/>
                <a:gd name="connsiteY45" fmla="*/ 1166488 h 1694229"/>
                <a:gd name="connsiteX46" fmla="*/ 519111 w 1881147"/>
                <a:gd name="connsiteY46" fmla="*/ 1222951 h 1694229"/>
                <a:gd name="connsiteX47" fmla="*/ 591143 w 1881147"/>
                <a:gd name="connsiteY47" fmla="*/ 1255945 h 1694229"/>
                <a:gd name="connsiteX48" fmla="*/ 571974 w 1881147"/>
                <a:gd name="connsiteY48" fmla="*/ 1315648 h 1694229"/>
                <a:gd name="connsiteX49" fmla="*/ 662461 w 1881147"/>
                <a:gd name="connsiteY49" fmla="*/ 1468048 h 1694229"/>
                <a:gd name="connsiteX50" fmla="*/ 755271 w 1881147"/>
                <a:gd name="connsiteY50" fmla="*/ 1541202 h 1694229"/>
                <a:gd name="connsiteX51" fmla="*/ 805336 w 1881147"/>
                <a:gd name="connsiteY51" fmla="*/ 1491860 h 1694229"/>
                <a:gd name="connsiteX52" fmla="*/ 869926 w 1881147"/>
                <a:gd name="connsiteY52" fmla="*/ 1519257 h 1694229"/>
                <a:gd name="connsiteX53" fmla="*/ 924399 w 1881147"/>
                <a:gd name="connsiteY53" fmla="*/ 1487098 h 1694229"/>
                <a:gd name="connsiteX54" fmla="*/ 941246 w 1881147"/>
                <a:gd name="connsiteY54" fmla="*/ 1444922 h 1694229"/>
                <a:gd name="connsiteX55" fmla="*/ 1005123 w 1881147"/>
                <a:gd name="connsiteY55" fmla="*/ 1531334 h 1694229"/>
                <a:gd name="connsiteX56" fmla="*/ 1050190 w 1881147"/>
                <a:gd name="connsiteY56" fmla="*/ 1602428 h 1694229"/>
                <a:gd name="connsiteX57" fmla="*/ 1120136 w 1881147"/>
                <a:gd name="connsiteY57" fmla="*/ 1693947 h 1694229"/>
                <a:gd name="connsiteX58" fmla="*/ 1151034 w 1881147"/>
                <a:gd name="connsiteY58" fmla="*/ 1630856 h 1694229"/>
                <a:gd name="connsiteX59" fmla="*/ 1181693 w 1881147"/>
                <a:gd name="connsiteY59" fmla="*/ 1624376 h 1694229"/>
                <a:gd name="connsiteX60" fmla="*/ 1224792 w 1881147"/>
                <a:gd name="connsiteY60" fmla="*/ 1653639 h 1694229"/>
                <a:gd name="connsiteX61" fmla="*/ 1258367 w 1881147"/>
                <a:gd name="connsiteY61" fmla="*/ 1612985 h 1694229"/>
                <a:gd name="connsiteX62" fmla="*/ 1277188 w 1881147"/>
                <a:gd name="connsiteY62" fmla="*/ 1617602 h 1694229"/>
                <a:gd name="connsiteX63" fmla="*/ 1311230 w 1881147"/>
                <a:gd name="connsiteY63" fmla="*/ 1684079 h 1694229"/>
                <a:gd name="connsiteX64" fmla="*/ 1367786 w 1881147"/>
                <a:gd name="connsiteY64" fmla="*/ 1660610 h 1694229"/>
                <a:gd name="connsiteX65" fmla="*/ 1419818 w 1881147"/>
                <a:gd name="connsiteY65" fmla="*/ 1604489 h 1694229"/>
                <a:gd name="connsiteX66" fmla="*/ 1470595 w 1881147"/>
                <a:gd name="connsiteY66" fmla="*/ 1587946 h 1694229"/>
                <a:gd name="connsiteX67" fmla="*/ 1488274 w 1881147"/>
                <a:gd name="connsiteY67" fmla="*/ 1643768 h 1694229"/>
                <a:gd name="connsiteX68" fmla="*/ 1558169 w 1881147"/>
                <a:gd name="connsiteY68" fmla="*/ 1618090 h 1694229"/>
                <a:gd name="connsiteX69" fmla="*/ 1588947 w 1881147"/>
                <a:gd name="connsiteY69" fmla="*/ 1531334 h 1694229"/>
                <a:gd name="connsiteX70" fmla="*/ 1670383 w 1881147"/>
                <a:gd name="connsiteY70" fmla="*/ 1441192 h 1694229"/>
                <a:gd name="connsiteX71" fmla="*/ 1714974 w 1881147"/>
                <a:gd name="connsiteY71" fmla="*/ 1410062 h 1694229"/>
                <a:gd name="connsiteX72" fmla="*/ 1743343 w 1881147"/>
                <a:gd name="connsiteY72" fmla="*/ 1413357 h 1694229"/>
                <a:gd name="connsiteX73" fmla="*/ 1820935 w 1881147"/>
                <a:gd name="connsiteY73" fmla="*/ 1402749 h 1694229"/>
                <a:gd name="connsiteX74" fmla="*/ 1816054 w 1881147"/>
                <a:gd name="connsiteY74" fmla="*/ 1456313 h 1694229"/>
                <a:gd name="connsiteX75" fmla="*/ 1874221 w 1881147"/>
                <a:gd name="connsiteY75" fmla="*/ 1479634 h 1694229"/>
                <a:gd name="connsiteX76" fmla="*/ 1875829 w 1881147"/>
                <a:gd name="connsiteY76" fmla="*/ 1457000 h 1694229"/>
                <a:gd name="connsiteX77" fmla="*/ 1875051 w 1881147"/>
                <a:gd name="connsiteY77" fmla="*/ 1396266 h 1694229"/>
                <a:gd name="connsiteX78" fmla="*/ 1853086 w 1881147"/>
                <a:gd name="connsiteY78" fmla="*/ 1306123 h 1694229"/>
                <a:gd name="connsiteX79" fmla="*/ 1853086 w 1881147"/>
                <a:gd name="connsiteY79" fmla="*/ 1248973 h 1694229"/>
                <a:gd name="connsiteX80" fmla="*/ 1810224 w 1881147"/>
                <a:gd name="connsiteY80" fmla="*/ 1239448 h 1694229"/>
                <a:gd name="connsiteX81" fmla="*/ 1734024 w 1881147"/>
                <a:gd name="connsiteY81" fmla="*/ 1158485 h 1694229"/>
                <a:gd name="connsiteX82" fmla="*/ 1695924 w 1881147"/>
                <a:gd name="connsiteY82" fmla="*/ 977510 h 1694229"/>
                <a:gd name="connsiteX83" fmla="*/ 1643536 w 1881147"/>
                <a:gd name="connsiteY83" fmla="*/ 944173 h 1694229"/>
                <a:gd name="connsiteX84" fmla="*/ 1605436 w 1881147"/>
                <a:gd name="connsiteY84" fmla="*/ 887023 h 1694229"/>
                <a:gd name="connsiteX85" fmla="*/ 1557811 w 1881147"/>
                <a:gd name="connsiteY85" fmla="*/ 839398 h 1694229"/>
                <a:gd name="connsiteX86" fmla="*/ 1505424 w 1881147"/>
                <a:gd name="connsiteY86" fmla="*/ 820348 h 1694229"/>
                <a:gd name="connsiteX87" fmla="*/ 1453036 w 1881147"/>
                <a:gd name="connsiteY87" fmla="*/ 815585 h 1694229"/>
                <a:gd name="connsiteX88" fmla="*/ 1510186 w 1881147"/>
                <a:gd name="connsiteY88" fmla="*/ 782248 h 1694229"/>
                <a:gd name="connsiteX89" fmla="*/ 1476849 w 1881147"/>
                <a:gd name="connsiteY89" fmla="*/ 748910 h 1694229"/>
                <a:gd name="connsiteX90" fmla="*/ 1481611 w 1881147"/>
                <a:gd name="connsiteY90" fmla="*/ 725098 h 1694229"/>
                <a:gd name="connsiteX91" fmla="*/ 1572099 w 1881147"/>
                <a:gd name="connsiteY91" fmla="*/ 763198 h 1694229"/>
                <a:gd name="connsiteX92" fmla="*/ 1624486 w 1881147"/>
                <a:gd name="connsiteY92" fmla="*/ 696523 h 1694229"/>
                <a:gd name="connsiteX93" fmla="*/ 1622283 w 1881147"/>
                <a:gd name="connsiteY93" fmla="*/ 553648 h 1694229"/>
                <a:gd name="connsiteX94" fmla="*/ 1639486 w 1881147"/>
                <a:gd name="connsiteY94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05361 w 1881147"/>
                <a:gd name="connsiteY13" fmla="*/ 315523 h 1694229"/>
                <a:gd name="connsiteX14" fmla="*/ 962499 w 1881147"/>
                <a:gd name="connsiteY14" fmla="*/ 358385 h 1694229"/>
                <a:gd name="connsiteX15" fmla="*/ 838674 w 1881147"/>
                <a:gd name="connsiteY15" fmla="*/ 358385 h 1694229"/>
                <a:gd name="connsiteX16" fmla="*/ 781524 w 1881147"/>
                <a:gd name="connsiteY16" fmla="*/ 429823 h 1694229"/>
                <a:gd name="connsiteX17" fmla="*/ 781524 w 1881147"/>
                <a:gd name="connsiteY17" fmla="*/ 463160 h 1694229"/>
                <a:gd name="connsiteX18" fmla="*/ 743424 w 1881147"/>
                <a:gd name="connsiteY18" fmla="*/ 486973 h 1694229"/>
                <a:gd name="connsiteX19" fmla="*/ 671986 w 1881147"/>
                <a:gd name="connsiteY19" fmla="*/ 420298 h 1694229"/>
                <a:gd name="connsiteX20" fmla="*/ 519586 w 1881147"/>
                <a:gd name="connsiteY20" fmla="*/ 415535 h 1694229"/>
                <a:gd name="connsiteX21" fmla="*/ 457674 w 1881147"/>
                <a:gd name="connsiteY21" fmla="*/ 434585 h 1694229"/>
                <a:gd name="connsiteX22" fmla="*/ 419574 w 1881147"/>
                <a:gd name="connsiteY22" fmla="*/ 420298 h 1694229"/>
                <a:gd name="connsiteX23" fmla="*/ 400524 w 1881147"/>
                <a:gd name="connsiteY23" fmla="*/ 358385 h 1694229"/>
                <a:gd name="connsiteX24" fmla="*/ 333849 w 1881147"/>
                <a:gd name="connsiteY24" fmla="*/ 305998 h 1694229"/>
                <a:gd name="connsiteX25" fmla="*/ 286224 w 1881147"/>
                <a:gd name="connsiteY25" fmla="*/ 239323 h 1694229"/>
                <a:gd name="connsiteX26" fmla="*/ 143349 w 1881147"/>
                <a:gd name="connsiteY26" fmla="*/ 258373 h 1694229"/>
                <a:gd name="connsiteX27" fmla="*/ 124299 w 1881147"/>
                <a:gd name="connsiteY27" fmla="*/ 334573 h 1694229"/>
                <a:gd name="connsiteX28" fmla="*/ 110011 w 1881147"/>
                <a:gd name="connsiteY28" fmla="*/ 367910 h 1694229"/>
                <a:gd name="connsiteX29" fmla="*/ 133824 w 1881147"/>
                <a:gd name="connsiteY29" fmla="*/ 415535 h 1694229"/>
                <a:gd name="connsiteX30" fmla="*/ 81436 w 1881147"/>
                <a:gd name="connsiteY30" fmla="*/ 453635 h 1694229"/>
                <a:gd name="connsiteX31" fmla="*/ 33811 w 1881147"/>
                <a:gd name="connsiteY31" fmla="*/ 448873 h 1694229"/>
                <a:gd name="connsiteX32" fmla="*/ 33811 w 1881147"/>
                <a:gd name="connsiteY32" fmla="*/ 520310 h 1694229"/>
                <a:gd name="connsiteX33" fmla="*/ 474 w 1881147"/>
                <a:gd name="connsiteY33" fmla="*/ 625085 h 1694229"/>
                <a:gd name="connsiteX34" fmla="*/ 62386 w 1881147"/>
                <a:gd name="connsiteY34" fmla="*/ 701285 h 1694229"/>
                <a:gd name="connsiteX35" fmla="*/ 111977 w 1881147"/>
                <a:gd name="connsiteY35" fmla="*/ 681547 h 1694229"/>
                <a:gd name="connsiteX36" fmla="*/ 112334 w 1881147"/>
                <a:gd name="connsiteY36" fmla="*/ 751806 h 1694229"/>
                <a:gd name="connsiteX37" fmla="*/ 167161 w 1881147"/>
                <a:gd name="connsiteY37" fmla="*/ 782248 h 1694229"/>
                <a:gd name="connsiteX38" fmla="*/ 236159 w 1881147"/>
                <a:gd name="connsiteY38" fmla="*/ 792460 h 1694229"/>
                <a:gd name="connsiteX39" fmla="*/ 271462 w 1881147"/>
                <a:gd name="connsiteY39" fmla="*/ 848431 h 1694229"/>
                <a:gd name="connsiteX40" fmla="*/ 270869 w 1881147"/>
                <a:gd name="connsiteY40" fmla="*/ 893503 h 1694229"/>
                <a:gd name="connsiteX41" fmla="*/ 295393 w 1881147"/>
                <a:gd name="connsiteY41" fmla="*/ 932978 h 1694229"/>
                <a:gd name="connsiteX42" fmla="*/ 341051 w 1881147"/>
                <a:gd name="connsiteY42" fmla="*/ 971570 h 1694229"/>
                <a:gd name="connsiteX43" fmla="*/ 426184 w 1881147"/>
                <a:gd name="connsiteY43" fmla="*/ 1025822 h 1694229"/>
                <a:gd name="connsiteX44" fmla="*/ 461961 w 1881147"/>
                <a:gd name="connsiteY44" fmla="*/ 1096915 h 1694229"/>
                <a:gd name="connsiteX45" fmla="*/ 441064 w 1881147"/>
                <a:gd name="connsiteY45" fmla="*/ 1166488 h 1694229"/>
                <a:gd name="connsiteX46" fmla="*/ 519111 w 1881147"/>
                <a:gd name="connsiteY46" fmla="*/ 1222951 h 1694229"/>
                <a:gd name="connsiteX47" fmla="*/ 591143 w 1881147"/>
                <a:gd name="connsiteY47" fmla="*/ 1255945 h 1694229"/>
                <a:gd name="connsiteX48" fmla="*/ 571974 w 1881147"/>
                <a:gd name="connsiteY48" fmla="*/ 1315648 h 1694229"/>
                <a:gd name="connsiteX49" fmla="*/ 662461 w 1881147"/>
                <a:gd name="connsiteY49" fmla="*/ 1468048 h 1694229"/>
                <a:gd name="connsiteX50" fmla="*/ 755271 w 1881147"/>
                <a:gd name="connsiteY50" fmla="*/ 1541202 h 1694229"/>
                <a:gd name="connsiteX51" fmla="*/ 805336 w 1881147"/>
                <a:gd name="connsiteY51" fmla="*/ 1491860 h 1694229"/>
                <a:gd name="connsiteX52" fmla="*/ 869926 w 1881147"/>
                <a:gd name="connsiteY52" fmla="*/ 1519257 h 1694229"/>
                <a:gd name="connsiteX53" fmla="*/ 924399 w 1881147"/>
                <a:gd name="connsiteY53" fmla="*/ 1487098 h 1694229"/>
                <a:gd name="connsiteX54" fmla="*/ 941246 w 1881147"/>
                <a:gd name="connsiteY54" fmla="*/ 1444922 h 1694229"/>
                <a:gd name="connsiteX55" fmla="*/ 1005123 w 1881147"/>
                <a:gd name="connsiteY55" fmla="*/ 1531334 h 1694229"/>
                <a:gd name="connsiteX56" fmla="*/ 1050190 w 1881147"/>
                <a:gd name="connsiteY56" fmla="*/ 1602428 h 1694229"/>
                <a:gd name="connsiteX57" fmla="*/ 1120136 w 1881147"/>
                <a:gd name="connsiteY57" fmla="*/ 1693947 h 1694229"/>
                <a:gd name="connsiteX58" fmla="*/ 1151034 w 1881147"/>
                <a:gd name="connsiteY58" fmla="*/ 1630856 h 1694229"/>
                <a:gd name="connsiteX59" fmla="*/ 1181693 w 1881147"/>
                <a:gd name="connsiteY59" fmla="*/ 1624376 h 1694229"/>
                <a:gd name="connsiteX60" fmla="*/ 1224792 w 1881147"/>
                <a:gd name="connsiteY60" fmla="*/ 1653639 h 1694229"/>
                <a:gd name="connsiteX61" fmla="*/ 1258367 w 1881147"/>
                <a:gd name="connsiteY61" fmla="*/ 1612985 h 1694229"/>
                <a:gd name="connsiteX62" fmla="*/ 1277188 w 1881147"/>
                <a:gd name="connsiteY62" fmla="*/ 1617602 h 1694229"/>
                <a:gd name="connsiteX63" fmla="*/ 1311230 w 1881147"/>
                <a:gd name="connsiteY63" fmla="*/ 1684079 h 1694229"/>
                <a:gd name="connsiteX64" fmla="*/ 1367786 w 1881147"/>
                <a:gd name="connsiteY64" fmla="*/ 1660610 h 1694229"/>
                <a:gd name="connsiteX65" fmla="*/ 1419818 w 1881147"/>
                <a:gd name="connsiteY65" fmla="*/ 1604489 h 1694229"/>
                <a:gd name="connsiteX66" fmla="*/ 1470595 w 1881147"/>
                <a:gd name="connsiteY66" fmla="*/ 1587946 h 1694229"/>
                <a:gd name="connsiteX67" fmla="*/ 1488274 w 1881147"/>
                <a:gd name="connsiteY67" fmla="*/ 1643768 h 1694229"/>
                <a:gd name="connsiteX68" fmla="*/ 1558169 w 1881147"/>
                <a:gd name="connsiteY68" fmla="*/ 1618090 h 1694229"/>
                <a:gd name="connsiteX69" fmla="*/ 1588947 w 1881147"/>
                <a:gd name="connsiteY69" fmla="*/ 1531334 h 1694229"/>
                <a:gd name="connsiteX70" fmla="*/ 1670383 w 1881147"/>
                <a:gd name="connsiteY70" fmla="*/ 1441192 h 1694229"/>
                <a:gd name="connsiteX71" fmla="*/ 1714974 w 1881147"/>
                <a:gd name="connsiteY71" fmla="*/ 1410062 h 1694229"/>
                <a:gd name="connsiteX72" fmla="*/ 1743343 w 1881147"/>
                <a:gd name="connsiteY72" fmla="*/ 1413357 h 1694229"/>
                <a:gd name="connsiteX73" fmla="*/ 1820935 w 1881147"/>
                <a:gd name="connsiteY73" fmla="*/ 1402749 h 1694229"/>
                <a:gd name="connsiteX74" fmla="*/ 1816054 w 1881147"/>
                <a:gd name="connsiteY74" fmla="*/ 1456313 h 1694229"/>
                <a:gd name="connsiteX75" fmla="*/ 1874221 w 1881147"/>
                <a:gd name="connsiteY75" fmla="*/ 1479634 h 1694229"/>
                <a:gd name="connsiteX76" fmla="*/ 1875829 w 1881147"/>
                <a:gd name="connsiteY76" fmla="*/ 1457000 h 1694229"/>
                <a:gd name="connsiteX77" fmla="*/ 1875051 w 1881147"/>
                <a:gd name="connsiteY77" fmla="*/ 1396266 h 1694229"/>
                <a:gd name="connsiteX78" fmla="*/ 1853086 w 1881147"/>
                <a:gd name="connsiteY78" fmla="*/ 1306123 h 1694229"/>
                <a:gd name="connsiteX79" fmla="*/ 1853086 w 1881147"/>
                <a:gd name="connsiteY79" fmla="*/ 1248973 h 1694229"/>
                <a:gd name="connsiteX80" fmla="*/ 1810224 w 1881147"/>
                <a:gd name="connsiteY80" fmla="*/ 1239448 h 1694229"/>
                <a:gd name="connsiteX81" fmla="*/ 1734024 w 1881147"/>
                <a:gd name="connsiteY81" fmla="*/ 1158485 h 1694229"/>
                <a:gd name="connsiteX82" fmla="*/ 1695924 w 1881147"/>
                <a:gd name="connsiteY82" fmla="*/ 977510 h 1694229"/>
                <a:gd name="connsiteX83" fmla="*/ 1643536 w 1881147"/>
                <a:gd name="connsiteY83" fmla="*/ 944173 h 1694229"/>
                <a:gd name="connsiteX84" fmla="*/ 1605436 w 1881147"/>
                <a:gd name="connsiteY84" fmla="*/ 887023 h 1694229"/>
                <a:gd name="connsiteX85" fmla="*/ 1557811 w 1881147"/>
                <a:gd name="connsiteY85" fmla="*/ 839398 h 1694229"/>
                <a:gd name="connsiteX86" fmla="*/ 1505424 w 1881147"/>
                <a:gd name="connsiteY86" fmla="*/ 820348 h 1694229"/>
                <a:gd name="connsiteX87" fmla="*/ 1453036 w 1881147"/>
                <a:gd name="connsiteY87" fmla="*/ 815585 h 1694229"/>
                <a:gd name="connsiteX88" fmla="*/ 1510186 w 1881147"/>
                <a:gd name="connsiteY88" fmla="*/ 782248 h 1694229"/>
                <a:gd name="connsiteX89" fmla="*/ 1476849 w 1881147"/>
                <a:gd name="connsiteY89" fmla="*/ 748910 h 1694229"/>
                <a:gd name="connsiteX90" fmla="*/ 1481611 w 1881147"/>
                <a:gd name="connsiteY90" fmla="*/ 725098 h 1694229"/>
                <a:gd name="connsiteX91" fmla="*/ 1572099 w 1881147"/>
                <a:gd name="connsiteY91" fmla="*/ 763198 h 1694229"/>
                <a:gd name="connsiteX92" fmla="*/ 1624486 w 1881147"/>
                <a:gd name="connsiteY92" fmla="*/ 696523 h 1694229"/>
                <a:gd name="connsiteX93" fmla="*/ 1622283 w 1881147"/>
                <a:gd name="connsiteY93" fmla="*/ 553648 h 1694229"/>
                <a:gd name="connsiteX94" fmla="*/ 1639486 w 1881147"/>
                <a:gd name="connsiteY94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4856 w 1881147"/>
                <a:gd name="connsiteY13" fmla="*/ 323206 h 1694229"/>
                <a:gd name="connsiteX14" fmla="*/ 1005361 w 1881147"/>
                <a:gd name="connsiteY14" fmla="*/ 315523 h 1694229"/>
                <a:gd name="connsiteX15" fmla="*/ 962499 w 1881147"/>
                <a:gd name="connsiteY15" fmla="*/ 358385 h 1694229"/>
                <a:gd name="connsiteX16" fmla="*/ 838674 w 1881147"/>
                <a:gd name="connsiteY16" fmla="*/ 358385 h 1694229"/>
                <a:gd name="connsiteX17" fmla="*/ 781524 w 1881147"/>
                <a:gd name="connsiteY17" fmla="*/ 429823 h 1694229"/>
                <a:gd name="connsiteX18" fmla="*/ 781524 w 1881147"/>
                <a:gd name="connsiteY18" fmla="*/ 463160 h 1694229"/>
                <a:gd name="connsiteX19" fmla="*/ 743424 w 1881147"/>
                <a:gd name="connsiteY19" fmla="*/ 486973 h 1694229"/>
                <a:gd name="connsiteX20" fmla="*/ 671986 w 1881147"/>
                <a:gd name="connsiteY20" fmla="*/ 420298 h 1694229"/>
                <a:gd name="connsiteX21" fmla="*/ 519586 w 1881147"/>
                <a:gd name="connsiteY21" fmla="*/ 415535 h 1694229"/>
                <a:gd name="connsiteX22" fmla="*/ 457674 w 1881147"/>
                <a:gd name="connsiteY22" fmla="*/ 434585 h 1694229"/>
                <a:gd name="connsiteX23" fmla="*/ 419574 w 1881147"/>
                <a:gd name="connsiteY23" fmla="*/ 420298 h 1694229"/>
                <a:gd name="connsiteX24" fmla="*/ 400524 w 1881147"/>
                <a:gd name="connsiteY24" fmla="*/ 358385 h 1694229"/>
                <a:gd name="connsiteX25" fmla="*/ 333849 w 1881147"/>
                <a:gd name="connsiteY25" fmla="*/ 305998 h 1694229"/>
                <a:gd name="connsiteX26" fmla="*/ 286224 w 1881147"/>
                <a:gd name="connsiteY26" fmla="*/ 239323 h 1694229"/>
                <a:gd name="connsiteX27" fmla="*/ 143349 w 1881147"/>
                <a:gd name="connsiteY27" fmla="*/ 258373 h 1694229"/>
                <a:gd name="connsiteX28" fmla="*/ 124299 w 1881147"/>
                <a:gd name="connsiteY28" fmla="*/ 334573 h 1694229"/>
                <a:gd name="connsiteX29" fmla="*/ 110011 w 1881147"/>
                <a:gd name="connsiteY29" fmla="*/ 367910 h 1694229"/>
                <a:gd name="connsiteX30" fmla="*/ 133824 w 1881147"/>
                <a:gd name="connsiteY30" fmla="*/ 415535 h 1694229"/>
                <a:gd name="connsiteX31" fmla="*/ 81436 w 1881147"/>
                <a:gd name="connsiteY31" fmla="*/ 453635 h 1694229"/>
                <a:gd name="connsiteX32" fmla="*/ 33811 w 1881147"/>
                <a:gd name="connsiteY32" fmla="*/ 448873 h 1694229"/>
                <a:gd name="connsiteX33" fmla="*/ 33811 w 1881147"/>
                <a:gd name="connsiteY33" fmla="*/ 520310 h 1694229"/>
                <a:gd name="connsiteX34" fmla="*/ 474 w 1881147"/>
                <a:gd name="connsiteY34" fmla="*/ 625085 h 1694229"/>
                <a:gd name="connsiteX35" fmla="*/ 62386 w 1881147"/>
                <a:gd name="connsiteY35" fmla="*/ 701285 h 1694229"/>
                <a:gd name="connsiteX36" fmla="*/ 111977 w 1881147"/>
                <a:gd name="connsiteY36" fmla="*/ 681547 h 1694229"/>
                <a:gd name="connsiteX37" fmla="*/ 112334 w 1881147"/>
                <a:gd name="connsiteY37" fmla="*/ 751806 h 1694229"/>
                <a:gd name="connsiteX38" fmla="*/ 167161 w 1881147"/>
                <a:gd name="connsiteY38" fmla="*/ 782248 h 1694229"/>
                <a:gd name="connsiteX39" fmla="*/ 236159 w 1881147"/>
                <a:gd name="connsiteY39" fmla="*/ 792460 h 1694229"/>
                <a:gd name="connsiteX40" fmla="*/ 271462 w 1881147"/>
                <a:gd name="connsiteY40" fmla="*/ 848431 h 1694229"/>
                <a:gd name="connsiteX41" fmla="*/ 270869 w 1881147"/>
                <a:gd name="connsiteY41" fmla="*/ 893503 h 1694229"/>
                <a:gd name="connsiteX42" fmla="*/ 295393 w 1881147"/>
                <a:gd name="connsiteY42" fmla="*/ 932978 h 1694229"/>
                <a:gd name="connsiteX43" fmla="*/ 341051 w 1881147"/>
                <a:gd name="connsiteY43" fmla="*/ 971570 h 1694229"/>
                <a:gd name="connsiteX44" fmla="*/ 426184 w 1881147"/>
                <a:gd name="connsiteY44" fmla="*/ 1025822 h 1694229"/>
                <a:gd name="connsiteX45" fmla="*/ 461961 w 1881147"/>
                <a:gd name="connsiteY45" fmla="*/ 1096915 h 1694229"/>
                <a:gd name="connsiteX46" fmla="*/ 441064 w 1881147"/>
                <a:gd name="connsiteY46" fmla="*/ 1166488 h 1694229"/>
                <a:gd name="connsiteX47" fmla="*/ 519111 w 1881147"/>
                <a:gd name="connsiteY47" fmla="*/ 1222951 h 1694229"/>
                <a:gd name="connsiteX48" fmla="*/ 591143 w 1881147"/>
                <a:gd name="connsiteY48" fmla="*/ 1255945 h 1694229"/>
                <a:gd name="connsiteX49" fmla="*/ 571974 w 1881147"/>
                <a:gd name="connsiteY49" fmla="*/ 1315648 h 1694229"/>
                <a:gd name="connsiteX50" fmla="*/ 662461 w 1881147"/>
                <a:gd name="connsiteY50" fmla="*/ 1468048 h 1694229"/>
                <a:gd name="connsiteX51" fmla="*/ 755271 w 1881147"/>
                <a:gd name="connsiteY51" fmla="*/ 1541202 h 1694229"/>
                <a:gd name="connsiteX52" fmla="*/ 805336 w 1881147"/>
                <a:gd name="connsiteY52" fmla="*/ 1491860 h 1694229"/>
                <a:gd name="connsiteX53" fmla="*/ 869926 w 1881147"/>
                <a:gd name="connsiteY53" fmla="*/ 1519257 h 1694229"/>
                <a:gd name="connsiteX54" fmla="*/ 924399 w 1881147"/>
                <a:gd name="connsiteY54" fmla="*/ 1487098 h 1694229"/>
                <a:gd name="connsiteX55" fmla="*/ 941246 w 1881147"/>
                <a:gd name="connsiteY55" fmla="*/ 1444922 h 1694229"/>
                <a:gd name="connsiteX56" fmla="*/ 1005123 w 1881147"/>
                <a:gd name="connsiteY56" fmla="*/ 1531334 h 1694229"/>
                <a:gd name="connsiteX57" fmla="*/ 1050190 w 1881147"/>
                <a:gd name="connsiteY57" fmla="*/ 1602428 h 1694229"/>
                <a:gd name="connsiteX58" fmla="*/ 1120136 w 1881147"/>
                <a:gd name="connsiteY58" fmla="*/ 1693947 h 1694229"/>
                <a:gd name="connsiteX59" fmla="*/ 1151034 w 1881147"/>
                <a:gd name="connsiteY59" fmla="*/ 1630856 h 1694229"/>
                <a:gd name="connsiteX60" fmla="*/ 1181693 w 1881147"/>
                <a:gd name="connsiteY60" fmla="*/ 1624376 h 1694229"/>
                <a:gd name="connsiteX61" fmla="*/ 1224792 w 1881147"/>
                <a:gd name="connsiteY61" fmla="*/ 1653639 h 1694229"/>
                <a:gd name="connsiteX62" fmla="*/ 1258367 w 1881147"/>
                <a:gd name="connsiteY62" fmla="*/ 1612985 h 1694229"/>
                <a:gd name="connsiteX63" fmla="*/ 1277188 w 1881147"/>
                <a:gd name="connsiteY63" fmla="*/ 1617602 h 1694229"/>
                <a:gd name="connsiteX64" fmla="*/ 1311230 w 1881147"/>
                <a:gd name="connsiteY64" fmla="*/ 1684079 h 1694229"/>
                <a:gd name="connsiteX65" fmla="*/ 1367786 w 1881147"/>
                <a:gd name="connsiteY65" fmla="*/ 1660610 h 1694229"/>
                <a:gd name="connsiteX66" fmla="*/ 1419818 w 1881147"/>
                <a:gd name="connsiteY66" fmla="*/ 1604489 h 1694229"/>
                <a:gd name="connsiteX67" fmla="*/ 1470595 w 1881147"/>
                <a:gd name="connsiteY67" fmla="*/ 1587946 h 1694229"/>
                <a:gd name="connsiteX68" fmla="*/ 1488274 w 1881147"/>
                <a:gd name="connsiteY68" fmla="*/ 1643768 h 1694229"/>
                <a:gd name="connsiteX69" fmla="*/ 1558169 w 1881147"/>
                <a:gd name="connsiteY69" fmla="*/ 1618090 h 1694229"/>
                <a:gd name="connsiteX70" fmla="*/ 1588947 w 1881147"/>
                <a:gd name="connsiteY70" fmla="*/ 1531334 h 1694229"/>
                <a:gd name="connsiteX71" fmla="*/ 1670383 w 1881147"/>
                <a:gd name="connsiteY71" fmla="*/ 1441192 h 1694229"/>
                <a:gd name="connsiteX72" fmla="*/ 1714974 w 1881147"/>
                <a:gd name="connsiteY72" fmla="*/ 1410062 h 1694229"/>
                <a:gd name="connsiteX73" fmla="*/ 1743343 w 1881147"/>
                <a:gd name="connsiteY73" fmla="*/ 1413357 h 1694229"/>
                <a:gd name="connsiteX74" fmla="*/ 1820935 w 1881147"/>
                <a:gd name="connsiteY74" fmla="*/ 1402749 h 1694229"/>
                <a:gd name="connsiteX75" fmla="*/ 1816054 w 1881147"/>
                <a:gd name="connsiteY75" fmla="*/ 1456313 h 1694229"/>
                <a:gd name="connsiteX76" fmla="*/ 1874221 w 1881147"/>
                <a:gd name="connsiteY76" fmla="*/ 1479634 h 1694229"/>
                <a:gd name="connsiteX77" fmla="*/ 1875829 w 1881147"/>
                <a:gd name="connsiteY77" fmla="*/ 1457000 h 1694229"/>
                <a:gd name="connsiteX78" fmla="*/ 1875051 w 1881147"/>
                <a:gd name="connsiteY78" fmla="*/ 1396266 h 1694229"/>
                <a:gd name="connsiteX79" fmla="*/ 1853086 w 1881147"/>
                <a:gd name="connsiteY79" fmla="*/ 1306123 h 1694229"/>
                <a:gd name="connsiteX80" fmla="*/ 1853086 w 1881147"/>
                <a:gd name="connsiteY80" fmla="*/ 1248973 h 1694229"/>
                <a:gd name="connsiteX81" fmla="*/ 1810224 w 1881147"/>
                <a:gd name="connsiteY81" fmla="*/ 1239448 h 1694229"/>
                <a:gd name="connsiteX82" fmla="*/ 1734024 w 1881147"/>
                <a:gd name="connsiteY82" fmla="*/ 1158485 h 1694229"/>
                <a:gd name="connsiteX83" fmla="*/ 1695924 w 1881147"/>
                <a:gd name="connsiteY83" fmla="*/ 977510 h 1694229"/>
                <a:gd name="connsiteX84" fmla="*/ 1643536 w 1881147"/>
                <a:gd name="connsiteY84" fmla="*/ 944173 h 1694229"/>
                <a:gd name="connsiteX85" fmla="*/ 1605436 w 1881147"/>
                <a:gd name="connsiteY85" fmla="*/ 887023 h 1694229"/>
                <a:gd name="connsiteX86" fmla="*/ 1557811 w 1881147"/>
                <a:gd name="connsiteY86" fmla="*/ 839398 h 1694229"/>
                <a:gd name="connsiteX87" fmla="*/ 1505424 w 1881147"/>
                <a:gd name="connsiteY87" fmla="*/ 820348 h 1694229"/>
                <a:gd name="connsiteX88" fmla="*/ 1453036 w 1881147"/>
                <a:gd name="connsiteY88" fmla="*/ 815585 h 1694229"/>
                <a:gd name="connsiteX89" fmla="*/ 1510186 w 1881147"/>
                <a:gd name="connsiteY89" fmla="*/ 782248 h 1694229"/>
                <a:gd name="connsiteX90" fmla="*/ 1476849 w 1881147"/>
                <a:gd name="connsiteY90" fmla="*/ 748910 h 1694229"/>
                <a:gd name="connsiteX91" fmla="*/ 1481611 w 1881147"/>
                <a:gd name="connsiteY91" fmla="*/ 725098 h 1694229"/>
                <a:gd name="connsiteX92" fmla="*/ 1572099 w 1881147"/>
                <a:gd name="connsiteY92" fmla="*/ 763198 h 1694229"/>
                <a:gd name="connsiteX93" fmla="*/ 1624486 w 1881147"/>
                <a:gd name="connsiteY93" fmla="*/ 696523 h 1694229"/>
                <a:gd name="connsiteX94" fmla="*/ 1622283 w 1881147"/>
                <a:gd name="connsiteY94" fmla="*/ 553648 h 1694229"/>
                <a:gd name="connsiteX95" fmla="*/ 1639486 w 1881147"/>
                <a:gd name="connsiteY95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4856 w 1881147"/>
                <a:gd name="connsiteY13" fmla="*/ 323206 h 1694229"/>
                <a:gd name="connsiteX14" fmla="*/ 1005361 w 1881147"/>
                <a:gd name="connsiteY14" fmla="*/ 315523 h 1694229"/>
                <a:gd name="connsiteX15" fmla="*/ 962499 w 1881147"/>
                <a:gd name="connsiteY15" fmla="*/ 358385 h 1694229"/>
                <a:gd name="connsiteX16" fmla="*/ 838674 w 1881147"/>
                <a:gd name="connsiteY16" fmla="*/ 358385 h 1694229"/>
                <a:gd name="connsiteX17" fmla="*/ 781524 w 1881147"/>
                <a:gd name="connsiteY17" fmla="*/ 429823 h 1694229"/>
                <a:gd name="connsiteX18" fmla="*/ 781524 w 1881147"/>
                <a:gd name="connsiteY18" fmla="*/ 463160 h 1694229"/>
                <a:gd name="connsiteX19" fmla="*/ 743424 w 1881147"/>
                <a:gd name="connsiteY19" fmla="*/ 486973 h 1694229"/>
                <a:gd name="connsiteX20" fmla="*/ 671986 w 1881147"/>
                <a:gd name="connsiteY20" fmla="*/ 420298 h 1694229"/>
                <a:gd name="connsiteX21" fmla="*/ 519586 w 1881147"/>
                <a:gd name="connsiteY21" fmla="*/ 415535 h 1694229"/>
                <a:gd name="connsiteX22" fmla="*/ 457674 w 1881147"/>
                <a:gd name="connsiteY22" fmla="*/ 434585 h 1694229"/>
                <a:gd name="connsiteX23" fmla="*/ 419574 w 1881147"/>
                <a:gd name="connsiteY23" fmla="*/ 420298 h 1694229"/>
                <a:gd name="connsiteX24" fmla="*/ 400524 w 1881147"/>
                <a:gd name="connsiteY24" fmla="*/ 358385 h 1694229"/>
                <a:gd name="connsiteX25" fmla="*/ 333849 w 1881147"/>
                <a:gd name="connsiteY25" fmla="*/ 305998 h 1694229"/>
                <a:gd name="connsiteX26" fmla="*/ 286224 w 1881147"/>
                <a:gd name="connsiteY26" fmla="*/ 239323 h 1694229"/>
                <a:gd name="connsiteX27" fmla="*/ 143349 w 1881147"/>
                <a:gd name="connsiteY27" fmla="*/ 258373 h 1694229"/>
                <a:gd name="connsiteX28" fmla="*/ 124299 w 1881147"/>
                <a:gd name="connsiteY28" fmla="*/ 334573 h 1694229"/>
                <a:gd name="connsiteX29" fmla="*/ 110011 w 1881147"/>
                <a:gd name="connsiteY29" fmla="*/ 367910 h 1694229"/>
                <a:gd name="connsiteX30" fmla="*/ 133824 w 1881147"/>
                <a:gd name="connsiteY30" fmla="*/ 415535 h 1694229"/>
                <a:gd name="connsiteX31" fmla="*/ 81436 w 1881147"/>
                <a:gd name="connsiteY31" fmla="*/ 453635 h 1694229"/>
                <a:gd name="connsiteX32" fmla="*/ 33811 w 1881147"/>
                <a:gd name="connsiteY32" fmla="*/ 448873 h 1694229"/>
                <a:gd name="connsiteX33" fmla="*/ 33811 w 1881147"/>
                <a:gd name="connsiteY33" fmla="*/ 520310 h 1694229"/>
                <a:gd name="connsiteX34" fmla="*/ 474 w 1881147"/>
                <a:gd name="connsiteY34" fmla="*/ 625085 h 1694229"/>
                <a:gd name="connsiteX35" fmla="*/ 62386 w 1881147"/>
                <a:gd name="connsiteY35" fmla="*/ 701285 h 1694229"/>
                <a:gd name="connsiteX36" fmla="*/ 111977 w 1881147"/>
                <a:gd name="connsiteY36" fmla="*/ 681547 h 1694229"/>
                <a:gd name="connsiteX37" fmla="*/ 112334 w 1881147"/>
                <a:gd name="connsiteY37" fmla="*/ 751806 h 1694229"/>
                <a:gd name="connsiteX38" fmla="*/ 167161 w 1881147"/>
                <a:gd name="connsiteY38" fmla="*/ 782248 h 1694229"/>
                <a:gd name="connsiteX39" fmla="*/ 236159 w 1881147"/>
                <a:gd name="connsiteY39" fmla="*/ 792460 h 1694229"/>
                <a:gd name="connsiteX40" fmla="*/ 271462 w 1881147"/>
                <a:gd name="connsiteY40" fmla="*/ 848431 h 1694229"/>
                <a:gd name="connsiteX41" fmla="*/ 270869 w 1881147"/>
                <a:gd name="connsiteY41" fmla="*/ 893503 h 1694229"/>
                <a:gd name="connsiteX42" fmla="*/ 295393 w 1881147"/>
                <a:gd name="connsiteY42" fmla="*/ 932978 h 1694229"/>
                <a:gd name="connsiteX43" fmla="*/ 341051 w 1881147"/>
                <a:gd name="connsiteY43" fmla="*/ 971570 h 1694229"/>
                <a:gd name="connsiteX44" fmla="*/ 426184 w 1881147"/>
                <a:gd name="connsiteY44" fmla="*/ 1025822 h 1694229"/>
                <a:gd name="connsiteX45" fmla="*/ 461961 w 1881147"/>
                <a:gd name="connsiteY45" fmla="*/ 1096915 h 1694229"/>
                <a:gd name="connsiteX46" fmla="*/ 441064 w 1881147"/>
                <a:gd name="connsiteY46" fmla="*/ 1166488 h 1694229"/>
                <a:gd name="connsiteX47" fmla="*/ 519111 w 1881147"/>
                <a:gd name="connsiteY47" fmla="*/ 1222951 h 1694229"/>
                <a:gd name="connsiteX48" fmla="*/ 591143 w 1881147"/>
                <a:gd name="connsiteY48" fmla="*/ 1255945 h 1694229"/>
                <a:gd name="connsiteX49" fmla="*/ 571974 w 1881147"/>
                <a:gd name="connsiteY49" fmla="*/ 1315648 h 1694229"/>
                <a:gd name="connsiteX50" fmla="*/ 662461 w 1881147"/>
                <a:gd name="connsiteY50" fmla="*/ 1468048 h 1694229"/>
                <a:gd name="connsiteX51" fmla="*/ 755271 w 1881147"/>
                <a:gd name="connsiteY51" fmla="*/ 1541202 h 1694229"/>
                <a:gd name="connsiteX52" fmla="*/ 805336 w 1881147"/>
                <a:gd name="connsiteY52" fmla="*/ 1491860 h 1694229"/>
                <a:gd name="connsiteX53" fmla="*/ 869926 w 1881147"/>
                <a:gd name="connsiteY53" fmla="*/ 1519257 h 1694229"/>
                <a:gd name="connsiteX54" fmla="*/ 924399 w 1881147"/>
                <a:gd name="connsiteY54" fmla="*/ 1487098 h 1694229"/>
                <a:gd name="connsiteX55" fmla="*/ 941246 w 1881147"/>
                <a:gd name="connsiteY55" fmla="*/ 1444922 h 1694229"/>
                <a:gd name="connsiteX56" fmla="*/ 1005123 w 1881147"/>
                <a:gd name="connsiteY56" fmla="*/ 1531334 h 1694229"/>
                <a:gd name="connsiteX57" fmla="*/ 1050190 w 1881147"/>
                <a:gd name="connsiteY57" fmla="*/ 1602428 h 1694229"/>
                <a:gd name="connsiteX58" fmla="*/ 1120136 w 1881147"/>
                <a:gd name="connsiteY58" fmla="*/ 1693947 h 1694229"/>
                <a:gd name="connsiteX59" fmla="*/ 1151034 w 1881147"/>
                <a:gd name="connsiteY59" fmla="*/ 1630856 h 1694229"/>
                <a:gd name="connsiteX60" fmla="*/ 1181693 w 1881147"/>
                <a:gd name="connsiteY60" fmla="*/ 1624376 h 1694229"/>
                <a:gd name="connsiteX61" fmla="*/ 1224792 w 1881147"/>
                <a:gd name="connsiteY61" fmla="*/ 1653639 h 1694229"/>
                <a:gd name="connsiteX62" fmla="*/ 1258367 w 1881147"/>
                <a:gd name="connsiteY62" fmla="*/ 1612985 h 1694229"/>
                <a:gd name="connsiteX63" fmla="*/ 1277188 w 1881147"/>
                <a:gd name="connsiteY63" fmla="*/ 1617602 h 1694229"/>
                <a:gd name="connsiteX64" fmla="*/ 1311230 w 1881147"/>
                <a:gd name="connsiteY64" fmla="*/ 1684079 h 1694229"/>
                <a:gd name="connsiteX65" fmla="*/ 1367786 w 1881147"/>
                <a:gd name="connsiteY65" fmla="*/ 1660610 h 1694229"/>
                <a:gd name="connsiteX66" fmla="*/ 1419818 w 1881147"/>
                <a:gd name="connsiteY66" fmla="*/ 1604489 h 1694229"/>
                <a:gd name="connsiteX67" fmla="*/ 1470595 w 1881147"/>
                <a:gd name="connsiteY67" fmla="*/ 1587946 h 1694229"/>
                <a:gd name="connsiteX68" fmla="*/ 1488274 w 1881147"/>
                <a:gd name="connsiteY68" fmla="*/ 1643768 h 1694229"/>
                <a:gd name="connsiteX69" fmla="*/ 1558169 w 1881147"/>
                <a:gd name="connsiteY69" fmla="*/ 1618090 h 1694229"/>
                <a:gd name="connsiteX70" fmla="*/ 1588947 w 1881147"/>
                <a:gd name="connsiteY70" fmla="*/ 1531334 h 1694229"/>
                <a:gd name="connsiteX71" fmla="*/ 1670383 w 1881147"/>
                <a:gd name="connsiteY71" fmla="*/ 1441192 h 1694229"/>
                <a:gd name="connsiteX72" fmla="*/ 1714974 w 1881147"/>
                <a:gd name="connsiteY72" fmla="*/ 1410062 h 1694229"/>
                <a:gd name="connsiteX73" fmla="*/ 1743343 w 1881147"/>
                <a:gd name="connsiteY73" fmla="*/ 1413357 h 1694229"/>
                <a:gd name="connsiteX74" fmla="*/ 1820935 w 1881147"/>
                <a:gd name="connsiteY74" fmla="*/ 1402749 h 1694229"/>
                <a:gd name="connsiteX75" fmla="*/ 1816054 w 1881147"/>
                <a:gd name="connsiteY75" fmla="*/ 1456313 h 1694229"/>
                <a:gd name="connsiteX76" fmla="*/ 1874221 w 1881147"/>
                <a:gd name="connsiteY76" fmla="*/ 1479634 h 1694229"/>
                <a:gd name="connsiteX77" fmla="*/ 1875829 w 1881147"/>
                <a:gd name="connsiteY77" fmla="*/ 1457000 h 1694229"/>
                <a:gd name="connsiteX78" fmla="*/ 1875051 w 1881147"/>
                <a:gd name="connsiteY78" fmla="*/ 1396266 h 1694229"/>
                <a:gd name="connsiteX79" fmla="*/ 1853086 w 1881147"/>
                <a:gd name="connsiteY79" fmla="*/ 1306123 h 1694229"/>
                <a:gd name="connsiteX80" fmla="*/ 1853086 w 1881147"/>
                <a:gd name="connsiteY80" fmla="*/ 1248973 h 1694229"/>
                <a:gd name="connsiteX81" fmla="*/ 1810224 w 1881147"/>
                <a:gd name="connsiteY81" fmla="*/ 1239448 h 1694229"/>
                <a:gd name="connsiteX82" fmla="*/ 1734024 w 1881147"/>
                <a:gd name="connsiteY82" fmla="*/ 1158485 h 1694229"/>
                <a:gd name="connsiteX83" fmla="*/ 1695924 w 1881147"/>
                <a:gd name="connsiteY83" fmla="*/ 977510 h 1694229"/>
                <a:gd name="connsiteX84" fmla="*/ 1643536 w 1881147"/>
                <a:gd name="connsiteY84" fmla="*/ 944173 h 1694229"/>
                <a:gd name="connsiteX85" fmla="*/ 1605436 w 1881147"/>
                <a:gd name="connsiteY85" fmla="*/ 887023 h 1694229"/>
                <a:gd name="connsiteX86" fmla="*/ 1557811 w 1881147"/>
                <a:gd name="connsiteY86" fmla="*/ 839398 h 1694229"/>
                <a:gd name="connsiteX87" fmla="*/ 1505424 w 1881147"/>
                <a:gd name="connsiteY87" fmla="*/ 820348 h 1694229"/>
                <a:gd name="connsiteX88" fmla="*/ 1453036 w 1881147"/>
                <a:gd name="connsiteY88" fmla="*/ 815585 h 1694229"/>
                <a:gd name="connsiteX89" fmla="*/ 1510186 w 1881147"/>
                <a:gd name="connsiteY89" fmla="*/ 782248 h 1694229"/>
                <a:gd name="connsiteX90" fmla="*/ 1476849 w 1881147"/>
                <a:gd name="connsiteY90" fmla="*/ 748910 h 1694229"/>
                <a:gd name="connsiteX91" fmla="*/ 1481611 w 1881147"/>
                <a:gd name="connsiteY91" fmla="*/ 725098 h 1694229"/>
                <a:gd name="connsiteX92" fmla="*/ 1572099 w 1881147"/>
                <a:gd name="connsiteY92" fmla="*/ 763198 h 1694229"/>
                <a:gd name="connsiteX93" fmla="*/ 1624486 w 1881147"/>
                <a:gd name="connsiteY93" fmla="*/ 696523 h 1694229"/>
                <a:gd name="connsiteX94" fmla="*/ 1622283 w 1881147"/>
                <a:gd name="connsiteY94" fmla="*/ 553648 h 1694229"/>
                <a:gd name="connsiteX95" fmla="*/ 1639486 w 1881147"/>
                <a:gd name="connsiteY95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4856 w 1881147"/>
                <a:gd name="connsiteY13" fmla="*/ 323206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38674 w 1881147"/>
                <a:gd name="connsiteY16" fmla="*/ 358385 h 1694229"/>
                <a:gd name="connsiteX17" fmla="*/ 781524 w 1881147"/>
                <a:gd name="connsiteY17" fmla="*/ 429823 h 1694229"/>
                <a:gd name="connsiteX18" fmla="*/ 781524 w 1881147"/>
                <a:gd name="connsiteY18" fmla="*/ 463160 h 1694229"/>
                <a:gd name="connsiteX19" fmla="*/ 743424 w 1881147"/>
                <a:gd name="connsiteY19" fmla="*/ 486973 h 1694229"/>
                <a:gd name="connsiteX20" fmla="*/ 671986 w 1881147"/>
                <a:gd name="connsiteY20" fmla="*/ 420298 h 1694229"/>
                <a:gd name="connsiteX21" fmla="*/ 519586 w 1881147"/>
                <a:gd name="connsiteY21" fmla="*/ 415535 h 1694229"/>
                <a:gd name="connsiteX22" fmla="*/ 457674 w 1881147"/>
                <a:gd name="connsiteY22" fmla="*/ 434585 h 1694229"/>
                <a:gd name="connsiteX23" fmla="*/ 419574 w 1881147"/>
                <a:gd name="connsiteY23" fmla="*/ 420298 h 1694229"/>
                <a:gd name="connsiteX24" fmla="*/ 400524 w 1881147"/>
                <a:gd name="connsiteY24" fmla="*/ 358385 h 1694229"/>
                <a:gd name="connsiteX25" fmla="*/ 333849 w 1881147"/>
                <a:gd name="connsiteY25" fmla="*/ 305998 h 1694229"/>
                <a:gd name="connsiteX26" fmla="*/ 286224 w 1881147"/>
                <a:gd name="connsiteY26" fmla="*/ 239323 h 1694229"/>
                <a:gd name="connsiteX27" fmla="*/ 143349 w 1881147"/>
                <a:gd name="connsiteY27" fmla="*/ 258373 h 1694229"/>
                <a:gd name="connsiteX28" fmla="*/ 124299 w 1881147"/>
                <a:gd name="connsiteY28" fmla="*/ 334573 h 1694229"/>
                <a:gd name="connsiteX29" fmla="*/ 110011 w 1881147"/>
                <a:gd name="connsiteY29" fmla="*/ 367910 h 1694229"/>
                <a:gd name="connsiteX30" fmla="*/ 133824 w 1881147"/>
                <a:gd name="connsiteY30" fmla="*/ 415535 h 1694229"/>
                <a:gd name="connsiteX31" fmla="*/ 81436 w 1881147"/>
                <a:gd name="connsiteY31" fmla="*/ 453635 h 1694229"/>
                <a:gd name="connsiteX32" fmla="*/ 33811 w 1881147"/>
                <a:gd name="connsiteY32" fmla="*/ 448873 h 1694229"/>
                <a:gd name="connsiteX33" fmla="*/ 33811 w 1881147"/>
                <a:gd name="connsiteY33" fmla="*/ 520310 h 1694229"/>
                <a:gd name="connsiteX34" fmla="*/ 474 w 1881147"/>
                <a:gd name="connsiteY34" fmla="*/ 625085 h 1694229"/>
                <a:gd name="connsiteX35" fmla="*/ 62386 w 1881147"/>
                <a:gd name="connsiteY35" fmla="*/ 701285 h 1694229"/>
                <a:gd name="connsiteX36" fmla="*/ 111977 w 1881147"/>
                <a:gd name="connsiteY36" fmla="*/ 681547 h 1694229"/>
                <a:gd name="connsiteX37" fmla="*/ 112334 w 1881147"/>
                <a:gd name="connsiteY37" fmla="*/ 751806 h 1694229"/>
                <a:gd name="connsiteX38" fmla="*/ 167161 w 1881147"/>
                <a:gd name="connsiteY38" fmla="*/ 782248 h 1694229"/>
                <a:gd name="connsiteX39" fmla="*/ 236159 w 1881147"/>
                <a:gd name="connsiteY39" fmla="*/ 792460 h 1694229"/>
                <a:gd name="connsiteX40" fmla="*/ 271462 w 1881147"/>
                <a:gd name="connsiteY40" fmla="*/ 848431 h 1694229"/>
                <a:gd name="connsiteX41" fmla="*/ 270869 w 1881147"/>
                <a:gd name="connsiteY41" fmla="*/ 893503 h 1694229"/>
                <a:gd name="connsiteX42" fmla="*/ 295393 w 1881147"/>
                <a:gd name="connsiteY42" fmla="*/ 932978 h 1694229"/>
                <a:gd name="connsiteX43" fmla="*/ 341051 w 1881147"/>
                <a:gd name="connsiteY43" fmla="*/ 971570 h 1694229"/>
                <a:gd name="connsiteX44" fmla="*/ 426184 w 1881147"/>
                <a:gd name="connsiteY44" fmla="*/ 1025822 h 1694229"/>
                <a:gd name="connsiteX45" fmla="*/ 461961 w 1881147"/>
                <a:gd name="connsiteY45" fmla="*/ 1096915 h 1694229"/>
                <a:gd name="connsiteX46" fmla="*/ 441064 w 1881147"/>
                <a:gd name="connsiteY46" fmla="*/ 1166488 h 1694229"/>
                <a:gd name="connsiteX47" fmla="*/ 519111 w 1881147"/>
                <a:gd name="connsiteY47" fmla="*/ 1222951 h 1694229"/>
                <a:gd name="connsiteX48" fmla="*/ 591143 w 1881147"/>
                <a:gd name="connsiteY48" fmla="*/ 1255945 h 1694229"/>
                <a:gd name="connsiteX49" fmla="*/ 571974 w 1881147"/>
                <a:gd name="connsiteY49" fmla="*/ 1315648 h 1694229"/>
                <a:gd name="connsiteX50" fmla="*/ 662461 w 1881147"/>
                <a:gd name="connsiteY50" fmla="*/ 1468048 h 1694229"/>
                <a:gd name="connsiteX51" fmla="*/ 755271 w 1881147"/>
                <a:gd name="connsiteY51" fmla="*/ 1541202 h 1694229"/>
                <a:gd name="connsiteX52" fmla="*/ 805336 w 1881147"/>
                <a:gd name="connsiteY52" fmla="*/ 1491860 h 1694229"/>
                <a:gd name="connsiteX53" fmla="*/ 869926 w 1881147"/>
                <a:gd name="connsiteY53" fmla="*/ 1519257 h 1694229"/>
                <a:gd name="connsiteX54" fmla="*/ 924399 w 1881147"/>
                <a:gd name="connsiteY54" fmla="*/ 1487098 h 1694229"/>
                <a:gd name="connsiteX55" fmla="*/ 941246 w 1881147"/>
                <a:gd name="connsiteY55" fmla="*/ 1444922 h 1694229"/>
                <a:gd name="connsiteX56" fmla="*/ 1005123 w 1881147"/>
                <a:gd name="connsiteY56" fmla="*/ 1531334 h 1694229"/>
                <a:gd name="connsiteX57" fmla="*/ 1050190 w 1881147"/>
                <a:gd name="connsiteY57" fmla="*/ 1602428 h 1694229"/>
                <a:gd name="connsiteX58" fmla="*/ 1120136 w 1881147"/>
                <a:gd name="connsiteY58" fmla="*/ 1693947 h 1694229"/>
                <a:gd name="connsiteX59" fmla="*/ 1151034 w 1881147"/>
                <a:gd name="connsiteY59" fmla="*/ 1630856 h 1694229"/>
                <a:gd name="connsiteX60" fmla="*/ 1181693 w 1881147"/>
                <a:gd name="connsiteY60" fmla="*/ 1624376 h 1694229"/>
                <a:gd name="connsiteX61" fmla="*/ 1224792 w 1881147"/>
                <a:gd name="connsiteY61" fmla="*/ 1653639 h 1694229"/>
                <a:gd name="connsiteX62" fmla="*/ 1258367 w 1881147"/>
                <a:gd name="connsiteY62" fmla="*/ 1612985 h 1694229"/>
                <a:gd name="connsiteX63" fmla="*/ 1277188 w 1881147"/>
                <a:gd name="connsiteY63" fmla="*/ 1617602 h 1694229"/>
                <a:gd name="connsiteX64" fmla="*/ 1311230 w 1881147"/>
                <a:gd name="connsiteY64" fmla="*/ 1684079 h 1694229"/>
                <a:gd name="connsiteX65" fmla="*/ 1367786 w 1881147"/>
                <a:gd name="connsiteY65" fmla="*/ 1660610 h 1694229"/>
                <a:gd name="connsiteX66" fmla="*/ 1419818 w 1881147"/>
                <a:gd name="connsiteY66" fmla="*/ 1604489 h 1694229"/>
                <a:gd name="connsiteX67" fmla="*/ 1470595 w 1881147"/>
                <a:gd name="connsiteY67" fmla="*/ 1587946 h 1694229"/>
                <a:gd name="connsiteX68" fmla="*/ 1488274 w 1881147"/>
                <a:gd name="connsiteY68" fmla="*/ 1643768 h 1694229"/>
                <a:gd name="connsiteX69" fmla="*/ 1558169 w 1881147"/>
                <a:gd name="connsiteY69" fmla="*/ 1618090 h 1694229"/>
                <a:gd name="connsiteX70" fmla="*/ 1588947 w 1881147"/>
                <a:gd name="connsiteY70" fmla="*/ 1531334 h 1694229"/>
                <a:gd name="connsiteX71" fmla="*/ 1670383 w 1881147"/>
                <a:gd name="connsiteY71" fmla="*/ 1441192 h 1694229"/>
                <a:gd name="connsiteX72" fmla="*/ 1714974 w 1881147"/>
                <a:gd name="connsiteY72" fmla="*/ 1410062 h 1694229"/>
                <a:gd name="connsiteX73" fmla="*/ 1743343 w 1881147"/>
                <a:gd name="connsiteY73" fmla="*/ 1413357 h 1694229"/>
                <a:gd name="connsiteX74" fmla="*/ 1820935 w 1881147"/>
                <a:gd name="connsiteY74" fmla="*/ 1402749 h 1694229"/>
                <a:gd name="connsiteX75" fmla="*/ 1816054 w 1881147"/>
                <a:gd name="connsiteY75" fmla="*/ 1456313 h 1694229"/>
                <a:gd name="connsiteX76" fmla="*/ 1874221 w 1881147"/>
                <a:gd name="connsiteY76" fmla="*/ 1479634 h 1694229"/>
                <a:gd name="connsiteX77" fmla="*/ 1875829 w 1881147"/>
                <a:gd name="connsiteY77" fmla="*/ 1457000 h 1694229"/>
                <a:gd name="connsiteX78" fmla="*/ 1875051 w 1881147"/>
                <a:gd name="connsiteY78" fmla="*/ 1396266 h 1694229"/>
                <a:gd name="connsiteX79" fmla="*/ 1853086 w 1881147"/>
                <a:gd name="connsiteY79" fmla="*/ 1306123 h 1694229"/>
                <a:gd name="connsiteX80" fmla="*/ 1853086 w 1881147"/>
                <a:gd name="connsiteY80" fmla="*/ 1248973 h 1694229"/>
                <a:gd name="connsiteX81" fmla="*/ 1810224 w 1881147"/>
                <a:gd name="connsiteY81" fmla="*/ 1239448 h 1694229"/>
                <a:gd name="connsiteX82" fmla="*/ 1734024 w 1881147"/>
                <a:gd name="connsiteY82" fmla="*/ 1158485 h 1694229"/>
                <a:gd name="connsiteX83" fmla="*/ 1695924 w 1881147"/>
                <a:gd name="connsiteY83" fmla="*/ 977510 h 1694229"/>
                <a:gd name="connsiteX84" fmla="*/ 1643536 w 1881147"/>
                <a:gd name="connsiteY84" fmla="*/ 944173 h 1694229"/>
                <a:gd name="connsiteX85" fmla="*/ 1605436 w 1881147"/>
                <a:gd name="connsiteY85" fmla="*/ 887023 h 1694229"/>
                <a:gd name="connsiteX86" fmla="*/ 1557811 w 1881147"/>
                <a:gd name="connsiteY86" fmla="*/ 839398 h 1694229"/>
                <a:gd name="connsiteX87" fmla="*/ 1505424 w 1881147"/>
                <a:gd name="connsiteY87" fmla="*/ 820348 h 1694229"/>
                <a:gd name="connsiteX88" fmla="*/ 1453036 w 1881147"/>
                <a:gd name="connsiteY88" fmla="*/ 815585 h 1694229"/>
                <a:gd name="connsiteX89" fmla="*/ 1510186 w 1881147"/>
                <a:gd name="connsiteY89" fmla="*/ 782248 h 1694229"/>
                <a:gd name="connsiteX90" fmla="*/ 1476849 w 1881147"/>
                <a:gd name="connsiteY90" fmla="*/ 748910 h 1694229"/>
                <a:gd name="connsiteX91" fmla="*/ 1481611 w 1881147"/>
                <a:gd name="connsiteY91" fmla="*/ 725098 h 1694229"/>
                <a:gd name="connsiteX92" fmla="*/ 1572099 w 1881147"/>
                <a:gd name="connsiteY92" fmla="*/ 763198 h 1694229"/>
                <a:gd name="connsiteX93" fmla="*/ 1624486 w 1881147"/>
                <a:gd name="connsiteY93" fmla="*/ 696523 h 1694229"/>
                <a:gd name="connsiteX94" fmla="*/ 1622283 w 1881147"/>
                <a:gd name="connsiteY94" fmla="*/ 553648 h 1694229"/>
                <a:gd name="connsiteX95" fmla="*/ 1639486 w 1881147"/>
                <a:gd name="connsiteY95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9738 w 1881147"/>
                <a:gd name="connsiteY13" fmla="*/ 346183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38674 w 1881147"/>
                <a:gd name="connsiteY16" fmla="*/ 358385 h 1694229"/>
                <a:gd name="connsiteX17" fmla="*/ 781524 w 1881147"/>
                <a:gd name="connsiteY17" fmla="*/ 429823 h 1694229"/>
                <a:gd name="connsiteX18" fmla="*/ 781524 w 1881147"/>
                <a:gd name="connsiteY18" fmla="*/ 463160 h 1694229"/>
                <a:gd name="connsiteX19" fmla="*/ 743424 w 1881147"/>
                <a:gd name="connsiteY19" fmla="*/ 486973 h 1694229"/>
                <a:gd name="connsiteX20" fmla="*/ 671986 w 1881147"/>
                <a:gd name="connsiteY20" fmla="*/ 420298 h 1694229"/>
                <a:gd name="connsiteX21" fmla="*/ 519586 w 1881147"/>
                <a:gd name="connsiteY21" fmla="*/ 415535 h 1694229"/>
                <a:gd name="connsiteX22" fmla="*/ 457674 w 1881147"/>
                <a:gd name="connsiteY22" fmla="*/ 434585 h 1694229"/>
                <a:gd name="connsiteX23" fmla="*/ 419574 w 1881147"/>
                <a:gd name="connsiteY23" fmla="*/ 420298 h 1694229"/>
                <a:gd name="connsiteX24" fmla="*/ 400524 w 1881147"/>
                <a:gd name="connsiteY24" fmla="*/ 358385 h 1694229"/>
                <a:gd name="connsiteX25" fmla="*/ 333849 w 1881147"/>
                <a:gd name="connsiteY25" fmla="*/ 305998 h 1694229"/>
                <a:gd name="connsiteX26" fmla="*/ 286224 w 1881147"/>
                <a:gd name="connsiteY26" fmla="*/ 239323 h 1694229"/>
                <a:gd name="connsiteX27" fmla="*/ 143349 w 1881147"/>
                <a:gd name="connsiteY27" fmla="*/ 258373 h 1694229"/>
                <a:gd name="connsiteX28" fmla="*/ 124299 w 1881147"/>
                <a:gd name="connsiteY28" fmla="*/ 334573 h 1694229"/>
                <a:gd name="connsiteX29" fmla="*/ 110011 w 1881147"/>
                <a:gd name="connsiteY29" fmla="*/ 367910 h 1694229"/>
                <a:gd name="connsiteX30" fmla="*/ 133824 w 1881147"/>
                <a:gd name="connsiteY30" fmla="*/ 415535 h 1694229"/>
                <a:gd name="connsiteX31" fmla="*/ 81436 w 1881147"/>
                <a:gd name="connsiteY31" fmla="*/ 453635 h 1694229"/>
                <a:gd name="connsiteX32" fmla="*/ 33811 w 1881147"/>
                <a:gd name="connsiteY32" fmla="*/ 448873 h 1694229"/>
                <a:gd name="connsiteX33" fmla="*/ 33811 w 1881147"/>
                <a:gd name="connsiteY33" fmla="*/ 520310 h 1694229"/>
                <a:gd name="connsiteX34" fmla="*/ 474 w 1881147"/>
                <a:gd name="connsiteY34" fmla="*/ 625085 h 1694229"/>
                <a:gd name="connsiteX35" fmla="*/ 62386 w 1881147"/>
                <a:gd name="connsiteY35" fmla="*/ 701285 h 1694229"/>
                <a:gd name="connsiteX36" fmla="*/ 111977 w 1881147"/>
                <a:gd name="connsiteY36" fmla="*/ 681547 h 1694229"/>
                <a:gd name="connsiteX37" fmla="*/ 112334 w 1881147"/>
                <a:gd name="connsiteY37" fmla="*/ 751806 h 1694229"/>
                <a:gd name="connsiteX38" fmla="*/ 167161 w 1881147"/>
                <a:gd name="connsiteY38" fmla="*/ 782248 h 1694229"/>
                <a:gd name="connsiteX39" fmla="*/ 236159 w 1881147"/>
                <a:gd name="connsiteY39" fmla="*/ 792460 h 1694229"/>
                <a:gd name="connsiteX40" fmla="*/ 271462 w 1881147"/>
                <a:gd name="connsiteY40" fmla="*/ 848431 h 1694229"/>
                <a:gd name="connsiteX41" fmla="*/ 270869 w 1881147"/>
                <a:gd name="connsiteY41" fmla="*/ 893503 h 1694229"/>
                <a:gd name="connsiteX42" fmla="*/ 295393 w 1881147"/>
                <a:gd name="connsiteY42" fmla="*/ 932978 h 1694229"/>
                <a:gd name="connsiteX43" fmla="*/ 341051 w 1881147"/>
                <a:gd name="connsiteY43" fmla="*/ 971570 h 1694229"/>
                <a:gd name="connsiteX44" fmla="*/ 426184 w 1881147"/>
                <a:gd name="connsiteY44" fmla="*/ 1025822 h 1694229"/>
                <a:gd name="connsiteX45" fmla="*/ 461961 w 1881147"/>
                <a:gd name="connsiteY45" fmla="*/ 1096915 h 1694229"/>
                <a:gd name="connsiteX46" fmla="*/ 441064 w 1881147"/>
                <a:gd name="connsiteY46" fmla="*/ 1166488 h 1694229"/>
                <a:gd name="connsiteX47" fmla="*/ 519111 w 1881147"/>
                <a:gd name="connsiteY47" fmla="*/ 1222951 h 1694229"/>
                <a:gd name="connsiteX48" fmla="*/ 591143 w 1881147"/>
                <a:gd name="connsiteY48" fmla="*/ 1255945 h 1694229"/>
                <a:gd name="connsiteX49" fmla="*/ 571974 w 1881147"/>
                <a:gd name="connsiteY49" fmla="*/ 1315648 h 1694229"/>
                <a:gd name="connsiteX50" fmla="*/ 662461 w 1881147"/>
                <a:gd name="connsiteY50" fmla="*/ 1468048 h 1694229"/>
                <a:gd name="connsiteX51" fmla="*/ 755271 w 1881147"/>
                <a:gd name="connsiteY51" fmla="*/ 1541202 h 1694229"/>
                <a:gd name="connsiteX52" fmla="*/ 805336 w 1881147"/>
                <a:gd name="connsiteY52" fmla="*/ 1491860 h 1694229"/>
                <a:gd name="connsiteX53" fmla="*/ 869926 w 1881147"/>
                <a:gd name="connsiteY53" fmla="*/ 1519257 h 1694229"/>
                <a:gd name="connsiteX54" fmla="*/ 924399 w 1881147"/>
                <a:gd name="connsiteY54" fmla="*/ 1487098 h 1694229"/>
                <a:gd name="connsiteX55" fmla="*/ 941246 w 1881147"/>
                <a:gd name="connsiteY55" fmla="*/ 1444922 h 1694229"/>
                <a:gd name="connsiteX56" fmla="*/ 1005123 w 1881147"/>
                <a:gd name="connsiteY56" fmla="*/ 1531334 h 1694229"/>
                <a:gd name="connsiteX57" fmla="*/ 1050190 w 1881147"/>
                <a:gd name="connsiteY57" fmla="*/ 1602428 h 1694229"/>
                <a:gd name="connsiteX58" fmla="*/ 1120136 w 1881147"/>
                <a:gd name="connsiteY58" fmla="*/ 1693947 h 1694229"/>
                <a:gd name="connsiteX59" fmla="*/ 1151034 w 1881147"/>
                <a:gd name="connsiteY59" fmla="*/ 1630856 h 1694229"/>
                <a:gd name="connsiteX60" fmla="*/ 1181693 w 1881147"/>
                <a:gd name="connsiteY60" fmla="*/ 1624376 h 1694229"/>
                <a:gd name="connsiteX61" fmla="*/ 1224792 w 1881147"/>
                <a:gd name="connsiteY61" fmla="*/ 1653639 h 1694229"/>
                <a:gd name="connsiteX62" fmla="*/ 1258367 w 1881147"/>
                <a:gd name="connsiteY62" fmla="*/ 1612985 h 1694229"/>
                <a:gd name="connsiteX63" fmla="*/ 1277188 w 1881147"/>
                <a:gd name="connsiteY63" fmla="*/ 1617602 h 1694229"/>
                <a:gd name="connsiteX64" fmla="*/ 1311230 w 1881147"/>
                <a:gd name="connsiteY64" fmla="*/ 1684079 h 1694229"/>
                <a:gd name="connsiteX65" fmla="*/ 1367786 w 1881147"/>
                <a:gd name="connsiteY65" fmla="*/ 1660610 h 1694229"/>
                <a:gd name="connsiteX66" fmla="*/ 1419818 w 1881147"/>
                <a:gd name="connsiteY66" fmla="*/ 1604489 h 1694229"/>
                <a:gd name="connsiteX67" fmla="*/ 1470595 w 1881147"/>
                <a:gd name="connsiteY67" fmla="*/ 1587946 h 1694229"/>
                <a:gd name="connsiteX68" fmla="*/ 1488274 w 1881147"/>
                <a:gd name="connsiteY68" fmla="*/ 1643768 h 1694229"/>
                <a:gd name="connsiteX69" fmla="*/ 1558169 w 1881147"/>
                <a:gd name="connsiteY69" fmla="*/ 1618090 h 1694229"/>
                <a:gd name="connsiteX70" fmla="*/ 1588947 w 1881147"/>
                <a:gd name="connsiteY70" fmla="*/ 1531334 h 1694229"/>
                <a:gd name="connsiteX71" fmla="*/ 1670383 w 1881147"/>
                <a:gd name="connsiteY71" fmla="*/ 1441192 h 1694229"/>
                <a:gd name="connsiteX72" fmla="*/ 1714974 w 1881147"/>
                <a:gd name="connsiteY72" fmla="*/ 1410062 h 1694229"/>
                <a:gd name="connsiteX73" fmla="*/ 1743343 w 1881147"/>
                <a:gd name="connsiteY73" fmla="*/ 1413357 h 1694229"/>
                <a:gd name="connsiteX74" fmla="*/ 1820935 w 1881147"/>
                <a:gd name="connsiteY74" fmla="*/ 1402749 h 1694229"/>
                <a:gd name="connsiteX75" fmla="*/ 1816054 w 1881147"/>
                <a:gd name="connsiteY75" fmla="*/ 1456313 h 1694229"/>
                <a:gd name="connsiteX76" fmla="*/ 1874221 w 1881147"/>
                <a:gd name="connsiteY76" fmla="*/ 1479634 h 1694229"/>
                <a:gd name="connsiteX77" fmla="*/ 1875829 w 1881147"/>
                <a:gd name="connsiteY77" fmla="*/ 1457000 h 1694229"/>
                <a:gd name="connsiteX78" fmla="*/ 1875051 w 1881147"/>
                <a:gd name="connsiteY78" fmla="*/ 1396266 h 1694229"/>
                <a:gd name="connsiteX79" fmla="*/ 1853086 w 1881147"/>
                <a:gd name="connsiteY79" fmla="*/ 1306123 h 1694229"/>
                <a:gd name="connsiteX80" fmla="*/ 1853086 w 1881147"/>
                <a:gd name="connsiteY80" fmla="*/ 1248973 h 1694229"/>
                <a:gd name="connsiteX81" fmla="*/ 1810224 w 1881147"/>
                <a:gd name="connsiteY81" fmla="*/ 1239448 h 1694229"/>
                <a:gd name="connsiteX82" fmla="*/ 1734024 w 1881147"/>
                <a:gd name="connsiteY82" fmla="*/ 1158485 h 1694229"/>
                <a:gd name="connsiteX83" fmla="*/ 1695924 w 1881147"/>
                <a:gd name="connsiteY83" fmla="*/ 977510 h 1694229"/>
                <a:gd name="connsiteX84" fmla="*/ 1643536 w 1881147"/>
                <a:gd name="connsiteY84" fmla="*/ 944173 h 1694229"/>
                <a:gd name="connsiteX85" fmla="*/ 1605436 w 1881147"/>
                <a:gd name="connsiteY85" fmla="*/ 887023 h 1694229"/>
                <a:gd name="connsiteX86" fmla="*/ 1557811 w 1881147"/>
                <a:gd name="connsiteY86" fmla="*/ 839398 h 1694229"/>
                <a:gd name="connsiteX87" fmla="*/ 1505424 w 1881147"/>
                <a:gd name="connsiteY87" fmla="*/ 820348 h 1694229"/>
                <a:gd name="connsiteX88" fmla="*/ 1453036 w 1881147"/>
                <a:gd name="connsiteY88" fmla="*/ 815585 h 1694229"/>
                <a:gd name="connsiteX89" fmla="*/ 1510186 w 1881147"/>
                <a:gd name="connsiteY89" fmla="*/ 782248 h 1694229"/>
                <a:gd name="connsiteX90" fmla="*/ 1476849 w 1881147"/>
                <a:gd name="connsiteY90" fmla="*/ 748910 h 1694229"/>
                <a:gd name="connsiteX91" fmla="*/ 1481611 w 1881147"/>
                <a:gd name="connsiteY91" fmla="*/ 725098 h 1694229"/>
                <a:gd name="connsiteX92" fmla="*/ 1572099 w 1881147"/>
                <a:gd name="connsiteY92" fmla="*/ 763198 h 1694229"/>
                <a:gd name="connsiteX93" fmla="*/ 1624486 w 1881147"/>
                <a:gd name="connsiteY93" fmla="*/ 696523 h 1694229"/>
                <a:gd name="connsiteX94" fmla="*/ 1622283 w 1881147"/>
                <a:gd name="connsiteY94" fmla="*/ 553648 h 1694229"/>
                <a:gd name="connsiteX95" fmla="*/ 1639486 w 1881147"/>
                <a:gd name="connsiteY95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9738 w 1881147"/>
                <a:gd name="connsiteY13" fmla="*/ 346183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55759 w 1881147"/>
                <a:gd name="connsiteY16" fmla="*/ 376257 h 1694229"/>
                <a:gd name="connsiteX17" fmla="*/ 781524 w 1881147"/>
                <a:gd name="connsiteY17" fmla="*/ 429823 h 1694229"/>
                <a:gd name="connsiteX18" fmla="*/ 781524 w 1881147"/>
                <a:gd name="connsiteY18" fmla="*/ 463160 h 1694229"/>
                <a:gd name="connsiteX19" fmla="*/ 743424 w 1881147"/>
                <a:gd name="connsiteY19" fmla="*/ 486973 h 1694229"/>
                <a:gd name="connsiteX20" fmla="*/ 671986 w 1881147"/>
                <a:gd name="connsiteY20" fmla="*/ 420298 h 1694229"/>
                <a:gd name="connsiteX21" fmla="*/ 519586 w 1881147"/>
                <a:gd name="connsiteY21" fmla="*/ 415535 h 1694229"/>
                <a:gd name="connsiteX22" fmla="*/ 457674 w 1881147"/>
                <a:gd name="connsiteY22" fmla="*/ 434585 h 1694229"/>
                <a:gd name="connsiteX23" fmla="*/ 419574 w 1881147"/>
                <a:gd name="connsiteY23" fmla="*/ 420298 h 1694229"/>
                <a:gd name="connsiteX24" fmla="*/ 400524 w 1881147"/>
                <a:gd name="connsiteY24" fmla="*/ 358385 h 1694229"/>
                <a:gd name="connsiteX25" fmla="*/ 333849 w 1881147"/>
                <a:gd name="connsiteY25" fmla="*/ 305998 h 1694229"/>
                <a:gd name="connsiteX26" fmla="*/ 286224 w 1881147"/>
                <a:gd name="connsiteY26" fmla="*/ 239323 h 1694229"/>
                <a:gd name="connsiteX27" fmla="*/ 143349 w 1881147"/>
                <a:gd name="connsiteY27" fmla="*/ 258373 h 1694229"/>
                <a:gd name="connsiteX28" fmla="*/ 124299 w 1881147"/>
                <a:gd name="connsiteY28" fmla="*/ 334573 h 1694229"/>
                <a:gd name="connsiteX29" fmla="*/ 110011 w 1881147"/>
                <a:gd name="connsiteY29" fmla="*/ 367910 h 1694229"/>
                <a:gd name="connsiteX30" fmla="*/ 133824 w 1881147"/>
                <a:gd name="connsiteY30" fmla="*/ 415535 h 1694229"/>
                <a:gd name="connsiteX31" fmla="*/ 81436 w 1881147"/>
                <a:gd name="connsiteY31" fmla="*/ 453635 h 1694229"/>
                <a:gd name="connsiteX32" fmla="*/ 33811 w 1881147"/>
                <a:gd name="connsiteY32" fmla="*/ 448873 h 1694229"/>
                <a:gd name="connsiteX33" fmla="*/ 33811 w 1881147"/>
                <a:gd name="connsiteY33" fmla="*/ 520310 h 1694229"/>
                <a:gd name="connsiteX34" fmla="*/ 474 w 1881147"/>
                <a:gd name="connsiteY34" fmla="*/ 625085 h 1694229"/>
                <a:gd name="connsiteX35" fmla="*/ 62386 w 1881147"/>
                <a:gd name="connsiteY35" fmla="*/ 701285 h 1694229"/>
                <a:gd name="connsiteX36" fmla="*/ 111977 w 1881147"/>
                <a:gd name="connsiteY36" fmla="*/ 681547 h 1694229"/>
                <a:gd name="connsiteX37" fmla="*/ 112334 w 1881147"/>
                <a:gd name="connsiteY37" fmla="*/ 751806 h 1694229"/>
                <a:gd name="connsiteX38" fmla="*/ 167161 w 1881147"/>
                <a:gd name="connsiteY38" fmla="*/ 782248 h 1694229"/>
                <a:gd name="connsiteX39" fmla="*/ 236159 w 1881147"/>
                <a:gd name="connsiteY39" fmla="*/ 792460 h 1694229"/>
                <a:gd name="connsiteX40" fmla="*/ 271462 w 1881147"/>
                <a:gd name="connsiteY40" fmla="*/ 848431 h 1694229"/>
                <a:gd name="connsiteX41" fmla="*/ 270869 w 1881147"/>
                <a:gd name="connsiteY41" fmla="*/ 893503 h 1694229"/>
                <a:gd name="connsiteX42" fmla="*/ 295393 w 1881147"/>
                <a:gd name="connsiteY42" fmla="*/ 932978 h 1694229"/>
                <a:gd name="connsiteX43" fmla="*/ 341051 w 1881147"/>
                <a:gd name="connsiteY43" fmla="*/ 971570 h 1694229"/>
                <a:gd name="connsiteX44" fmla="*/ 426184 w 1881147"/>
                <a:gd name="connsiteY44" fmla="*/ 1025822 h 1694229"/>
                <a:gd name="connsiteX45" fmla="*/ 461961 w 1881147"/>
                <a:gd name="connsiteY45" fmla="*/ 1096915 h 1694229"/>
                <a:gd name="connsiteX46" fmla="*/ 441064 w 1881147"/>
                <a:gd name="connsiteY46" fmla="*/ 1166488 h 1694229"/>
                <a:gd name="connsiteX47" fmla="*/ 519111 w 1881147"/>
                <a:gd name="connsiteY47" fmla="*/ 1222951 h 1694229"/>
                <a:gd name="connsiteX48" fmla="*/ 591143 w 1881147"/>
                <a:gd name="connsiteY48" fmla="*/ 1255945 h 1694229"/>
                <a:gd name="connsiteX49" fmla="*/ 571974 w 1881147"/>
                <a:gd name="connsiteY49" fmla="*/ 1315648 h 1694229"/>
                <a:gd name="connsiteX50" fmla="*/ 662461 w 1881147"/>
                <a:gd name="connsiteY50" fmla="*/ 1468048 h 1694229"/>
                <a:gd name="connsiteX51" fmla="*/ 755271 w 1881147"/>
                <a:gd name="connsiteY51" fmla="*/ 1541202 h 1694229"/>
                <a:gd name="connsiteX52" fmla="*/ 805336 w 1881147"/>
                <a:gd name="connsiteY52" fmla="*/ 1491860 h 1694229"/>
                <a:gd name="connsiteX53" fmla="*/ 869926 w 1881147"/>
                <a:gd name="connsiteY53" fmla="*/ 1519257 h 1694229"/>
                <a:gd name="connsiteX54" fmla="*/ 924399 w 1881147"/>
                <a:gd name="connsiteY54" fmla="*/ 1487098 h 1694229"/>
                <a:gd name="connsiteX55" fmla="*/ 941246 w 1881147"/>
                <a:gd name="connsiteY55" fmla="*/ 1444922 h 1694229"/>
                <a:gd name="connsiteX56" fmla="*/ 1005123 w 1881147"/>
                <a:gd name="connsiteY56" fmla="*/ 1531334 h 1694229"/>
                <a:gd name="connsiteX57" fmla="*/ 1050190 w 1881147"/>
                <a:gd name="connsiteY57" fmla="*/ 1602428 h 1694229"/>
                <a:gd name="connsiteX58" fmla="*/ 1120136 w 1881147"/>
                <a:gd name="connsiteY58" fmla="*/ 1693947 h 1694229"/>
                <a:gd name="connsiteX59" fmla="*/ 1151034 w 1881147"/>
                <a:gd name="connsiteY59" fmla="*/ 1630856 h 1694229"/>
                <a:gd name="connsiteX60" fmla="*/ 1181693 w 1881147"/>
                <a:gd name="connsiteY60" fmla="*/ 1624376 h 1694229"/>
                <a:gd name="connsiteX61" fmla="*/ 1224792 w 1881147"/>
                <a:gd name="connsiteY61" fmla="*/ 1653639 h 1694229"/>
                <a:gd name="connsiteX62" fmla="*/ 1258367 w 1881147"/>
                <a:gd name="connsiteY62" fmla="*/ 1612985 h 1694229"/>
                <a:gd name="connsiteX63" fmla="*/ 1277188 w 1881147"/>
                <a:gd name="connsiteY63" fmla="*/ 1617602 h 1694229"/>
                <a:gd name="connsiteX64" fmla="*/ 1311230 w 1881147"/>
                <a:gd name="connsiteY64" fmla="*/ 1684079 h 1694229"/>
                <a:gd name="connsiteX65" fmla="*/ 1367786 w 1881147"/>
                <a:gd name="connsiteY65" fmla="*/ 1660610 h 1694229"/>
                <a:gd name="connsiteX66" fmla="*/ 1419818 w 1881147"/>
                <a:gd name="connsiteY66" fmla="*/ 1604489 h 1694229"/>
                <a:gd name="connsiteX67" fmla="*/ 1470595 w 1881147"/>
                <a:gd name="connsiteY67" fmla="*/ 1587946 h 1694229"/>
                <a:gd name="connsiteX68" fmla="*/ 1488274 w 1881147"/>
                <a:gd name="connsiteY68" fmla="*/ 1643768 h 1694229"/>
                <a:gd name="connsiteX69" fmla="*/ 1558169 w 1881147"/>
                <a:gd name="connsiteY69" fmla="*/ 1618090 h 1694229"/>
                <a:gd name="connsiteX70" fmla="*/ 1588947 w 1881147"/>
                <a:gd name="connsiteY70" fmla="*/ 1531334 h 1694229"/>
                <a:gd name="connsiteX71" fmla="*/ 1670383 w 1881147"/>
                <a:gd name="connsiteY71" fmla="*/ 1441192 h 1694229"/>
                <a:gd name="connsiteX72" fmla="*/ 1714974 w 1881147"/>
                <a:gd name="connsiteY72" fmla="*/ 1410062 h 1694229"/>
                <a:gd name="connsiteX73" fmla="*/ 1743343 w 1881147"/>
                <a:gd name="connsiteY73" fmla="*/ 1413357 h 1694229"/>
                <a:gd name="connsiteX74" fmla="*/ 1820935 w 1881147"/>
                <a:gd name="connsiteY74" fmla="*/ 1402749 h 1694229"/>
                <a:gd name="connsiteX75" fmla="*/ 1816054 w 1881147"/>
                <a:gd name="connsiteY75" fmla="*/ 1456313 h 1694229"/>
                <a:gd name="connsiteX76" fmla="*/ 1874221 w 1881147"/>
                <a:gd name="connsiteY76" fmla="*/ 1479634 h 1694229"/>
                <a:gd name="connsiteX77" fmla="*/ 1875829 w 1881147"/>
                <a:gd name="connsiteY77" fmla="*/ 1457000 h 1694229"/>
                <a:gd name="connsiteX78" fmla="*/ 1875051 w 1881147"/>
                <a:gd name="connsiteY78" fmla="*/ 1396266 h 1694229"/>
                <a:gd name="connsiteX79" fmla="*/ 1853086 w 1881147"/>
                <a:gd name="connsiteY79" fmla="*/ 1306123 h 1694229"/>
                <a:gd name="connsiteX80" fmla="*/ 1853086 w 1881147"/>
                <a:gd name="connsiteY80" fmla="*/ 1248973 h 1694229"/>
                <a:gd name="connsiteX81" fmla="*/ 1810224 w 1881147"/>
                <a:gd name="connsiteY81" fmla="*/ 1239448 h 1694229"/>
                <a:gd name="connsiteX82" fmla="*/ 1734024 w 1881147"/>
                <a:gd name="connsiteY82" fmla="*/ 1158485 h 1694229"/>
                <a:gd name="connsiteX83" fmla="*/ 1695924 w 1881147"/>
                <a:gd name="connsiteY83" fmla="*/ 977510 h 1694229"/>
                <a:gd name="connsiteX84" fmla="*/ 1643536 w 1881147"/>
                <a:gd name="connsiteY84" fmla="*/ 944173 h 1694229"/>
                <a:gd name="connsiteX85" fmla="*/ 1605436 w 1881147"/>
                <a:gd name="connsiteY85" fmla="*/ 887023 h 1694229"/>
                <a:gd name="connsiteX86" fmla="*/ 1557811 w 1881147"/>
                <a:gd name="connsiteY86" fmla="*/ 839398 h 1694229"/>
                <a:gd name="connsiteX87" fmla="*/ 1505424 w 1881147"/>
                <a:gd name="connsiteY87" fmla="*/ 820348 h 1694229"/>
                <a:gd name="connsiteX88" fmla="*/ 1453036 w 1881147"/>
                <a:gd name="connsiteY88" fmla="*/ 815585 h 1694229"/>
                <a:gd name="connsiteX89" fmla="*/ 1510186 w 1881147"/>
                <a:gd name="connsiteY89" fmla="*/ 782248 h 1694229"/>
                <a:gd name="connsiteX90" fmla="*/ 1476849 w 1881147"/>
                <a:gd name="connsiteY90" fmla="*/ 748910 h 1694229"/>
                <a:gd name="connsiteX91" fmla="*/ 1481611 w 1881147"/>
                <a:gd name="connsiteY91" fmla="*/ 725098 h 1694229"/>
                <a:gd name="connsiteX92" fmla="*/ 1572099 w 1881147"/>
                <a:gd name="connsiteY92" fmla="*/ 763198 h 1694229"/>
                <a:gd name="connsiteX93" fmla="*/ 1624486 w 1881147"/>
                <a:gd name="connsiteY93" fmla="*/ 696523 h 1694229"/>
                <a:gd name="connsiteX94" fmla="*/ 1622283 w 1881147"/>
                <a:gd name="connsiteY94" fmla="*/ 553648 h 1694229"/>
                <a:gd name="connsiteX95" fmla="*/ 1639486 w 1881147"/>
                <a:gd name="connsiteY95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9738 w 1881147"/>
                <a:gd name="connsiteY13" fmla="*/ 346183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55759 w 1881147"/>
                <a:gd name="connsiteY16" fmla="*/ 376257 h 1694229"/>
                <a:gd name="connsiteX17" fmla="*/ 781524 w 1881147"/>
                <a:gd name="connsiteY17" fmla="*/ 429823 h 1694229"/>
                <a:gd name="connsiteX18" fmla="*/ 781524 w 1881147"/>
                <a:gd name="connsiteY18" fmla="*/ 463160 h 1694229"/>
                <a:gd name="connsiteX19" fmla="*/ 743424 w 1881147"/>
                <a:gd name="connsiteY19" fmla="*/ 486973 h 1694229"/>
                <a:gd name="connsiteX20" fmla="*/ 671986 w 1881147"/>
                <a:gd name="connsiteY20" fmla="*/ 420298 h 1694229"/>
                <a:gd name="connsiteX21" fmla="*/ 519586 w 1881147"/>
                <a:gd name="connsiteY21" fmla="*/ 415535 h 1694229"/>
                <a:gd name="connsiteX22" fmla="*/ 457674 w 1881147"/>
                <a:gd name="connsiteY22" fmla="*/ 434585 h 1694229"/>
                <a:gd name="connsiteX23" fmla="*/ 419574 w 1881147"/>
                <a:gd name="connsiteY23" fmla="*/ 420298 h 1694229"/>
                <a:gd name="connsiteX24" fmla="*/ 400524 w 1881147"/>
                <a:gd name="connsiteY24" fmla="*/ 358385 h 1694229"/>
                <a:gd name="connsiteX25" fmla="*/ 333849 w 1881147"/>
                <a:gd name="connsiteY25" fmla="*/ 305998 h 1694229"/>
                <a:gd name="connsiteX26" fmla="*/ 286224 w 1881147"/>
                <a:gd name="connsiteY26" fmla="*/ 239323 h 1694229"/>
                <a:gd name="connsiteX27" fmla="*/ 143349 w 1881147"/>
                <a:gd name="connsiteY27" fmla="*/ 258373 h 1694229"/>
                <a:gd name="connsiteX28" fmla="*/ 124299 w 1881147"/>
                <a:gd name="connsiteY28" fmla="*/ 334573 h 1694229"/>
                <a:gd name="connsiteX29" fmla="*/ 110011 w 1881147"/>
                <a:gd name="connsiteY29" fmla="*/ 367910 h 1694229"/>
                <a:gd name="connsiteX30" fmla="*/ 133824 w 1881147"/>
                <a:gd name="connsiteY30" fmla="*/ 415535 h 1694229"/>
                <a:gd name="connsiteX31" fmla="*/ 81436 w 1881147"/>
                <a:gd name="connsiteY31" fmla="*/ 453635 h 1694229"/>
                <a:gd name="connsiteX32" fmla="*/ 33811 w 1881147"/>
                <a:gd name="connsiteY32" fmla="*/ 448873 h 1694229"/>
                <a:gd name="connsiteX33" fmla="*/ 33811 w 1881147"/>
                <a:gd name="connsiteY33" fmla="*/ 520310 h 1694229"/>
                <a:gd name="connsiteX34" fmla="*/ 474 w 1881147"/>
                <a:gd name="connsiteY34" fmla="*/ 625085 h 1694229"/>
                <a:gd name="connsiteX35" fmla="*/ 62386 w 1881147"/>
                <a:gd name="connsiteY35" fmla="*/ 701285 h 1694229"/>
                <a:gd name="connsiteX36" fmla="*/ 111977 w 1881147"/>
                <a:gd name="connsiteY36" fmla="*/ 681547 h 1694229"/>
                <a:gd name="connsiteX37" fmla="*/ 112334 w 1881147"/>
                <a:gd name="connsiteY37" fmla="*/ 751806 h 1694229"/>
                <a:gd name="connsiteX38" fmla="*/ 167161 w 1881147"/>
                <a:gd name="connsiteY38" fmla="*/ 782248 h 1694229"/>
                <a:gd name="connsiteX39" fmla="*/ 236159 w 1881147"/>
                <a:gd name="connsiteY39" fmla="*/ 792460 h 1694229"/>
                <a:gd name="connsiteX40" fmla="*/ 271462 w 1881147"/>
                <a:gd name="connsiteY40" fmla="*/ 848431 h 1694229"/>
                <a:gd name="connsiteX41" fmla="*/ 270869 w 1881147"/>
                <a:gd name="connsiteY41" fmla="*/ 893503 h 1694229"/>
                <a:gd name="connsiteX42" fmla="*/ 295393 w 1881147"/>
                <a:gd name="connsiteY42" fmla="*/ 932978 h 1694229"/>
                <a:gd name="connsiteX43" fmla="*/ 341051 w 1881147"/>
                <a:gd name="connsiteY43" fmla="*/ 971570 h 1694229"/>
                <a:gd name="connsiteX44" fmla="*/ 426184 w 1881147"/>
                <a:gd name="connsiteY44" fmla="*/ 1025822 h 1694229"/>
                <a:gd name="connsiteX45" fmla="*/ 461961 w 1881147"/>
                <a:gd name="connsiteY45" fmla="*/ 1096915 h 1694229"/>
                <a:gd name="connsiteX46" fmla="*/ 441064 w 1881147"/>
                <a:gd name="connsiteY46" fmla="*/ 1166488 h 1694229"/>
                <a:gd name="connsiteX47" fmla="*/ 519111 w 1881147"/>
                <a:gd name="connsiteY47" fmla="*/ 1222951 h 1694229"/>
                <a:gd name="connsiteX48" fmla="*/ 591143 w 1881147"/>
                <a:gd name="connsiteY48" fmla="*/ 1255945 h 1694229"/>
                <a:gd name="connsiteX49" fmla="*/ 571974 w 1881147"/>
                <a:gd name="connsiteY49" fmla="*/ 1315648 h 1694229"/>
                <a:gd name="connsiteX50" fmla="*/ 662461 w 1881147"/>
                <a:gd name="connsiteY50" fmla="*/ 1468048 h 1694229"/>
                <a:gd name="connsiteX51" fmla="*/ 755271 w 1881147"/>
                <a:gd name="connsiteY51" fmla="*/ 1541202 h 1694229"/>
                <a:gd name="connsiteX52" fmla="*/ 805336 w 1881147"/>
                <a:gd name="connsiteY52" fmla="*/ 1491860 h 1694229"/>
                <a:gd name="connsiteX53" fmla="*/ 869926 w 1881147"/>
                <a:gd name="connsiteY53" fmla="*/ 1519257 h 1694229"/>
                <a:gd name="connsiteX54" fmla="*/ 924399 w 1881147"/>
                <a:gd name="connsiteY54" fmla="*/ 1487098 h 1694229"/>
                <a:gd name="connsiteX55" fmla="*/ 941246 w 1881147"/>
                <a:gd name="connsiteY55" fmla="*/ 1444922 h 1694229"/>
                <a:gd name="connsiteX56" fmla="*/ 1005123 w 1881147"/>
                <a:gd name="connsiteY56" fmla="*/ 1531334 h 1694229"/>
                <a:gd name="connsiteX57" fmla="*/ 1050190 w 1881147"/>
                <a:gd name="connsiteY57" fmla="*/ 1602428 h 1694229"/>
                <a:gd name="connsiteX58" fmla="*/ 1120136 w 1881147"/>
                <a:gd name="connsiteY58" fmla="*/ 1693947 h 1694229"/>
                <a:gd name="connsiteX59" fmla="*/ 1151034 w 1881147"/>
                <a:gd name="connsiteY59" fmla="*/ 1630856 h 1694229"/>
                <a:gd name="connsiteX60" fmla="*/ 1181693 w 1881147"/>
                <a:gd name="connsiteY60" fmla="*/ 1624376 h 1694229"/>
                <a:gd name="connsiteX61" fmla="*/ 1224792 w 1881147"/>
                <a:gd name="connsiteY61" fmla="*/ 1653639 h 1694229"/>
                <a:gd name="connsiteX62" fmla="*/ 1258367 w 1881147"/>
                <a:gd name="connsiteY62" fmla="*/ 1612985 h 1694229"/>
                <a:gd name="connsiteX63" fmla="*/ 1277188 w 1881147"/>
                <a:gd name="connsiteY63" fmla="*/ 1617602 h 1694229"/>
                <a:gd name="connsiteX64" fmla="*/ 1311230 w 1881147"/>
                <a:gd name="connsiteY64" fmla="*/ 1684079 h 1694229"/>
                <a:gd name="connsiteX65" fmla="*/ 1367786 w 1881147"/>
                <a:gd name="connsiteY65" fmla="*/ 1660610 h 1694229"/>
                <a:gd name="connsiteX66" fmla="*/ 1419818 w 1881147"/>
                <a:gd name="connsiteY66" fmla="*/ 1604489 h 1694229"/>
                <a:gd name="connsiteX67" fmla="*/ 1470595 w 1881147"/>
                <a:gd name="connsiteY67" fmla="*/ 1587946 h 1694229"/>
                <a:gd name="connsiteX68" fmla="*/ 1488274 w 1881147"/>
                <a:gd name="connsiteY68" fmla="*/ 1643768 h 1694229"/>
                <a:gd name="connsiteX69" fmla="*/ 1558169 w 1881147"/>
                <a:gd name="connsiteY69" fmla="*/ 1618090 h 1694229"/>
                <a:gd name="connsiteX70" fmla="*/ 1588947 w 1881147"/>
                <a:gd name="connsiteY70" fmla="*/ 1531334 h 1694229"/>
                <a:gd name="connsiteX71" fmla="*/ 1670383 w 1881147"/>
                <a:gd name="connsiteY71" fmla="*/ 1441192 h 1694229"/>
                <a:gd name="connsiteX72" fmla="*/ 1714974 w 1881147"/>
                <a:gd name="connsiteY72" fmla="*/ 1410062 h 1694229"/>
                <a:gd name="connsiteX73" fmla="*/ 1743343 w 1881147"/>
                <a:gd name="connsiteY73" fmla="*/ 1413357 h 1694229"/>
                <a:gd name="connsiteX74" fmla="*/ 1820935 w 1881147"/>
                <a:gd name="connsiteY74" fmla="*/ 1402749 h 1694229"/>
                <a:gd name="connsiteX75" fmla="*/ 1816054 w 1881147"/>
                <a:gd name="connsiteY75" fmla="*/ 1456313 h 1694229"/>
                <a:gd name="connsiteX76" fmla="*/ 1874221 w 1881147"/>
                <a:gd name="connsiteY76" fmla="*/ 1479634 h 1694229"/>
                <a:gd name="connsiteX77" fmla="*/ 1875829 w 1881147"/>
                <a:gd name="connsiteY77" fmla="*/ 1457000 h 1694229"/>
                <a:gd name="connsiteX78" fmla="*/ 1875051 w 1881147"/>
                <a:gd name="connsiteY78" fmla="*/ 1396266 h 1694229"/>
                <a:gd name="connsiteX79" fmla="*/ 1853086 w 1881147"/>
                <a:gd name="connsiteY79" fmla="*/ 1306123 h 1694229"/>
                <a:gd name="connsiteX80" fmla="*/ 1853086 w 1881147"/>
                <a:gd name="connsiteY80" fmla="*/ 1248973 h 1694229"/>
                <a:gd name="connsiteX81" fmla="*/ 1810224 w 1881147"/>
                <a:gd name="connsiteY81" fmla="*/ 1239448 h 1694229"/>
                <a:gd name="connsiteX82" fmla="*/ 1734024 w 1881147"/>
                <a:gd name="connsiteY82" fmla="*/ 1158485 h 1694229"/>
                <a:gd name="connsiteX83" fmla="*/ 1695924 w 1881147"/>
                <a:gd name="connsiteY83" fmla="*/ 977510 h 1694229"/>
                <a:gd name="connsiteX84" fmla="*/ 1643536 w 1881147"/>
                <a:gd name="connsiteY84" fmla="*/ 944173 h 1694229"/>
                <a:gd name="connsiteX85" fmla="*/ 1605436 w 1881147"/>
                <a:gd name="connsiteY85" fmla="*/ 887023 h 1694229"/>
                <a:gd name="connsiteX86" fmla="*/ 1557811 w 1881147"/>
                <a:gd name="connsiteY86" fmla="*/ 839398 h 1694229"/>
                <a:gd name="connsiteX87" fmla="*/ 1505424 w 1881147"/>
                <a:gd name="connsiteY87" fmla="*/ 820348 h 1694229"/>
                <a:gd name="connsiteX88" fmla="*/ 1453036 w 1881147"/>
                <a:gd name="connsiteY88" fmla="*/ 815585 h 1694229"/>
                <a:gd name="connsiteX89" fmla="*/ 1510186 w 1881147"/>
                <a:gd name="connsiteY89" fmla="*/ 782248 h 1694229"/>
                <a:gd name="connsiteX90" fmla="*/ 1476849 w 1881147"/>
                <a:gd name="connsiteY90" fmla="*/ 748910 h 1694229"/>
                <a:gd name="connsiteX91" fmla="*/ 1481611 w 1881147"/>
                <a:gd name="connsiteY91" fmla="*/ 725098 h 1694229"/>
                <a:gd name="connsiteX92" fmla="*/ 1572099 w 1881147"/>
                <a:gd name="connsiteY92" fmla="*/ 763198 h 1694229"/>
                <a:gd name="connsiteX93" fmla="*/ 1624486 w 1881147"/>
                <a:gd name="connsiteY93" fmla="*/ 696523 h 1694229"/>
                <a:gd name="connsiteX94" fmla="*/ 1622283 w 1881147"/>
                <a:gd name="connsiteY94" fmla="*/ 553648 h 1694229"/>
                <a:gd name="connsiteX95" fmla="*/ 1639486 w 1881147"/>
                <a:gd name="connsiteY95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9738 w 1881147"/>
                <a:gd name="connsiteY13" fmla="*/ 346183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55759 w 1881147"/>
                <a:gd name="connsiteY16" fmla="*/ 376257 h 1694229"/>
                <a:gd name="connsiteX17" fmla="*/ 781524 w 1881147"/>
                <a:gd name="connsiteY17" fmla="*/ 429823 h 1694229"/>
                <a:gd name="connsiteX18" fmla="*/ 781524 w 1881147"/>
                <a:gd name="connsiteY18" fmla="*/ 463160 h 1694229"/>
                <a:gd name="connsiteX19" fmla="*/ 743424 w 1881147"/>
                <a:gd name="connsiteY19" fmla="*/ 486973 h 1694229"/>
                <a:gd name="connsiteX20" fmla="*/ 671986 w 1881147"/>
                <a:gd name="connsiteY20" fmla="*/ 420298 h 1694229"/>
                <a:gd name="connsiteX21" fmla="*/ 519586 w 1881147"/>
                <a:gd name="connsiteY21" fmla="*/ 415535 h 1694229"/>
                <a:gd name="connsiteX22" fmla="*/ 457674 w 1881147"/>
                <a:gd name="connsiteY22" fmla="*/ 434585 h 1694229"/>
                <a:gd name="connsiteX23" fmla="*/ 419574 w 1881147"/>
                <a:gd name="connsiteY23" fmla="*/ 420298 h 1694229"/>
                <a:gd name="connsiteX24" fmla="*/ 400524 w 1881147"/>
                <a:gd name="connsiteY24" fmla="*/ 358385 h 1694229"/>
                <a:gd name="connsiteX25" fmla="*/ 333849 w 1881147"/>
                <a:gd name="connsiteY25" fmla="*/ 305998 h 1694229"/>
                <a:gd name="connsiteX26" fmla="*/ 286224 w 1881147"/>
                <a:gd name="connsiteY26" fmla="*/ 239323 h 1694229"/>
                <a:gd name="connsiteX27" fmla="*/ 143349 w 1881147"/>
                <a:gd name="connsiteY27" fmla="*/ 258373 h 1694229"/>
                <a:gd name="connsiteX28" fmla="*/ 124299 w 1881147"/>
                <a:gd name="connsiteY28" fmla="*/ 334573 h 1694229"/>
                <a:gd name="connsiteX29" fmla="*/ 110011 w 1881147"/>
                <a:gd name="connsiteY29" fmla="*/ 367910 h 1694229"/>
                <a:gd name="connsiteX30" fmla="*/ 133824 w 1881147"/>
                <a:gd name="connsiteY30" fmla="*/ 415535 h 1694229"/>
                <a:gd name="connsiteX31" fmla="*/ 81436 w 1881147"/>
                <a:gd name="connsiteY31" fmla="*/ 453635 h 1694229"/>
                <a:gd name="connsiteX32" fmla="*/ 33811 w 1881147"/>
                <a:gd name="connsiteY32" fmla="*/ 448873 h 1694229"/>
                <a:gd name="connsiteX33" fmla="*/ 33811 w 1881147"/>
                <a:gd name="connsiteY33" fmla="*/ 520310 h 1694229"/>
                <a:gd name="connsiteX34" fmla="*/ 474 w 1881147"/>
                <a:gd name="connsiteY34" fmla="*/ 625085 h 1694229"/>
                <a:gd name="connsiteX35" fmla="*/ 62386 w 1881147"/>
                <a:gd name="connsiteY35" fmla="*/ 701285 h 1694229"/>
                <a:gd name="connsiteX36" fmla="*/ 111977 w 1881147"/>
                <a:gd name="connsiteY36" fmla="*/ 681547 h 1694229"/>
                <a:gd name="connsiteX37" fmla="*/ 112334 w 1881147"/>
                <a:gd name="connsiteY37" fmla="*/ 751806 h 1694229"/>
                <a:gd name="connsiteX38" fmla="*/ 167161 w 1881147"/>
                <a:gd name="connsiteY38" fmla="*/ 782248 h 1694229"/>
                <a:gd name="connsiteX39" fmla="*/ 236159 w 1881147"/>
                <a:gd name="connsiteY39" fmla="*/ 792460 h 1694229"/>
                <a:gd name="connsiteX40" fmla="*/ 271462 w 1881147"/>
                <a:gd name="connsiteY40" fmla="*/ 848431 h 1694229"/>
                <a:gd name="connsiteX41" fmla="*/ 270869 w 1881147"/>
                <a:gd name="connsiteY41" fmla="*/ 893503 h 1694229"/>
                <a:gd name="connsiteX42" fmla="*/ 295393 w 1881147"/>
                <a:gd name="connsiteY42" fmla="*/ 932978 h 1694229"/>
                <a:gd name="connsiteX43" fmla="*/ 341051 w 1881147"/>
                <a:gd name="connsiteY43" fmla="*/ 971570 h 1694229"/>
                <a:gd name="connsiteX44" fmla="*/ 426184 w 1881147"/>
                <a:gd name="connsiteY44" fmla="*/ 1025822 h 1694229"/>
                <a:gd name="connsiteX45" fmla="*/ 461961 w 1881147"/>
                <a:gd name="connsiteY45" fmla="*/ 1096915 h 1694229"/>
                <a:gd name="connsiteX46" fmla="*/ 441064 w 1881147"/>
                <a:gd name="connsiteY46" fmla="*/ 1166488 h 1694229"/>
                <a:gd name="connsiteX47" fmla="*/ 519111 w 1881147"/>
                <a:gd name="connsiteY47" fmla="*/ 1222951 h 1694229"/>
                <a:gd name="connsiteX48" fmla="*/ 591143 w 1881147"/>
                <a:gd name="connsiteY48" fmla="*/ 1255945 h 1694229"/>
                <a:gd name="connsiteX49" fmla="*/ 571974 w 1881147"/>
                <a:gd name="connsiteY49" fmla="*/ 1315648 h 1694229"/>
                <a:gd name="connsiteX50" fmla="*/ 662461 w 1881147"/>
                <a:gd name="connsiteY50" fmla="*/ 1468048 h 1694229"/>
                <a:gd name="connsiteX51" fmla="*/ 755271 w 1881147"/>
                <a:gd name="connsiteY51" fmla="*/ 1541202 h 1694229"/>
                <a:gd name="connsiteX52" fmla="*/ 805336 w 1881147"/>
                <a:gd name="connsiteY52" fmla="*/ 1491860 h 1694229"/>
                <a:gd name="connsiteX53" fmla="*/ 869926 w 1881147"/>
                <a:gd name="connsiteY53" fmla="*/ 1519257 h 1694229"/>
                <a:gd name="connsiteX54" fmla="*/ 924399 w 1881147"/>
                <a:gd name="connsiteY54" fmla="*/ 1487098 h 1694229"/>
                <a:gd name="connsiteX55" fmla="*/ 941246 w 1881147"/>
                <a:gd name="connsiteY55" fmla="*/ 1444922 h 1694229"/>
                <a:gd name="connsiteX56" fmla="*/ 1005123 w 1881147"/>
                <a:gd name="connsiteY56" fmla="*/ 1531334 h 1694229"/>
                <a:gd name="connsiteX57" fmla="*/ 1050190 w 1881147"/>
                <a:gd name="connsiteY57" fmla="*/ 1602428 h 1694229"/>
                <a:gd name="connsiteX58" fmla="*/ 1120136 w 1881147"/>
                <a:gd name="connsiteY58" fmla="*/ 1693947 h 1694229"/>
                <a:gd name="connsiteX59" fmla="*/ 1151034 w 1881147"/>
                <a:gd name="connsiteY59" fmla="*/ 1630856 h 1694229"/>
                <a:gd name="connsiteX60" fmla="*/ 1181693 w 1881147"/>
                <a:gd name="connsiteY60" fmla="*/ 1624376 h 1694229"/>
                <a:gd name="connsiteX61" fmla="*/ 1224792 w 1881147"/>
                <a:gd name="connsiteY61" fmla="*/ 1653639 h 1694229"/>
                <a:gd name="connsiteX62" fmla="*/ 1258367 w 1881147"/>
                <a:gd name="connsiteY62" fmla="*/ 1612985 h 1694229"/>
                <a:gd name="connsiteX63" fmla="*/ 1277188 w 1881147"/>
                <a:gd name="connsiteY63" fmla="*/ 1617602 h 1694229"/>
                <a:gd name="connsiteX64" fmla="*/ 1311230 w 1881147"/>
                <a:gd name="connsiteY64" fmla="*/ 1684079 h 1694229"/>
                <a:gd name="connsiteX65" fmla="*/ 1367786 w 1881147"/>
                <a:gd name="connsiteY65" fmla="*/ 1660610 h 1694229"/>
                <a:gd name="connsiteX66" fmla="*/ 1419818 w 1881147"/>
                <a:gd name="connsiteY66" fmla="*/ 1604489 h 1694229"/>
                <a:gd name="connsiteX67" fmla="*/ 1470595 w 1881147"/>
                <a:gd name="connsiteY67" fmla="*/ 1587946 h 1694229"/>
                <a:gd name="connsiteX68" fmla="*/ 1488274 w 1881147"/>
                <a:gd name="connsiteY68" fmla="*/ 1643768 h 1694229"/>
                <a:gd name="connsiteX69" fmla="*/ 1558169 w 1881147"/>
                <a:gd name="connsiteY69" fmla="*/ 1618090 h 1694229"/>
                <a:gd name="connsiteX70" fmla="*/ 1588947 w 1881147"/>
                <a:gd name="connsiteY70" fmla="*/ 1531334 h 1694229"/>
                <a:gd name="connsiteX71" fmla="*/ 1670383 w 1881147"/>
                <a:gd name="connsiteY71" fmla="*/ 1441192 h 1694229"/>
                <a:gd name="connsiteX72" fmla="*/ 1714974 w 1881147"/>
                <a:gd name="connsiteY72" fmla="*/ 1410062 h 1694229"/>
                <a:gd name="connsiteX73" fmla="*/ 1743343 w 1881147"/>
                <a:gd name="connsiteY73" fmla="*/ 1413357 h 1694229"/>
                <a:gd name="connsiteX74" fmla="*/ 1820935 w 1881147"/>
                <a:gd name="connsiteY74" fmla="*/ 1402749 h 1694229"/>
                <a:gd name="connsiteX75" fmla="*/ 1816054 w 1881147"/>
                <a:gd name="connsiteY75" fmla="*/ 1456313 h 1694229"/>
                <a:gd name="connsiteX76" fmla="*/ 1874221 w 1881147"/>
                <a:gd name="connsiteY76" fmla="*/ 1479634 h 1694229"/>
                <a:gd name="connsiteX77" fmla="*/ 1875829 w 1881147"/>
                <a:gd name="connsiteY77" fmla="*/ 1457000 h 1694229"/>
                <a:gd name="connsiteX78" fmla="*/ 1875051 w 1881147"/>
                <a:gd name="connsiteY78" fmla="*/ 1396266 h 1694229"/>
                <a:gd name="connsiteX79" fmla="*/ 1853086 w 1881147"/>
                <a:gd name="connsiteY79" fmla="*/ 1306123 h 1694229"/>
                <a:gd name="connsiteX80" fmla="*/ 1853086 w 1881147"/>
                <a:gd name="connsiteY80" fmla="*/ 1248973 h 1694229"/>
                <a:gd name="connsiteX81" fmla="*/ 1810224 w 1881147"/>
                <a:gd name="connsiteY81" fmla="*/ 1239448 h 1694229"/>
                <a:gd name="connsiteX82" fmla="*/ 1734024 w 1881147"/>
                <a:gd name="connsiteY82" fmla="*/ 1158485 h 1694229"/>
                <a:gd name="connsiteX83" fmla="*/ 1695924 w 1881147"/>
                <a:gd name="connsiteY83" fmla="*/ 977510 h 1694229"/>
                <a:gd name="connsiteX84" fmla="*/ 1643536 w 1881147"/>
                <a:gd name="connsiteY84" fmla="*/ 944173 h 1694229"/>
                <a:gd name="connsiteX85" fmla="*/ 1605436 w 1881147"/>
                <a:gd name="connsiteY85" fmla="*/ 887023 h 1694229"/>
                <a:gd name="connsiteX86" fmla="*/ 1557811 w 1881147"/>
                <a:gd name="connsiteY86" fmla="*/ 839398 h 1694229"/>
                <a:gd name="connsiteX87" fmla="*/ 1505424 w 1881147"/>
                <a:gd name="connsiteY87" fmla="*/ 820348 h 1694229"/>
                <a:gd name="connsiteX88" fmla="*/ 1453036 w 1881147"/>
                <a:gd name="connsiteY88" fmla="*/ 815585 h 1694229"/>
                <a:gd name="connsiteX89" fmla="*/ 1510186 w 1881147"/>
                <a:gd name="connsiteY89" fmla="*/ 782248 h 1694229"/>
                <a:gd name="connsiteX90" fmla="*/ 1476849 w 1881147"/>
                <a:gd name="connsiteY90" fmla="*/ 748910 h 1694229"/>
                <a:gd name="connsiteX91" fmla="*/ 1481611 w 1881147"/>
                <a:gd name="connsiteY91" fmla="*/ 725098 h 1694229"/>
                <a:gd name="connsiteX92" fmla="*/ 1572099 w 1881147"/>
                <a:gd name="connsiteY92" fmla="*/ 763198 h 1694229"/>
                <a:gd name="connsiteX93" fmla="*/ 1624486 w 1881147"/>
                <a:gd name="connsiteY93" fmla="*/ 696523 h 1694229"/>
                <a:gd name="connsiteX94" fmla="*/ 1622283 w 1881147"/>
                <a:gd name="connsiteY94" fmla="*/ 553648 h 1694229"/>
                <a:gd name="connsiteX95" fmla="*/ 1639486 w 1881147"/>
                <a:gd name="connsiteY95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9738 w 1881147"/>
                <a:gd name="connsiteY13" fmla="*/ 346183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55759 w 1881147"/>
                <a:gd name="connsiteY16" fmla="*/ 376257 h 1694229"/>
                <a:gd name="connsiteX17" fmla="*/ 832776 w 1881147"/>
                <a:gd name="connsiteY17" fmla="*/ 440035 h 1694229"/>
                <a:gd name="connsiteX18" fmla="*/ 781524 w 1881147"/>
                <a:gd name="connsiteY18" fmla="*/ 463160 h 1694229"/>
                <a:gd name="connsiteX19" fmla="*/ 743424 w 1881147"/>
                <a:gd name="connsiteY19" fmla="*/ 486973 h 1694229"/>
                <a:gd name="connsiteX20" fmla="*/ 671986 w 1881147"/>
                <a:gd name="connsiteY20" fmla="*/ 420298 h 1694229"/>
                <a:gd name="connsiteX21" fmla="*/ 519586 w 1881147"/>
                <a:gd name="connsiteY21" fmla="*/ 415535 h 1694229"/>
                <a:gd name="connsiteX22" fmla="*/ 457674 w 1881147"/>
                <a:gd name="connsiteY22" fmla="*/ 434585 h 1694229"/>
                <a:gd name="connsiteX23" fmla="*/ 419574 w 1881147"/>
                <a:gd name="connsiteY23" fmla="*/ 420298 h 1694229"/>
                <a:gd name="connsiteX24" fmla="*/ 400524 w 1881147"/>
                <a:gd name="connsiteY24" fmla="*/ 358385 h 1694229"/>
                <a:gd name="connsiteX25" fmla="*/ 333849 w 1881147"/>
                <a:gd name="connsiteY25" fmla="*/ 305998 h 1694229"/>
                <a:gd name="connsiteX26" fmla="*/ 286224 w 1881147"/>
                <a:gd name="connsiteY26" fmla="*/ 239323 h 1694229"/>
                <a:gd name="connsiteX27" fmla="*/ 143349 w 1881147"/>
                <a:gd name="connsiteY27" fmla="*/ 258373 h 1694229"/>
                <a:gd name="connsiteX28" fmla="*/ 124299 w 1881147"/>
                <a:gd name="connsiteY28" fmla="*/ 334573 h 1694229"/>
                <a:gd name="connsiteX29" fmla="*/ 110011 w 1881147"/>
                <a:gd name="connsiteY29" fmla="*/ 367910 h 1694229"/>
                <a:gd name="connsiteX30" fmla="*/ 133824 w 1881147"/>
                <a:gd name="connsiteY30" fmla="*/ 415535 h 1694229"/>
                <a:gd name="connsiteX31" fmla="*/ 81436 w 1881147"/>
                <a:gd name="connsiteY31" fmla="*/ 453635 h 1694229"/>
                <a:gd name="connsiteX32" fmla="*/ 33811 w 1881147"/>
                <a:gd name="connsiteY32" fmla="*/ 448873 h 1694229"/>
                <a:gd name="connsiteX33" fmla="*/ 33811 w 1881147"/>
                <a:gd name="connsiteY33" fmla="*/ 520310 h 1694229"/>
                <a:gd name="connsiteX34" fmla="*/ 474 w 1881147"/>
                <a:gd name="connsiteY34" fmla="*/ 625085 h 1694229"/>
                <a:gd name="connsiteX35" fmla="*/ 62386 w 1881147"/>
                <a:gd name="connsiteY35" fmla="*/ 701285 h 1694229"/>
                <a:gd name="connsiteX36" fmla="*/ 111977 w 1881147"/>
                <a:gd name="connsiteY36" fmla="*/ 681547 h 1694229"/>
                <a:gd name="connsiteX37" fmla="*/ 112334 w 1881147"/>
                <a:gd name="connsiteY37" fmla="*/ 751806 h 1694229"/>
                <a:gd name="connsiteX38" fmla="*/ 167161 w 1881147"/>
                <a:gd name="connsiteY38" fmla="*/ 782248 h 1694229"/>
                <a:gd name="connsiteX39" fmla="*/ 236159 w 1881147"/>
                <a:gd name="connsiteY39" fmla="*/ 792460 h 1694229"/>
                <a:gd name="connsiteX40" fmla="*/ 271462 w 1881147"/>
                <a:gd name="connsiteY40" fmla="*/ 848431 h 1694229"/>
                <a:gd name="connsiteX41" fmla="*/ 270869 w 1881147"/>
                <a:gd name="connsiteY41" fmla="*/ 893503 h 1694229"/>
                <a:gd name="connsiteX42" fmla="*/ 295393 w 1881147"/>
                <a:gd name="connsiteY42" fmla="*/ 932978 h 1694229"/>
                <a:gd name="connsiteX43" fmla="*/ 341051 w 1881147"/>
                <a:gd name="connsiteY43" fmla="*/ 971570 h 1694229"/>
                <a:gd name="connsiteX44" fmla="*/ 426184 w 1881147"/>
                <a:gd name="connsiteY44" fmla="*/ 1025822 h 1694229"/>
                <a:gd name="connsiteX45" fmla="*/ 461961 w 1881147"/>
                <a:gd name="connsiteY45" fmla="*/ 1096915 h 1694229"/>
                <a:gd name="connsiteX46" fmla="*/ 441064 w 1881147"/>
                <a:gd name="connsiteY46" fmla="*/ 1166488 h 1694229"/>
                <a:gd name="connsiteX47" fmla="*/ 519111 w 1881147"/>
                <a:gd name="connsiteY47" fmla="*/ 1222951 h 1694229"/>
                <a:gd name="connsiteX48" fmla="*/ 591143 w 1881147"/>
                <a:gd name="connsiteY48" fmla="*/ 1255945 h 1694229"/>
                <a:gd name="connsiteX49" fmla="*/ 571974 w 1881147"/>
                <a:gd name="connsiteY49" fmla="*/ 1315648 h 1694229"/>
                <a:gd name="connsiteX50" fmla="*/ 662461 w 1881147"/>
                <a:gd name="connsiteY50" fmla="*/ 1468048 h 1694229"/>
                <a:gd name="connsiteX51" fmla="*/ 755271 w 1881147"/>
                <a:gd name="connsiteY51" fmla="*/ 1541202 h 1694229"/>
                <a:gd name="connsiteX52" fmla="*/ 805336 w 1881147"/>
                <a:gd name="connsiteY52" fmla="*/ 1491860 h 1694229"/>
                <a:gd name="connsiteX53" fmla="*/ 869926 w 1881147"/>
                <a:gd name="connsiteY53" fmla="*/ 1519257 h 1694229"/>
                <a:gd name="connsiteX54" fmla="*/ 924399 w 1881147"/>
                <a:gd name="connsiteY54" fmla="*/ 1487098 h 1694229"/>
                <a:gd name="connsiteX55" fmla="*/ 941246 w 1881147"/>
                <a:gd name="connsiteY55" fmla="*/ 1444922 h 1694229"/>
                <a:gd name="connsiteX56" fmla="*/ 1005123 w 1881147"/>
                <a:gd name="connsiteY56" fmla="*/ 1531334 h 1694229"/>
                <a:gd name="connsiteX57" fmla="*/ 1050190 w 1881147"/>
                <a:gd name="connsiteY57" fmla="*/ 1602428 h 1694229"/>
                <a:gd name="connsiteX58" fmla="*/ 1120136 w 1881147"/>
                <a:gd name="connsiteY58" fmla="*/ 1693947 h 1694229"/>
                <a:gd name="connsiteX59" fmla="*/ 1151034 w 1881147"/>
                <a:gd name="connsiteY59" fmla="*/ 1630856 h 1694229"/>
                <a:gd name="connsiteX60" fmla="*/ 1181693 w 1881147"/>
                <a:gd name="connsiteY60" fmla="*/ 1624376 h 1694229"/>
                <a:gd name="connsiteX61" fmla="*/ 1224792 w 1881147"/>
                <a:gd name="connsiteY61" fmla="*/ 1653639 h 1694229"/>
                <a:gd name="connsiteX62" fmla="*/ 1258367 w 1881147"/>
                <a:gd name="connsiteY62" fmla="*/ 1612985 h 1694229"/>
                <a:gd name="connsiteX63" fmla="*/ 1277188 w 1881147"/>
                <a:gd name="connsiteY63" fmla="*/ 1617602 h 1694229"/>
                <a:gd name="connsiteX64" fmla="*/ 1311230 w 1881147"/>
                <a:gd name="connsiteY64" fmla="*/ 1684079 h 1694229"/>
                <a:gd name="connsiteX65" fmla="*/ 1367786 w 1881147"/>
                <a:gd name="connsiteY65" fmla="*/ 1660610 h 1694229"/>
                <a:gd name="connsiteX66" fmla="*/ 1419818 w 1881147"/>
                <a:gd name="connsiteY66" fmla="*/ 1604489 h 1694229"/>
                <a:gd name="connsiteX67" fmla="*/ 1470595 w 1881147"/>
                <a:gd name="connsiteY67" fmla="*/ 1587946 h 1694229"/>
                <a:gd name="connsiteX68" fmla="*/ 1488274 w 1881147"/>
                <a:gd name="connsiteY68" fmla="*/ 1643768 h 1694229"/>
                <a:gd name="connsiteX69" fmla="*/ 1558169 w 1881147"/>
                <a:gd name="connsiteY69" fmla="*/ 1618090 h 1694229"/>
                <a:gd name="connsiteX70" fmla="*/ 1588947 w 1881147"/>
                <a:gd name="connsiteY70" fmla="*/ 1531334 h 1694229"/>
                <a:gd name="connsiteX71" fmla="*/ 1670383 w 1881147"/>
                <a:gd name="connsiteY71" fmla="*/ 1441192 h 1694229"/>
                <a:gd name="connsiteX72" fmla="*/ 1714974 w 1881147"/>
                <a:gd name="connsiteY72" fmla="*/ 1410062 h 1694229"/>
                <a:gd name="connsiteX73" fmla="*/ 1743343 w 1881147"/>
                <a:gd name="connsiteY73" fmla="*/ 1413357 h 1694229"/>
                <a:gd name="connsiteX74" fmla="*/ 1820935 w 1881147"/>
                <a:gd name="connsiteY74" fmla="*/ 1402749 h 1694229"/>
                <a:gd name="connsiteX75" fmla="*/ 1816054 w 1881147"/>
                <a:gd name="connsiteY75" fmla="*/ 1456313 h 1694229"/>
                <a:gd name="connsiteX76" fmla="*/ 1874221 w 1881147"/>
                <a:gd name="connsiteY76" fmla="*/ 1479634 h 1694229"/>
                <a:gd name="connsiteX77" fmla="*/ 1875829 w 1881147"/>
                <a:gd name="connsiteY77" fmla="*/ 1457000 h 1694229"/>
                <a:gd name="connsiteX78" fmla="*/ 1875051 w 1881147"/>
                <a:gd name="connsiteY78" fmla="*/ 1396266 h 1694229"/>
                <a:gd name="connsiteX79" fmla="*/ 1853086 w 1881147"/>
                <a:gd name="connsiteY79" fmla="*/ 1306123 h 1694229"/>
                <a:gd name="connsiteX80" fmla="*/ 1853086 w 1881147"/>
                <a:gd name="connsiteY80" fmla="*/ 1248973 h 1694229"/>
                <a:gd name="connsiteX81" fmla="*/ 1810224 w 1881147"/>
                <a:gd name="connsiteY81" fmla="*/ 1239448 h 1694229"/>
                <a:gd name="connsiteX82" fmla="*/ 1734024 w 1881147"/>
                <a:gd name="connsiteY82" fmla="*/ 1158485 h 1694229"/>
                <a:gd name="connsiteX83" fmla="*/ 1695924 w 1881147"/>
                <a:gd name="connsiteY83" fmla="*/ 977510 h 1694229"/>
                <a:gd name="connsiteX84" fmla="*/ 1643536 w 1881147"/>
                <a:gd name="connsiteY84" fmla="*/ 944173 h 1694229"/>
                <a:gd name="connsiteX85" fmla="*/ 1605436 w 1881147"/>
                <a:gd name="connsiteY85" fmla="*/ 887023 h 1694229"/>
                <a:gd name="connsiteX86" fmla="*/ 1557811 w 1881147"/>
                <a:gd name="connsiteY86" fmla="*/ 839398 h 1694229"/>
                <a:gd name="connsiteX87" fmla="*/ 1505424 w 1881147"/>
                <a:gd name="connsiteY87" fmla="*/ 820348 h 1694229"/>
                <a:gd name="connsiteX88" fmla="*/ 1453036 w 1881147"/>
                <a:gd name="connsiteY88" fmla="*/ 815585 h 1694229"/>
                <a:gd name="connsiteX89" fmla="*/ 1510186 w 1881147"/>
                <a:gd name="connsiteY89" fmla="*/ 782248 h 1694229"/>
                <a:gd name="connsiteX90" fmla="*/ 1476849 w 1881147"/>
                <a:gd name="connsiteY90" fmla="*/ 748910 h 1694229"/>
                <a:gd name="connsiteX91" fmla="*/ 1481611 w 1881147"/>
                <a:gd name="connsiteY91" fmla="*/ 725098 h 1694229"/>
                <a:gd name="connsiteX92" fmla="*/ 1572099 w 1881147"/>
                <a:gd name="connsiteY92" fmla="*/ 763198 h 1694229"/>
                <a:gd name="connsiteX93" fmla="*/ 1624486 w 1881147"/>
                <a:gd name="connsiteY93" fmla="*/ 696523 h 1694229"/>
                <a:gd name="connsiteX94" fmla="*/ 1622283 w 1881147"/>
                <a:gd name="connsiteY94" fmla="*/ 553648 h 1694229"/>
                <a:gd name="connsiteX95" fmla="*/ 1639486 w 1881147"/>
                <a:gd name="connsiteY95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9738 w 1881147"/>
                <a:gd name="connsiteY13" fmla="*/ 346183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55759 w 1881147"/>
                <a:gd name="connsiteY16" fmla="*/ 376257 h 1694229"/>
                <a:gd name="connsiteX17" fmla="*/ 832776 w 1881147"/>
                <a:gd name="connsiteY17" fmla="*/ 440035 h 1694229"/>
                <a:gd name="connsiteX18" fmla="*/ 815693 w 1881147"/>
                <a:gd name="connsiteY18" fmla="*/ 475926 h 1694229"/>
                <a:gd name="connsiteX19" fmla="*/ 743424 w 1881147"/>
                <a:gd name="connsiteY19" fmla="*/ 486973 h 1694229"/>
                <a:gd name="connsiteX20" fmla="*/ 671986 w 1881147"/>
                <a:gd name="connsiteY20" fmla="*/ 420298 h 1694229"/>
                <a:gd name="connsiteX21" fmla="*/ 519586 w 1881147"/>
                <a:gd name="connsiteY21" fmla="*/ 415535 h 1694229"/>
                <a:gd name="connsiteX22" fmla="*/ 457674 w 1881147"/>
                <a:gd name="connsiteY22" fmla="*/ 434585 h 1694229"/>
                <a:gd name="connsiteX23" fmla="*/ 419574 w 1881147"/>
                <a:gd name="connsiteY23" fmla="*/ 420298 h 1694229"/>
                <a:gd name="connsiteX24" fmla="*/ 400524 w 1881147"/>
                <a:gd name="connsiteY24" fmla="*/ 358385 h 1694229"/>
                <a:gd name="connsiteX25" fmla="*/ 333849 w 1881147"/>
                <a:gd name="connsiteY25" fmla="*/ 305998 h 1694229"/>
                <a:gd name="connsiteX26" fmla="*/ 286224 w 1881147"/>
                <a:gd name="connsiteY26" fmla="*/ 239323 h 1694229"/>
                <a:gd name="connsiteX27" fmla="*/ 143349 w 1881147"/>
                <a:gd name="connsiteY27" fmla="*/ 258373 h 1694229"/>
                <a:gd name="connsiteX28" fmla="*/ 124299 w 1881147"/>
                <a:gd name="connsiteY28" fmla="*/ 334573 h 1694229"/>
                <a:gd name="connsiteX29" fmla="*/ 110011 w 1881147"/>
                <a:gd name="connsiteY29" fmla="*/ 367910 h 1694229"/>
                <a:gd name="connsiteX30" fmla="*/ 133824 w 1881147"/>
                <a:gd name="connsiteY30" fmla="*/ 415535 h 1694229"/>
                <a:gd name="connsiteX31" fmla="*/ 81436 w 1881147"/>
                <a:gd name="connsiteY31" fmla="*/ 453635 h 1694229"/>
                <a:gd name="connsiteX32" fmla="*/ 33811 w 1881147"/>
                <a:gd name="connsiteY32" fmla="*/ 448873 h 1694229"/>
                <a:gd name="connsiteX33" fmla="*/ 33811 w 1881147"/>
                <a:gd name="connsiteY33" fmla="*/ 520310 h 1694229"/>
                <a:gd name="connsiteX34" fmla="*/ 474 w 1881147"/>
                <a:gd name="connsiteY34" fmla="*/ 625085 h 1694229"/>
                <a:gd name="connsiteX35" fmla="*/ 62386 w 1881147"/>
                <a:gd name="connsiteY35" fmla="*/ 701285 h 1694229"/>
                <a:gd name="connsiteX36" fmla="*/ 111977 w 1881147"/>
                <a:gd name="connsiteY36" fmla="*/ 681547 h 1694229"/>
                <a:gd name="connsiteX37" fmla="*/ 112334 w 1881147"/>
                <a:gd name="connsiteY37" fmla="*/ 751806 h 1694229"/>
                <a:gd name="connsiteX38" fmla="*/ 167161 w 1881147"/>
                <a:gd name="connsiteY38" fmla="*/ 782248 h 1694229"/>
                <a:gd name="connsiteX39" fmla="*/ 236159 w 1881147"/>
                <a:gd name="connsiteY39" fmla="*/ 792460 h 1694229"/>
                <a:gd name="connsiteX40" fmla="*/ 271462 w 1881147"/>
                <a:gd name="connsiteY40" fmla="*/ 848431 h 1694229"/>
                <a:gd name="connsiteX41" fmla="*/ 270869 w 1881147"/>
                <a:gd name="connsiteY41" fmla="*/ 893503 h 1694229"/>
                <a:gd name="connsiteX42" fmla="*/ 295393 w 1881147"/>
                <a:gd name="connsiteY42" fmla="*/ 932978 h 1694229"/>
                <a:gd name="connsiteX43" fmla="*/ 341051 w 1881147"/>
                <a:gd name="connsiteY43" fmla="*/ 971570 h 1694229"/>
                <a:gd name="connsiteX44" fmla="*/ 426184 w 1881147"/>
                <a:gd name="connsiteY44" fmla="*/ 1025822 h 1694229"/>
                <a:gd name="connsiteX45" fmla="*/ 461961 w 1881147"/>
                <a:gd name="connsiteY45" fmla="*/ 1096915 h 1694229"/>
                <a:gd name="connsiteX46" fmla="*/ 441064 w 1881147"/>
                <a:gd name="connsiteY46" fmla="*/ 1166488 h 1694229"/>
                <a:gd name="connsiteX47" fmla="*/ 519111 w 1881147"/>
                <a:gd name="connsiteY47" fmla="*/ 1222951 h 1694229"/>
                <a:gd name="connsiteX48" fmla="*/ 591143 w 1881147"/>
                <a:gd name="connsiteY48" fmla="*/ 1255945 h 1694229"/>
                <a:gd name="connsiteX49" fmla="*/ 571974 w 1881147"/>
                <a:gd name="connsiteY49" fmla="*/ 1315648 h 1694229"/>
                <a:gd name="connsiteX50" fmla="*/ 662461 w 1881147"/>
                <a:gd name="connsiteY50" fmla="*/ 1468048 h 1694229"/>
                <a:gd name="connsiteX51" fmla="*/ 755271 w 1881147"/>
                <a:gd name="connsiteY51" fmla="*/ 1541202 h 1694229"/>
                <a:gd name="connsiteX52" fmla="*/ 805336 w 1881147"/>
                <a:gd name="connsiteY52" fmla="*/ 1491860 h 1694229"/>
                <a:gd name="connsiteX53" fmla="*/ 869926 w 1881147"/>
                <a:gd name="connsiteY53" fmla="*/ 1519257 h 1694229"/>
                <a:gd name="connsiteX54" fmla="*/ 924399 w 1881147"/>
                <a:gd name="connsiteY54" fmla="*/ 1487098 h 1694229"/>
                <a:gd name="connsiteX55" fmla="*/ 941246 w 1881147"/>
                <a:gd name="connsiteY55" fmla="*/ 1444922 h 1694229"/>
                <a:gd name="connsiteX56" fmla="*/ 1005123 w 1881147"/>
                <a:gd name="connsiteY56" fmla="*/ 1531334 h 1694229"/>
                <a:gd name="connsiteX57" fmla="*/ 1050190 w 1881147"/>
                <a:gd name="connsiteY57" fmla="*/ 1602428 h 1694229"/>
                <a:gd name="connsiteX58" fmla="*/ 1120136 w 1881147"/>
                <a:gd name="connsiteY58" fmla="*/ 1693947 h 1694229"/>
                <a:gd name="connsiteX59" fmla="*/ 1151034 w 1881147"/>
                <a:gd name="connsiteY59" fmla="*/ 1630856 h 1694229"/>
                <a:gd name="connsiteX60" fmla="*/ 1181693 w 1881147"/>
                <a:gd name="connsiteY60" fmla="*/ 1624376 h 1694229"/>
                <a:gd name="connsiteX61" fmla="*/ 1224792 w 1881147"/>
                <a:gd name="connsiteY61" fmla="*/ 1653639 h 1694229"/>
                <a:gd name="connsiteX62" fmla="*/ 1258367 w 1881147"/>
                <a:gd name="connsiteY62" fmla="*/ 1612985 h 1694229"/>
                <a:gd name="connsiteX63" fmla="*/ 1277188 w 1881147"/>
                <a:gd name="connsiteY63" fmla="*/ 1617602 h 1694229"/>
                <a:gd name="connsiteX64" fmla="*/ 1311230 w 1881147"/>
                <a:gd name="connsiteY64" fmla="*/ 1684079 h 1694229"/>
                <a:gd name="connsiteX65" fmla="*/ 1367786 w 1881147"/>
                <a:gd name="connsiteY65" fmla="*/ 1660610 h 1694229"/>
                <a:gd name="connsiteX66" fmla="*/ 1419818 w 1881147"/>
                <a:gd name="connsiteY66" fmla="*/ 1604489 h 1694229"/>
                <a:gd name="connsiteX67" fmla="*/ 1470595 w 1881147"/>
                <a:gd name="connsiteY67" fmla="*/ 1587946 h 1694229"/>
                <a:gd name="connsiteX68" fmla="*/ 1488274 w 1881147"/>
                <a:gd name="connsiteY68" fmla="*/ 1643768 h 1694229"/>
                <a:gd name="connsiteX69" fmla="*/ 1558169 w 1881147"/>
                <a:gd name="connsiteY69" fmla="*/ 1618090 h 1694229"/>
                <a:gd name="connsiteX70" fmla="*/ 1588947 w 1881147"/>
                <a:gd name="connsiteY70" fmla="*/ 1531334 h 1694229"/>
                <a:gd name="connsiteX71" fmla="*/ 1670383 w 1881147"/>
                <a:gd name="connsiteY71" fmla="*/ 1441192 h 1694229"/>
                <a:gd name="connsiteX72" fmla="*/ 1714974 w 1881147"/>
                <a:gd name="connsiteY72" fmla="*/ 1410062 h 1694229"/>
                <a:gd name="connsiteX73" fmla="*/ 1743343 w 1881147"/>
                <a:gd name="connsiteY73" fmla="*/ 1413357 h 1694229"/>
                <a:gd name="connsiteX74" fmla="*/ 1820935 w 1881147"/>
                <a:gd name="connsiteY74" fmla="*/ 1402749 h 1694229"/>
                <a:gd name="connsiteX75" fmla="*/ 1816054 w 1881147"/>
                <a:gd name="connsiteY75" fmla="*/ 1456313 h 1694229"/>
                <a:gd name="connsiteX76" fmla="*/ 1874221 w 1881147"/>
                <a:gd name="connsiteY76" fmla="*/ 1479634 h 1694229"/>
                <a:gd name="connsiteX77" fmla="*/ 1875829 w 1881147"/>
                <a:gd name="connsiteY77" fmla="*/ 1457000 h 1694229"/>
                <a:gd name="connsiteX78" fmla="*/ 1875051 w 1881147"/>
                <a:gd name="connsiteY78" fmla="*/ 1396266 h 1694229"/>
                <a:gd name="connsiteX79" fmla="*/ 1853086 w 1881147"/>
                <a:gd name="connsiteY79" fmla="*/ 1306123 h 1694229"/>
                <a:gd name="connsiteX80" fmla="*/ 1853086 w 1881147"/>
                <a:gd name="connsiteY80" fmla="*/ 1248973 h 1694229"/>
                <a:gd name="connsiteX81" fmla="*/ 1810224 w 1881147"/>
                <a:gd name="connsiteY81" fmla="*/ 1239448 h 1694229"/>
                <a:gd name="connsiteX82" fmla="*/ 1734024 w 1881147"/>
                <a:gd name="connsiteY82" fmla="*/ 1158485 h 1694229"/>
                <a:gd name="connsiteX83" fmla="*/ 1695924 w 1881147"/>
                <a:gd name="connsiteY83" fmla="*/ 977510 h 1694229"/>
                <a:gd name="connsiteX84" fmla="*/ 1643536 w 1881147"/>
                <a:gd name="connsiteY84" fmla="*/ 944173 h 1694229"/>
                <a:gd name="connsiteX85" fmla="*/ 1605436 w 1881147"/>
                <a:gd name="connsiteY85" fmla="*/ 887023 h 1694229"/>
                <a:gd name="connsiteX86" fmla="*/ 1557811 w 1881147"/>
                <a:gd name="connsiteY86" fmla="*/ 839398 h 1694229"/>
                <a:gd name="connsiteX87" fmla="*/ 1505424 w 1881147"/>
                <a:gd name="connsiteY87" fmla="*/ 820348 h 1694229"/>
                <a:gd name="connsiteX88" fmla="*/ 1453036 w 1881147"/>
                <a:gd name="connsiteY88" fmla="*/ 815585 h 1694229"/>
                <a:gd name="connsiteX89" fmla="*/ 1510186 w 1881147"/>
                <a:gd name="connsiteY89" fmla="*/ 782248 h 1694229"/>
                <a:gd name="connsiteX90" fmla="*/ 1476849 w 1881147"/>
                <a:gd name="connsiteY90" fmla="*/ 748910 h 1694229"/>
                <a:gd name="connsiteX91" fmla="*/ 1481611 w 1881147"/>
                <a:gd name="connsiteY91" fmla="*/ 725098 h 1694229"/>
                <a:gd name="connsiteX92" fmla="*/ 1572099 w 1881147"/>
                <a:gd name="connsiteY92" fmla="*/ 763198 h 1694229"/>
                <a:gd name="connsiteX93" fmla="*/ 1624486 w 1881147"/>
                <a:gd name="connsiteY93" fmla="*/ 696523 h 1694229"/>
                <a:gd name="connsiteX94" fmla="*/ 1622283 w 1881147"/>
                <a:gd name="connsiteY94" fmla="*/ 553648 h 1694229"/>
                <a:gd name="connsiteX95" fmla="*/ 1639486 w 1881147"/>
                <a:gd name="connsiteY95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9738 w 1881147"/>
                <a:gd name="connsiteY13" fmla="*/ 346183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55759 w 1881147"/>
                <a:gd name="connsiteY16" fmla="*/ 376257 h 1694229"/>
                <a:gd name="connsiteX17" fmla="*/ 832776 w 1881147"/>
                <a:gd name="connsiteY17" fmla="*/ 440035 h 1694229"/>
                <a:gd name="connsiteX18" fmla="*/ 815693 w 1881147"/>
                <a:gd name="connsiteY18" fmla="*/ 475926 h 1694229"/>
                <a:gd name="connsiteX19" fmla="*/ 733662 w 1881147"/>
                <a:gd name="connsiteY19" fmla="*/ 494632 h 1694229"/>
                <a:gd name="connsiteX20" fmla="*/ 671986 w 1881147"/>
                <a:gd name="connsiteY20" fmla="*/ 420298 h 1694229"/>
                <a:gd name="connsiteX21" fmla="*/ 519586 w 1881147"/>
                <a:gd name="connsiteY21" fmla="*/ 415535 h 1694229"/>
                <a:gd name="connsiteX22" fmla="*/ 457674 w 1881147"/>
                <a:gd name="connsiteY22" fmla="*/ 434585 h 1694229"/>
                <a:gd name="connsiteX23" fmla="*/ 419574 w 1881147"/>
                <a:gd name="connsiteY23" fmla="*/ 420298 h 1694229"/>
                <a:gd name="connsiteX24" fmla="*/ 400524 w 1881147"/>
                <a:gd name="connsiteY24" fmla="*/ 358385 h 1694229"/>
                <a:gd name="connsiteX25" fmla="*/ 333849 w 1881147"/>
                <a:gd name="connsiteY25" fmla="*/ 305998 h 1694229"/>
                <a:gd name="connsiteX26" fmla="*/ 286224 w 1881147"/>
                <a:gd name="connsiteY26" fmla="*/ 239323 h 1694229"/>
                <a:gd name="connsiteX27" fmla="*/ 143349 w 1881147"/>
                <a:gd name="connsiteY27" fmla="*/ 258373 h 1694229"/>
                <a:gd name="connsiteX28" fmla="*/ 124299 w 1881147"/>
                <a:gd name="connsiteY28" fmla="*/ 334573 h 1694229"/>
                <a:gd name="connsiteX29" fmla="*/ 110011 w 1881147"/>
                <a:gd name="connsiteY29" fmla="*/ 367910 h 1694229"/>
                <a:gd name="connsiteX30" fmla="*/ 133824 w 1881147"/>
                <a:gd name="connsiteY30" fmla="*/ 415535 h 1694229"/>
                <a:gd name="connsiteX31" fmla="*/ 81436 w 1881147"/>
                <a:gd name="connsiteY31" fmla="*/ 453635 h 1694229"/>
                <a:gd name="connsiteX32" fmla="*/ 33811 w 1881147"/>
                <a:gd name="connsiteY32" fmla="*/ 448873 h 1694229"/>
                <a:gd name="connsiteX33" fmla="*/ 33811 w 1881147"/>
                <a:gd name="connsiteY33" fmla="*/ 520310 h 1694229"/>
                <a:gd name="connsiteX34" fmla="*/ 474 w 1881147"/>
                <a:gd name="connsiteY34" fmla="*/ 625085 h 1694229"/>
                <a:gd name="connsiteX35" fmla="*/ 62386 w 1881147"/>
                <a:gd name="connsiteY35" fmla="*/ 701285 h 1694229"/>
                <a:gd name="connsiteX36" fmla="*/ 111977 w 1881147"/>
                <a:gd name="connsiteY36" fmla="*/ 681547 h 1694229"/>
                <a:gd name="connsiteX37" fmla="*/ 112334 w 1881147"/>
                <a:gd name="connsiteY37" fmla="*/ 751806 h 1694229"/>
                <a:gd name="connsiteX38" fmla="*/ 167161 w 1881147"/>
                <a:gd name="connsiteY38" fmla="*/ 782248 h 1694229"/>
                <a:gd name="connsiteX39" fmla="*/ 236159 w 1881147"/>
                <a:gd name="connsiteY39" fmla="*/ 792460 h 1694229"/>
                <a:gd name="connsiteX40" fmla="*/ 271462 w 1881147"/>
                <a:gd name="connsiteY40" fmla="*/ 848431 h 1694229"/>
                <a:gd name="connsiteX41" fmla="*/ 270869 w 1881147"/>
                <a:gd name="connsiteY41" fmla="*/ 893503 h 1694229"/>
                <a:gd name="connsiteX42" fmla="*/ 295393 w 1881147"/>
                <a:gd name="connsiteY42" fmla="*/ 932978 h 1694229"/>
                <a:gd name="connsiteX43" fmla="*/ 341051 w 1881147"/>
                <a:gd name="connsiteY43" fmla="*/ 971570 h 1694229"/>
                <a:gd name="connsiteX44" fmla="*/ 426184 w 1881147"/>
                <a:gd name="connsiteY44" fmla="*/ 1025822 h 1694229"/>
                <a:gd name="connsiteX45" fmla="*/ 461961 w 1881147"/>
                <a:gd name="connsiteY45" fmla="*/ 1096915 h 1694229"/>
                <a:gd name="connsiteX46" fmla="*/ 441064 w 1881147"/>
                <a:gd name="connsiteY46" fmla="*/ 1166488 h 1694229"/>
                <a:gd name="connsiteX47" fmla="*/ 519111 w 1881147"/>
                <a:gd name="connsiteY47" fmla="*/ 1222951 h 1694229"/>
                <a:gd name="connsiteX48" fmla="*/ 591143 w 1881147"/>
                <a:gd name="connsiteY48" fmla="*/ 1255945 h 1694229"/>
                <a:gd name="connsiteX49" fmla="*/ 571974 w 1881147"/>
                <a:gd name="connsiteY49" fmla="*/ 1315648 h 1694229"/>
                <a:gd name="connsiteX50" fmla="*/ 662461 w 1881147"/>
                <a:gd name="connsiteY50" fmla="*/ 1468048 h 1694229"/>
                <a:gd name="connsiteX51" fmla="*/ 755271 w 1881147"/>
                <a:gd name="connsiteY51" fmla="*/ 1541202 h 1694229"/>
                <a:gd name="connsiteX52" fmla="*/ 805336 w 1881147"/>
                <a:gd name="connsiteY52" fmla="*/ 1491860 h 1694229"/>
                <a:gd name="connsiteX53" fmla="*/ 869926 w 1881147"/>
                <a:gd name="connsiteY53" fmla="*/ 1519257 h 1694229"/>
                <a:gd name="connsiteX54" fmla="*/ 924399 w 1881147"/>
                <a:gd name="connsiteY54" fmla="*/ 1487098 h 1694229"/>
                <a:gd name="connsiteX55" fmla="*/ 941246 w 1881147"/>
                <a:gd name="connsiteY55" fmla="*/ 1444922 h 1694229"/>
                <a:gd name="connsiteX56" fmla="*/ 1005123 w 1881147"/>
                <a:gd name="connsiteY56" fmla="*/ 1531334 h 1694229"/>
                <a:gd name="connsiteX57" fmla="*/ 1050190 w 1881147"/>
                <a:gd name="connsiteY57" fmla="*/ 1602428 h 1694229"/>
                <a:gd name="connsiteX58" fmla="*/ 1120136 w 1881147"/>
                <a:gd name="connsiteY58" fmla="*/ 1693947 h 1694229"/>
                <a:gd name="connsiteX59" fmla="*/ 1151034 w 1881147"/>
                <a:gd name="connsiteY59" fmla="*/ 1630856 h 1694229"/>
                <a:gd name="connsiteX60" fmla="*/ 1181693 w 1881147"/>
                <a:gd name="connsiteY60" fmla="*/ 1624376 h 1694229"/>
                <a:gd name="connsiteX61" fmla="*/ 1224792 w 1881147"/>
                <a:gd name="connsiteY61" fmla="*/ 1653639 h 1694229"/>
                <a:gd name="connsiteX62" fmla="*/ 1258367 w 1881147"/>
                <a:gd name="connsiteY62" fmla="*/ 1612985 h 1694229"/>
                <a:gd name="connsiteX63" fmla="*/ 1277188 w 1881147"/>
                <a:gd name="connsiteY63" fmla="*/ 1617602 h 1694229"/>
                <a:gd name="connsiteX64" fmla="*/ 1311230 w 1881147"/>
                <a:gd name="connsiteY64" fmla="*/ 1684079 h 1694229"/>
                <a:gd name="connsiteX65" fmla="*/ 1367786 w 1881147"/>
                <a:gd name="connsiteY65" fmla="*/ 1660610 h 1694229"/>
                <a:gd name="connsiteX66" fmla="*/ 1419818 w 1881147"/>
                <a:gd name="connsiteY66" fmla="*/ 1604489 h 1694229"/>
                <a:gd name="connsiteX67" fmla="*/ 1470595 w 1881147"/>
                <a:gd name="connsiteY67" fmla="*/ 1587946 h 1694229"/>
                <a:gd name="connsiteX68" fmla="*/ 1488274 w 1881147"/>
                <a:gd name="connsiteY68" fmla="*/ 1643768 h 1694229"/>
                <a:gd name="connsiteX69" fmla="*/ 1558169 w 1881147"/>
                <a:gd name="connsiteY69" fmla="*/ 1618090 h 1694229"/>
                <a:gd name="connsiteX70" fmla="*/ 1588947 w 1881147"/>
                <a:gd name="connsiteY70" fmla="*/ 1531334 h 1694229"/>
                <a:gd name="connsiteX71" fmla="*/ 1670383 w 1881147"/>
                <a:gd name="connsiteY71" fmla="*/ 1441192 h 1694229"/>
                <a:gd name="connsiteX72" fmla="*/ 1714974 w 1881147"/>
                <a:gd name="connsiteY72" fmla="*/ 1410062 h 1694229"/>
                <a:gd name="connsiteX73" fmla="*/ 1743343 w 1881147"/>
                <a:gd name="connsiteY73" fmla="*/ 1413357 h 1694229"/>
                <a:gd name="connsiteX74" fmla="*/ 1820935 w 1881147"/>
                <a:gd name="connsiteY74" fmla="*/ 1402749 h 1694229"/>
                <a:gd name="connsiteX75" fmla="*/ 1816054 w 1881147"/>
                <a:gd name="connsiteY75" fmla="*/ 1456313 h 1694229"/>
                <a:gd name="connsiteX76" fmla="*/ 1874221 w 1881147"/>
                <a:gd name="connsiteY76" fmla="*/ 1479634 h 1694229"/>
                <a:gd name="connsiteX77" fmla="*/ 1875829 w 1881147"/>
                <a:gd name="connsiteY77" fmla="*/ 1457000 h 1694229"/>
                <a:gd name="connsiteX78" fmla="*/ 1875051 w 1881147"/>
                <a:gd name="connsiteY78" fmla="*/ 1396266 h 1694229"/>
                <a:gd name="connsiteX79" fmla="*/ 1853086 w 1881147"/>
                <a:gd name="connsiteY79" fmla="*/ 1306123 h 1694229"/>
                <a:gd name="connsiteX80" fmla="*/ 1853086 w 1881147"/>
                <a:gd name="connsiteY80" fmla="*/ 1248973 h 1694229"/>
                <a:gd name="connsiteX81" fmla="*/ 1810224 w 1881147"/>
                <a:gd name="connsiteY81" fmla="*/ 1239448 h 1694229"/>
                <a:gd name="connsiteX82" fmla="*/ 1734024 w 1881147"/>
                <a:gd name="connsiteY82" fmla="*/ 1158485 h 1694229"/>
                <a:gd name="connsiteX83" fmla="*/ 1695924 w 1881147"/>
                <a:gd name="connsiteY83" fmla="*/ 977510 h 1694229"/>
                <a:gd name="connsiteX84" fmla="*/ 1643536 w 1881147"/>
                <a:gd name="connsiteY84" fmla="*/ 944173 h 1694229"/>
                <a:gd name="connsiteX85" fmla="*/ 1605436 w 1881147"/>
                <a:gd name="connsiteY85" fmla="*/ 887023 h 1694229"/>
                <a:gd name="connsiteX86" fmla="*/ 1557811 w 1881147"/>
                <a:gd name="connsiteY86" fmla="*/ 839398 h 1694229"/>
                <a:gd name="connsiteX87" fmla="*/ 1505424 w 1881147"/>
                <a:gd name="connsiteY87" fmla="*/ 820348 h 1694229"/>
                <a:gd name="connsiteX88" fmla="*/ 1453036 w 1881147"/>
                <a:gd name="connsiteY88" fmla="*/ 815585 h 1694229"/>
                <a:gd name="connsiteX89" fmla="*/ 1510186 w 1881147"/>
                <a:gd name="connsiteY89" fmla="*/ 782248 h 1694229"/>
                <a:gd name="connsiteX90" fmla="*/ 1476849 w 1881147"/>
                <a:gd name="connsiteY90" fmla="*/ 748910 h 1694229"/>
                <a:gd name="connsiteX91" fmla="*/ 1481611 w 1881147"/>
                <a:gd name="connsiteY91" fmla="*/ 725098 h 1694229"/>
                <a:gd name="connsiteX92" fmla="*/ 1572099 w 1881147"/>
                <a:gd name="connsiteY92" fmla="*/ 763198 h 1694229"/>
                <a:gd name="connsiteX93" fmla="*/ 1624486 w 1881147"/>
                <a:gd name="connsiteY93" fmla="*/ 696523 h 1694229"/>
                <a:gd name="connsiteX94" fmla="*/ 1622283 w 1881147"/>
                <a:gd name="connsiteY94" fmla="*/ 553648 h 1694229"/>
                <a:gd name="connsiteX95" fmla="*/ 1639486 w 1881147"/>
                <a:gd name="connsiteY95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9738 w 1881147"/>
                <a:gd name="connsiteY13" fmla="*/ 346183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55759 w 1881147"/>
                <a:gd name="connsiteY16" fmla="*/ 376257 h 1694229"/>
                <a:gd name="connsiteX17" fmla="*/ 832776 w 1881147"/>
                <a:gd name="connsiteY17" fmla="*/ 440035 h 1694229"/>
                <a:gd name="connsiteX18" fmla="*/ 815693 w 1881147"/>
                <a:gd name="connsiteY18" fmla="*/ 475926 h 1694229"/>
                <a:gd name="connsiteX19" fmla="*/ 733662 w 1881147"/>
                <a:gd name="connsiteY19" fmla="*/ 494632 h 1694229"/>
                <a:gd name="connsiteX20" fmla="*/ 715850 w 1881147"/>
                <a:gd name="connsiteY20" fmla="*/ 440647 h 1694229"/>
                <a:gd name="connsiteX21" fmla="*/ 671986 w 1881147"/>
                <a:gd name="connsiteY21" fmla="*/ 420298 h 1694229"/>
                <a:gd name="connsiteX22" fmla="*/ 519586 w 1881147"/>
                <a:gd name="connsiteY22" fmla="*/ 415535 h 1694229"/>
                <a:gd name="connsiteX23" fmla="*/ 457674 w 1881147"/>
                <a:gd name="connsiteY23" fmla="*/ 434585 h 1694229"/>
                <a:gd name="connsiteX24" fmla="*/ 419574 w 1881147"/>
                <a:gd name="connsiteY24" fmla="*/ 420298 h 1694229"/>
                <a:gd name="connsiteX25" fmla="*/ 400524 w 1881147"/>
                <a:gd name="connsiteY25" fmla="*/ 358385 h 1694229"/>
                <a:gd name="connsiteX26" fmla="*/ 333849 w 1881147"/>
                <a:gd name="connsiteY26" fmla="*/ 305998 h 1694229"/>
                <a:gd name="connsiteX27" fmla="*/ 286224 w 1881147"/>
                <a:gd name="connsiteY27" fmla="*/ 239323 h 1694229"/>
                <a:gd name="connsiteX28" fmla="*/ 143349 w 1881147"/>
                <a:gd name="connsiteY28" fmla="*/ 258373 h 1694229"/>
                <a:gd name="connsiteX29" fmla="*/ 124299 w 1881147"/>
                <a:gd name="connsiteY29" fmla="*/ 334573 h 1694229"/>
                <a:gd name="connsiteX30" fmla="*/ 110011 w 1881147"/>
                <a:gd name="connsiteY30" fmla="*/ 367910 h 1694229"/>
                <a:gd name="connsiteX31" fmla="*/ 133824 w 1881147"/>
                <a:gd name="connsiteY31" fmla="*/ 415535 h 1694229"/>
                <a:gd name="connsiteX32" fmla="*/ 81436 w 1881147"/>
                <a:gd name="connsiteY32" fmla="*/ 453635 h 1694229"/>
                <a:gd name="connsiteX33" fmla="*/ 33811 w 1881147"/>
                <a:gd name="connsiteY33" fmla="*/ 448873 h 1694229"/>
                <a:gd name="connsiteX34" fmla="*/ 33811 w 1881147"/>
                <a:gd name="connsiteY34" fmla="*/ 520310 h 1694229"/>
                <a:gd name="connsiteX35" fmla="*/ 474 w 1881147"/>
                <a:gd name="connsiteY35" fmla="*/ 625085 h 1694229"/>
                <a:gd name="connsiteX36" fmla="*/ 62386 w 1881147"/>
                <a:gd name="connsiteY36" fmla="*/ 701285 h 1694229"/>
                <a:gd name="connsiteX37" fmla="*/ 111977 w 1881147"/>
                <a:gd name="connsiteY37" fmla="*/ 681547 h 1694229"/>
                <a:gd name="connsiteX38" fmla="*/ 112334 w 1881147"/>
                <a:gd name="connsiteY38" fmla="*/ 751806 h 1694229"/>
                <a:gd name="connsiteX39" fmla="*/ 167161 w 1881147"/>
                <a:gd name="connsiteY39" fmla="*/ 782248 h 1694229"/>
                <a:gd name="connsiteX40" fmla="*/ 236159 w 1881147"/>
                <a:gd name="connsiteY40" fmla="*/ 792460 h 1694229"/>
                <a:gd name="connsiteX41" fmla="*/ 271462 w 1881147"/>
                <a:gd name="connsiteY41" fmla="*/ 848431 h 1694229"/>
                <a:gd name="connsiteX42" fmla="*/ 270869 w 1881147"/>
                <a:gd name="connsiteY42" fmla="*/ 893503 h 1694229"/>
                <a:gd name="connsiteX43" fmla="*/ 295393 w 1881147"/>
                <a:gd name="connsiteY43" fmla="*/ 932978 h 1694229"/>
                <a:gd name="connsiteX44" fmla="*/ 341051 w 1881147"/>
                <a:gd name="connsiteY44" fmla="*/ 971570 h 1694229"/>
                <a:gd name="connsiteX45" fmla="*/ 426184 w 1881147"/>
                <a:gd name="connsiteY45" fmla="*/ 1025822 h 1694229"/>
                <a:gd name="connsiteX46" fmla="*/ 461961 w 1881147"/>
                <a:gd name="connsiteY46" fmla="*/ 1096915 h 1694229"/>
                <a:gd name="connsiteX47" fmla="*/ 441064 w 1881147"/>
                <a:gd name="connsiteY47" fmla="*/ 1166488 h 1694229"/>
                <a:gd name="connsiteX48" fmla="*/ 519111 w 1881147"/>
                <a:gd name="connsiteY48" fmla="*/ 1222951 h 1694229"/>
                <a:gd name="connsiteX49" fmla="*/ 591143 w 1881147"/>
                <a:gd name="connsiteY49" fmla="*/ 1255945 h 1694229"/>
                <a:gd name="connsiteX50" fmla="*/ 571974 w 1881147"/>
                <a:gd name="connsiteY50" fmla="*/ 1315648 h 1694229"/>
                <a:gd name="connsiteX51" fmla="*/ 662461 w 1881147"/>
                <a:gd name="connsiteY51" fmla="*/ 1468048 h 1694229"/>
                <a:gd name="connsiteX52" fmla="*/ 755271 w 1881147"/>
                <a:gd name="connsiteY52" fmla="*/ 1541202 h 1694229"/>
                <a:gd name="connsiteX53" fmla="*/ 805336 w 1881147"/>
                <a:gd name="connsiteY53" fmla="*/ 1491860 h 1694229"/>
                <a:gd name="connsiteX54" fmla="*/ 869926 w 1881147"/>
                <a:gd name="connsiteY54" fmla="*/ 1519257 h 1694229"/>
                <a:gd name="connsiteX55" fmla="*/ 924399 w 1881147"/>
                <a:gd name="connsiteY55" fmla="*/ 1487098 h 1694229"/>
                <a:gd name="connsiteX56" fmla="*/ 941246 w 1881147"/>
                <a:gd name="connsiteY56" fmla="*/ 1444922 h 1694229"/>
                <a:gd name="connsiteX57" fmla="*/ 1005123 w 1881147"/>
                <a:gd name="connsiteY57" fmla="*/ 1531334 h 1694229"/>
                <a:gd name="connsiteX58" fmla="*/ 1050190 w 1881147"/>
                <a:gd name="connsiteY58" fmla="*/ 1602428 h 1694229"/>
                <a:gd name="connsiteX59" fmla="*/ 1120136 w 1881147"/>
                <a:gd name="connsiteY59" fmla="*/ 1693947 h 1694229"/>
                <a:gd name="connsiteX60" fmla="*/ 1151034 w 1881147"/>
                <a:gd name="connsiteY60" fmla="*/ 1630856 h 1694229"/>
                <a:gd name="connsiteX61" fmla="*/ 1181693 w 1881147"/>
                <a:gd name="connsiteY61" fmla="*/ 1624376 h 1694229"/>
                <a:gd name="connsiteX62" fmla="*/ 1224792 w 1881147"/>
                <a:gd name="connsiteY62" fmla="*/ 1653639 h 1694229"/>
                <a:gd name="connsiteX63" fmla="*/ 1258367 w 1881147"/>
                <a:gd name="connsiteY63" fmla="*/ 1612985 h 1694229"/>
                <a:gd name="connsiteX64" fmla="*/ 1277188 w 1881147"/>
                <a:gd name="connsiteY64" fmla="*/ 1617602 h 1694229"/>
                <a:gd name="connsiteX65" fmla="*/ 1311230 w 1881147"/>
                <a:gd name="connsiteY65" fmla="*/ 1684079 h 1694229"/>
                <a:gd name="connsiteX66" fmla="*/ 1367786 w 1881147"/>
                <a:gd name="connsiteY66" fmla="*/ 1660610 h 1694229"/>
                <a:gd name="connsiteX67" fmla="*/ 1419818 w 1881147"/>
                <a:gd name="connsiteY67" fmla="*/ 1604489 h 1694229"/>
                <a:gd name="connsiteX68" fmla="*/ 1470595 w 1881147"/>
                <a:gd name="connsiteY68" fmla="*/ 1587946 h 1694229"/>
                <a:gd name="connsiteX69" fmla="*/ 1488274 w 1881147"/>
                <a:gd name="connsiteY69" fmla="*/ 1643768 h 1694229"/>
                <a:gd name="connsiteX70" fmla="*/ 1558169 w 1881147"/>
                <a:gd name="connsiteY70" fmla="*/ 1618090 h 1694229"/>
                <a:gd name="connsiteX71" fmla="*/ 1588947 w 1881147"/>
                <a:gd name="connsiteY71" fmla="*/ 1531334 h 1694229"/>
                <a:gd name="connsiteX72" fmla="*/ 1670383 w 1881147"/>
                <a:gd name="connsiteY72" fmla="*/ 1441192 h 1694229"/>
                <a:gd name="connsiteX73" fmla="*/ 1714974 w 1881147"/>
                <a:gd name="connsiteY73" fmla="*/ 1410062 h 1694229"/>
                <a:gd name="connsiteX74" fmla="*/ 1743343 w 1881147"/>
                <a:gd name="connsiteY74" fmla="*/ 1413357 h 1694229"/>
                <a:gd name="connsiteX75" fmla="*/ 1820935 w 1881147"/>
                <a:gd name="connsiteY75" fmla="*/ 1402749 h 1694229"/>
                <a:gd name="connsiteX76" fmla="*/ 1816054 w 1881147"/>
                <a:gd name="connsiteY76" fmla="*/ 1456313 h 1694229"/>
                <a:gd name="connsiteX77" fmla="*/ 1874221 w 1881147"/>
                <a:gd name="connsiteY77" fmla="*/ 1479634 h 1694229"/>
                <a:gd name="connsiteX78" fmla="*/ 1875829 w 1881147"/>
                <a:gd name="connsiteY78" fmla="*/ 1457000 h 1694229"/>
                <a:gd name="connsiteX79" fmla="*/ 1875051 w 1881147"/>
                <a:gd name="connsiteY79" fmla="*/ 1396266 h 1694229"/>
                <a:gd name="connsiteX80" fmla="*/ 1853086 w 1881147"/>
                <a:gd name="connsiteY80" fmla="*/ 1306123 h 1694229"/>
                <a:gd name="connsiteX81" fmla="*/ 1853086 w 1881147"/>
                <a:gd name="connsiteY81" fmla="*/ 1248973 h 1694229"/>
                <a:gd name="connsiteX82" fmla="*/ 1810224 w 1881147"/>
                <a:gd name="connsiteY82" fmla="*/ 1239448 h 1694229"/>
                <a:gd name="connsiteX83" fmla="*/ 1734024 w 1881147"/>
                <a:gd name="connsiteY83" fmla="*/ 1158485 h 1694229"/>
                <a:gd name="connsiteX84" fmla="*/ 1695924 w 1881147"/>
                <a:gd name="connsiteY84" fmla="*/ 977510 h 1694229"/>
                <a:gd name="connsiteX85" fmla="*/ 1643536 w 1881147"/>
                <a:gd name="connsiteY85" fmla="*/ 944173 h 1694229"/>
                <a:gd name="connsiteX86" fmla="*/ 1605436 w 1881147"/>
                <a:gd name="connsiteY86" fmla="*/ 887023 h 1694229"/>
                <a:gd name="connsiteX87" fmla="*/ 1557811 w 1881147"/>
                <a:gd name="connsiteY87" fmla="*/ 839398 h 1694229"/>
                <a:gd name="connsiteX88" fmla="*/ 1505424 w 1881147"/>
                <a:gd name="connsiteY88" fmla="*/ 820348 h 1694229"/>
                <a:gd name="connsiteX89" fmla="*/ 1453036 w 1881147"/>
                <a:gd name="connsiteY89" fmla="*/ 815585 h 1694229"/>
                <a:gd name="connsiteX90" fmla="*/ 1510186 w 1881147"/>
                <a:gd name="connsiteY90" fmla="*/ 782248 h 1694229"/>
                <a:gd name="connsiteX91" fmla="*/ 1476849 w 1881147"/>
                <a:gd name="connsiteY91" fmla="*/ 748910 h 1694229"/>
                <a:gd name="connsiteX92" fmla="*/ 1481611 w 1881147"/>
                <a:gd name="connsiteY92" fmla="*/ 725098 h 1694229"/>
                <a:gd name="connsiteX93" fmla="*/ 1572099 w 1881147"/>
                <a:gd name="connsiteY93" fmla="*/ 763198 h 1694229"/>
                <a:gd name="connsiteX94" fmla="*/ 1624486 w 1881147"/>
                <a:gd name="connsiteY94" fmla="*/ 696523 h 1694229"/>
                <a:gd name="connsiteX95" fmla="*/ 1622283 w 1881147"/>
                <a:gd name="connsiteY95" fmla="*/ 553648 h 1694229"/>
                <a:gd name="connsiteX96" fmla="*/ 1639486 w 1881147"/>
                <a:gd name="connsiteY96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9738 w 1881147"/>
                <a:gd name="connsiteY13" fmla="*/ 346183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55759 w 1881147"/>
                <a:gd name="connsiteY16" fmla="*/ 376257 h 1694229"/>
                <a:gd name="connsiteX17" fmla="*/ 832776 w 1881147"/>
                <a:gd name="connsiteY17" fmla="*/ 440035 h 1694229"/>
                <a:gd name="connsiteX18" fmla="*/ 815693 w 1881147"/>
                <a:gd name="connsiteY18" fmla="*/ 475926 h 1694229"/>
                <a:gd name="connsiteX19" fmla="*/ 733662 w 1881147"/>
                <a:gd name="connsiteY19" fmla="*/ 494632 h 1694229"/>
                <a:gd name="connsiteX20" fmla="*/ 715850 w 1881147"/>
                <a:gd name="connsiteY20" fmla="*/ 440647 h 1694229"/>
                <a:gd name="connsiteX21" fmla="*/ 671986 w 1881147"/>
                <a:gd name="connsiteY21" fmla="*/ 420298 h 1694229"/>
                <a:gd name="connsiteX22" fmla="*/ 536670 w 1881147"/>
                <a:gd name="connsiteY22" fmla="*/ 420641 h 1694229"/>
                <a:gd name="connsiteX23" fmla="*/ 457674 w 1881147"/>
                <a:gd name="connsiteY23" fmla="*/ 434585 h 1694229"/>
                <a:gd name="connsiteX24" fmla="*/ 419574 w 1881147"/>
                <a:gd name="connsiteY24" fmla="*/ 420298 h 1694229"/>
                <a:gd name="connsiteX25" fmla="*/ 400524 w 1881147"/>
                <a:gd name="connsiteY25" fmla="*/ 358385 h 1694229"/>
                <a:gd name="connsiteX26" fmla="*/ 333849 w 1881147"/>
                <a:gd name="connsiteY26" fmla="*/ 305998 h 1694229"/>
                <a:gd name="connsiteX27" fmla="*/ 286224 w 1881147"/>
                <a:gd name="connsiteY27" fmla="*/ 239323 h 1694229"/>
                <a:gd name="connsiteX28" fmla="*/ 143349 w 1881147"/>
                <a:gd name="connsiteY28" fmla="*/ 258373 h 1694229"/>
                <a:gd name="connsiteX29" fmla="*/ 124299 w 1881147"/>
                <a:gd name="connsiteY29" fmla="*/ 334573 h 1694229"/>
                <a:gd name="connsiteX30" fmla="*/ 110011 w 1881147"/>
                <a:gd name="connsiteY30" fmla="*/ 367910 h 1694229"/>
                <a:gd name="connsiteX31" fmla="*/ 133824 w 1881147"/>
                <a:gd name="connsiteY31" fmla="*/ 415535 h 1694229"/>
                <a:gd name="connsiteX32" fmla="*/ 81436 w 1881147"/>
                <a:gd name="connsiteY32" fmla="*/ 453635 h 1694229"/>
                <a:gd name="connsiteX33" fmla="*/ 33811 w 1881147"/>
                <a:gd name="connsiteY33" fmla="*/ 448873 h 1694229"/>
                <a:gd name="connsiteX34" fmla="*/ 33811 w 1881147"/>
                <a:gd name="connsiteY34" fmla="*/ 520310 h 1694229"/>
                <a:gd name="connsiteX35" fmla="*/ 474 w 1881147"/>
                <a:gd name="connsiteY35" fmla="*/ 625085 h 1694229"/>
                <a:gd name="connsiteX36" fmla="*/ 62386 w 1881147"/>
                <a:gd name="connsiteY36" fmla="*/ 701285 h 1694229"/>
                <a:gd name="connsiteX37" fmla="*/ 111977 w 1881147"/>
                <a:gd name="connsiteY37" fmla="*/ 681547 h 1694229"/>
                <a:gd name="connsiteX38" fmla="*/ 112334 w 1881147"/>
                <a:gd name="connsiteY38" fmla="*/ 751806 h 1694229"/>
                <a:gd name="connsiteX39" fmla="*/ 167161 w 1881147"/>
                <a:gd name="connsiteY39" fmla="*/ 782248 h 1694229"/>
                <a:gd name="connsiteX40" fmla="*/ 236159 w 1881147"/>
                <a:gd name="connsiteY40" fmla="*/ 792460 h 1694229"/>
                <a:gd name="connsiteX41" fmla="*/ 271462 w 1881147"/>
                <a:gd name="connsiteY41" fmla="*/ 848431 h 1694229"/>
                <a:gd name="connsiteX42" fmla="*/ 270869 w 1881147"/>
                <a:gd name="connsiteY42" fmla="*/ 893503 h 1694229"/>
                <a:gd name="connsiteX43" fmla="*/ 295393 w 1881147"/>
                <a:gd name="connsiteY43" fmla="*/ 932978 h 1694229"/>
                <a:gd name="connsiteX44" fmla="*/ 341051 w 1881147"/>
                <a:gd name="connsiteY44" fmla="*/ 971570 h 1694229"/>
                <a:gd name="connsiteX45" fmla="*/ 426184 w 1881147"/>
                <a:gd name="connsiteY45" fmla="*/ 1025822 h 1694229"/>
                <a:gd name="connsiteX46" fmla="*/ 461961 w 1881147"/>
                <a:gd name="connsiteY46" fmla="*/ 1096915 h 1694229"/>
                <a:gd name="connsiteX47" fmla="*/ 441064 w 1881147"/>
                <a:gd name="connsiteY47" fmla="*/ 1166488 h 1694229"/>
                <a:gd name="connsiteX48" fmla="*/ 519111 w 1881147"/>
                <a:gd name="connsiteY48" fmla="*/ 1222951 h 1694229"/>
                <a:gd name="connsiteX49" fmla="*/ 591143 w 1881147"/>
                <a:gd name="connsiteY49" fmla="*/ 1255945 h 1694229"/>
                <a:gd name="connsiteX50" fmla="*/ 571974 w 1881147"/>
                <a:gd name="connsiteY50" fmla="*/ 1315648 h 1694229"/>
                <a:gd name="connsiteX51" fmla="*/ 662461 w 1881147"/>
                <a:gd name="connsiteY51" fmla="*/ 1468048 h 1694229"/>
                <a:gd name="connsiteX52" fmla="*/ 755271 w 1881147"/>
                <a:gd name="connsiteY52" fmla="*/ 1541202 h 1694229"/>
                <a:gd name="connsiteX53" fmla="*/ 805336 w 1881147"/>
                <a:gd name="connsiteY53" fmla="*/ 1491860 h 1694229"/>
                <a:gd name="connsiteX54" fmla="*/ 869926 w 1881147"/>
                <a:gd name="connsiteY54" fmla="*/ 1519257 h 1694229"/>
                <a:gd name="connsiteX55" fmla="*/ 924399 w 1881147"/>
                <a:gd name="connsiteY55" fmla="*/ 1487098 h 1694229"/>
                <a:gd name="connsiteX56" fmla="*/ 941246 w 1881147"/>
                <a:gd name="connsiteY56" fmla="*/ 1444922 h 1694229"/>
                <a:gd name="connsiteX57" fmla="*/ 1005123 w 1881147"/>
                <a:gd name="connsiteY57" fmla="*/ 1531334 h 1694229"/>
                <a:gd name="connsiteX58" fmla="*/ 1050190 w 1881147"/>
                <a:gd name="connsiteY58" fmla="*/ 1602428 h 1694229"/>
                <a:gd name="connsiteX59" fmla="*/ 1120136 w 1881147"/>
                <a:gd name="connsiteY59" fmla="*/ 1693947 h 1694229"/>
                <a:gd name="connsiteX60" fmla="*/ 1151034 w 1881147"/>
                <a:gd name="connsiteY60" fmla="*/ 1630856 h 1694229"/>
                <a:gd name="connsiteX61" fmla="*/ 1181693 w 1881147"/>
                <a:gd name="connsiteY61" fmla="*/ 1624376 h 1694229"/>
                <a:gd name="connsiteX62" fmla="*/ 1224792 w 1881147"/>
                <a:gd name="connsiteY62" fmla="*/ 1653639 h 1694229"/>
                <a:gd name="connsiteX63" fmla="*/ 1258367 w 1881147"/>
                <a:gd name="connsiteY63" fmla="*/ 1612985 h 1694229"/>
                <a:gd name="connsiteX64" fmla="*/ 1277188 w 1881147"/>
                <a:gd name="connsiteY64" fmla="*/ 1617602 h 1694229"/>
                <a:gd name="connsiteX65" fmla="*/ 1311230 w 1881147"/>
                <a:gd name="connsiteY65" fmla="*/ 1684079 h 1694229"/>
                <a:gd name="connsiteX66" fmla="*/ 1367786 w 1881147"/>
                <a:gd name="connsiteY66" fmla="*/ 1660610 h 1694229"/>
                <a:gd name="connsiteX67" fmla="*/ 1419818 w 1881147"/>
                <a:gd name="connsiteY67" fmla="*/ 1604489 h 1694229"/>
                <a:gd name="connsiteX68" fmla="*/ 1470595 w 1881147"/>
                <a:gd name="connsiteY68" fmla="*/ 1587946 h 1694229"/>
                <a:gd name="connsiteX69" fmla="*/ 1488274 w 1881147"/>
                <a:gd name="connsiteY69" fmla="*/ 1643768 h 1694229"/>
                <a:gd name="connsiteX70" fmla="*/ 1558169 w 1881147"/>
                <a:gd name="connsiteY70" fmla="*/ 1618090 h 1694229"/>
                <a:gd name="connsiteX71" fmla="*/ 1588947 w 1881147"/>
                <a:gd name="connsiteY71" fmla="*/ 1531334 h 1694229"/>
                <a:gd name="connsiteX72" fmla="*/ 1670383 w 1881147"/>
                <a:gd name="connsiteY72" fmla="*/ 1441192 h 1694229"/>
                <a:gd name="connsiteX73" fmla="*/ 1714974 w 1881147"/>
                <a:gd name="connsiteY73" fmla="*/ 1410062 h 1694229"/>
                <a:gd name="connsiteX74" fmla="*/ 1743343 w 1881147"/>
                <a:gd name="connsiteY74" fmla="*/ 1413357 h 1694229"/>
                <a:gd name="connsiteX75" fmla="*/ 1820935 w 1881147"/>
                <a:gd name="connsiteY75" fmla="*/ 1402749 h 1694229"/>
                <a:gd name="connsiteX76" fmla="*/ 1816054 w 1881147"/>
                <a:gd name="connsiteY76" fmla="*/ 1456313 h 1694229"/>
                <a:gd name="connsiteX77" fmla="*/ 1874221 w 1881147"/>
                <a:gd name="connsiteY77" fmla="*/ 1479634 h 1694229"/>
                <a:gd name="connsiteX78" fmla="*/ 1875829 w 1881147"/>
                <a:gd name="connsiteY78" fmla="*/ 1457000 h 1694229"/>
                <a:gd name="connsiteX79" fmla="*/ 1875051 w 1881147"/>
                <a:gd name="connsiteY79" fmla="*/ 1396266 h 1694229"/>
                <a:gd name="connsiteX80" fmla="*/ 1853086 w 1881147"/>
                <a:gd name="connsiteY80" fmla="*/ 1306123 h 1694229"/>
                <a:gd name="connsiteX81" fmla="*/ 1853086 w 1881147"/>
                <a:gd name="connsiteY81" fmla="*/ 1248973 h 1694229"/>
                <a:gd name="connsiteX82" fmla="*/ 1810224 w 1881147"/>
                <a:gd name="connsiteY82" fmla="*/ 1239448 h 1694229"/>
                <a:gd name="connsiteX83" fmla="*/ 1734024 w 1881147"/>
                <a:gd name="connsiteY83" fmla="*/ 1158485 h 1694229"/>
                <a:gd name="connsiteX84" fmla="*/ 1695924 w 1881147"/>
                <a:gd name="connsiteY84" fmla="*/ 977510 h 1694229"/>
                <a:gd name="connsiteX85" fmla="*/ 1643536 w 1881147"/>
                <a:gd name="connsiteY85" fmla="*/ 944173 h 1694229"/>
                <a:gd name="connsiteX86" fmla="*/ 1605436 w 1881147"/>
                <a:gd name="connsiteY86" fmla="*/ 887023 h 1694229"/>
                <a:gd name="connsiteX87" fmla="*/ 1557811 w 1881147"/>
                <a:gd name="connsiteY87" fmla="*/ 839398 h 1694229"/>
                <a:gd name="connsiteX88" fmla="*/ 1505424 w 1881147"/>
                <a:gd name="connsiteY88" fmla="*/ 820348 h 1694229"/>
                <a:gd name="connsiteX89" fmla="*/ 1453036 w 1881147"/>
                <a:gd name="connsiteY89" fmla="*/ 815585 h 1694229"/>
                <a:gd name="connsiteX90" fmla="*/ 1510186 w 1881147"/>
                <a:gd name="connsiteY90" fmla="*/ 782248 h 1694229"/>
                <a:gd name="connsiteX91" fmla="*/ 1476849 w 1881147"/>
                <a:gd name="connsiteY91" fmla="*/ 748910 h 1694229"/>
                <a:gd name="connsiteX92" fmla="*/ 1481611 w 1881147"/>
                <a:gd name="connsiteY92" fmla="*/ 725098 h 1694229"/>
                <a:gd name="connsiteX93" fmla="*/ 1572099 w 1881147"/>
                <a:gd name="connsiteY93" fmla="*/ 763198 h 1694229"/>
                <a:gd name="connsiteX94" fmla="*/ 1624486 w 1881147"/>
                <a:gd name="connsiteY94" fmla="*/ 696523 h 1694229"/>
                <a:gd name="connsiteX95" fmla="*/ 1622283 w 1881147"/>
                <a:gd name="connsiteY95" fmla="*/ 553648 h 1694229"/>
                <a:gd name="connsiteX96" fmla="*/ 1639486 w 1881147"/>
                <a:gd name="connsiteY96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9738 w 1881147"/>
                <a:gd name="connsiteY13" fmla="*/ 346183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55759 w 1881147"/>
                <a:gd name="connsiteY16" fmla="*/ 376257 h 1694229"/>
                <a:gd name="connsiteX17" fmla="*/ 832776 w 1881147"/>
                <a:gd name="connsiteY17" fmla="*/ 440035 h 1694229"/>
                <a:gd name="connsiteX18" fmla="*/ 815693 w 1881147"/>
                <a:gd name="connsiteY18" fmla="*/ 475926 h 1694229"/>
                <a:gd name="connsiteX19" fmla="*/ 733662 w 1881147"/>
                <a:gd name="connsiteY19" fmla="*/ 494632 h 1694229"/>
                <a:gd name="connsiteX20" fmla="*/ 715850 w 1881147"/>
                <a:gd name="connsiteY20" fmla="*/ 440647 h 1694229"/>
                <a:gd name="connsiteX21" fmla="*/ 671986 w 1881147"/>
                <a:gd name="connsiteY21" fmla="*/ 420298 h 1694229"/>
                <a:gd name="connsiteX22" fmla="*/ 536670 w 1881147"/>
                <a:gd name="connsiteY22" fmla="*/ 420641 h 1694229"/>
                <a:gd name="connsiteX23" fmla="*/ 452793 w 1881147"/>
                <a:gd name="connsiteY23" fmla="*/ 447350 h 1694229"/>
                <a:gd name="connsiteX24" fmla="*/ 419574 w 1881147"/>
                <a:gd name="connsiteY24" fmla="*/ 420298 h 1694229"/>
                <a:gd name="connsiteX25" fmla="*/ 400524 w 1881147"/>
                <a:gd name="connsiteY25" fmla="*/ 358385 h 1694229"/>
                <a:gd name="connsiteX26" fmla="*/ 333849 w 1881147"/>
                <a:gd name="connsiteY26" fmla="*/ 305998 h 1694229"/>
                <a:gd name="connsiteX27" fmla="*/ 286224 w 1881147"/>
                <a:gd name="connsiteY27" fmla="*/ 239323 h 1694229"/>
                <a:gd name="connsiteX28" fmla="*/ 143349 w 1881147"/>
                <a:gd name="connsiteY28" fmla="*/ 258373 h 1694229"/>
                <a:gd name="connsiteX29" fmla="*/ 124299 w 1881147"/>
                <a:gd name="connsiteY29" fmla="*/ 334573 h 1694229"/>
                <a:gd name="connsiteX30" fmla="*/ 110011 w 1881147"/>
                <a:gd name="connsiteY30" fmla="*/ 367910 h 1694229"/>
                <a:gd name="connsiteX31" fmla="*/ 133824 w 1881147"/>
                <a:gd name="connsiteY31" fmla="*/ 415535 h 1694229"/>
                <a:gd name="connsiteX32" fmla="*/ 81436 w 1881147"/>
                <a:gd name="connsiteY32" fmla="*/ 453635 h 1694229"/>
                <a:gd name="connsiteX33" fmla="*/ 33811 w 1881147"/>
                <a:gd name="connsiteY33" fmla="*/ 448873 h 1694229"/>
                <a:gd name="connsiteX34" fmla="*/ 33811 w 1881147"/>
                <a:gd name="connsiteY34" fmla="*/ 520310 h 1694229"/>
                <a:gd name="connsiteX35" fmla="*/ 474 w 1881147"/>
                <a:gd name="connsiteY35" fmla="*/ 625085 h 1694229"/>
                <a:gd name="connsiteX36" fmla="*/ 62386 w 1881147"/>
                <a:gd name="connsiteY36" fmla="*/ 701285 h 1694229"/>
                <a:gd name="connsiteX37" fmla="*/ 111977 w 1881147"/>
                <a:gd name="connsiteY37" fmla="*/ 681547 h 1694229"/>
                <a:gd name="connsiteX38" fmla="*/ 112334 w 1881147"/>
                <a:gd name="connsiteY38" fmla="*/ 751806 h 1694229"/>
                <a:gd name="connsiteX39" fmla="*/ 167161 w 1881147"/>
                <a:gd name="connsiteY39" fmla="*/ 782248 h 1694229"/>
                <a:gd name="connsiteX40" fmla="*/ 236159 w 1881147"/>
                <a:gd name="connsiteY40" fmla="*/ 792460 h 1694229"/>
                <a:gd name="connsiteX41" fmla="*/ 271462 w 1881147"/>
                <a:gd name="connsiteY41" fmla="*/ 848431 h 1694229"/>
                <a:gd name="connsiteX42" fmla="*/ 270869 w 1881147"/>
                <a:gd name="connsiteY42" fmla="*/ 893503 h 1694229"/>
                <a:gd name="connsiteX43" fmla="*/ 295393 w 1881147"/>
                <a:gd name="connsiteY43" fmla="*/ 932978 h 1694229"/>
                <a:gd name="connsiteX44" fmla="*/ 341051 w 1881147"/>
                <a:gd name="connsiteY44" fmla="*/ 971570 h 1694229"/>
                <a:gd name="connsiteX45" fmla="*/ 426184 w 1881147"/>
                <a:gd name="connsiteY45" fmla="*/ 1025822 h 1694229"/>
                <a:gd name="connsiteX46" fmla="*/ 461961 w 1881147"/>
                <a:gd name="connsiteY46" fmla="*/ 1096915 h 1694229"/>
                <a:gd name="connsiteX47" fmla="*/ 441064 w 1881147"/>
                <a:gd name="connsiteY47" fmla="*/ 1166488 h 1694229"/>
                <a:gd name="connsiteX48" fmla="*/ 519111 w 1881147"/>
                <a:gd name="connsiteY48" fmla="*/ 1222951 h 1694229"/>
                <a:gd name="connsiteX49" fmla="*/ 591143 w 1881147"/>
                <a:gd name="connsiteY49" fmla="*/ 1255945 h 1694229"/>
                <a:gd name="connsiteX50" fmla="*/ 571974 w 1881147"/>
                <a:gd name="connsiteY50" fmla="*/ 1315648 h 1694229"/>
                <a:gd name="connsiteX51" fmla="*/ 662461 w 1881147"/>
                <a:gd name="connsiteY51" fmla="*/ 1468048 h 1694229"/>
                <a:gd name="connsiteX52" fmla="*/ 755271 w 1881147"/>
                <a:gd name="connsiteY52" fmla="*/ 1541202 h 1694229"/>
                <a:gd name="connsiteX53" fmla="*/ 805336 w 1881147"/>
                <a:gd name="connsiteY53" fmla="*/ 1491860 h 1694229"/>
                <a:gd name="connsiteX54" fmla="*/ 869926 w 1881147"/>
                <a:gd name="connsiteY54" fmla="*/ 1519257 h 1694229"/>
                <a:gd name="connsiteX55" fmla="*/ 924399 w 1881147"/>
                <a:gd name="connsiteY55" fmla="*/ 1487098 h 1694229"/>
                <a:gd name="connsiteX56" fmla="*/ 941246 w 1881147"/>
                <a:gd name="connsiteY56" fmla="*/ 1444922 h 1694229"/>
                <a:gd name="connsiteX57" fmla="*/ 1005123 w 1881147"/>
                <a:gd name="connsiteY57" fmla="*/ 1531334 h 1694229"/>
                <a:gd name="connsiteX58" fmla="*/ 1050190 w 1881147"/>
                <a:gd name="connsiteY58" fmla="*/ 1602428 h 1694229"/>
                <a:gd name="connsiteX59" fmla="*/ 1120136 w 1881147"/>
                <a:gd name="connsiteY59" fmla="*/ 1693947 h 1694229"/>
                <a:gd name="connsiteX60" fmla="*/ 1151034 w 1881147"/>
                <a:gd name="connsiteY60" fmla="*/ 1630856 h 1694229"/>
                <a:gd name="connsiteX61" fmla="*/ 1181693 w 1881147"/>
                <a:gd name="connsiteY61" fmla="*/ 1624376 h 1694229"/>
                <a:gd name="connsiteX62" fmla="*/ 1224792 w 1881147"/>
                <a:gd name="connsiteY62" fmla="*/ 1653639 h 1694229"/>
                <a:gd name="connsiteX63" fmla="*/ 1258367 w 1881147"/>
                <a:gd name="connsiteY63" fmla="*/ 1612985 h 1694229"/>
                <a:gd name="connsiteX64" fmla="*/ 1277188 w 1881147"/>
                <a:gd name="connsiteY64" fmla="*/ 1617602 h 1694229"/>
                <a:gd name="connsiteX65" fmla="*/ 1311230 w 1881147"/>
                <a:gd name="connsiteY65" fmla="*/ 1684079 h 1694229"/>
                <a:gd name="connsiteX66" fmla="*/ 1367786 w 1881147"/>
                <a:gd name="connsiteY66" fmla="*/ 1660610 h 1694229"/>
                <a:gd name="connsiteX67" fmla="*/ 1419818 w 1881147"/>
                <a:gd name="connsiteY67" fmla="*/ 1604489 h 1694229"/>
                <a:gd name="connsiteX68" fmla="*/ 1470595 w 1881147"/>
                <a:gd name="connsiteY68" fmla="*/ 1587946 h 1694229"/>
                <a:gd name="connsiteX69" fmla="*/ 1488274 w 1881147"/>
                <a:gd name="connsiteY69" fmla="*/ 1643768 h 1694229"/>
                <a:gd name="connsiteX70" fmla="*/ 1558169 w 1881147"/>
                <a:gd name="connsiteY70" fmla="*/ 1618090 h 1694229"/>
                <a:gd name="connsiteX71" fmla="*/ 1588947 w 1881147"/>
                <a:gd name="connsiteY71" fmla="*/ 1531334 h 1694229"/>
                <a:gd name="connsiteX72" fmla="*/ 1670383 w 1881147"/>
                <a:gd name="connsiteY72" fmla="*/ 1441192 h 1694229"/>
                <a:gd name="connsiteX73" fmla="*/ 1714974 w 1881147"/>
                <a:gd name="connsiteY73" fmla="*/ 1410062 h 1694229"/>
                <a:gd name="connsiteX74" fmla="*/ 1743343 w 1881147"/>
                <a:gd name="connsiteY74" fmla="*/ 1413357 h 1694229"/>
                <a:gd name="connsiteX75" fmla="*/ 1820935 w 1881147"/>
                <a:gd name="connsiteY75" fmla="*/ 1402749 h 1694229"/>
                <a:gd name="connsiteX76" fmla="*/ 1816054 w 1881147"/>
                <a:gd name="connsiteY76" fmla="*/ 1456313 h 1694229"/>
                <a:gd name="connsiteX77" fmla="*/ 1874221 w 1881147"/>
                <a:gd name="connsiteY77" fmla="*/ 1479634 h 1694229"/>
                <a:gd name="connsiteX78" fmla="*/ 1875829 w 1881147"/>
                <a:gd name="connsiteY78" fmla="*/ 1457000 h 1694229"/>
                <a:gd name="connsiteX79" fmla="*/ 1875051 w 1881147"/>
                <a:gd name="connsiteY79" fmla="*/ 1396266 h 1694229"/>
                <a:gd name="connsiteX80" fmla="*/ 1853086 w 1881147"/>
                <a:gd name="connsiteY80" fmla="*/ 1306123 h 1694229"/>
                <a:gd name="connsiteX81" fmla="*/ 1853086 w 1881147"/>
                <a:gd name="connsiteY81" fmla="*/ 1248973 h 1694229"/>
                <a:gd name="connsiteX82" fmla="*/ 1810224 w 1881147"/>
                <a:gd name="connsiteY82" fmla="*/ 1239448 h 1694229"/>
                <a:gd name="connsiteX83" fmla="*/ 1734024 w 1881147"/>
                <a:gd name="connsiteY83" fmla="*/ 1158485 h 1694229"/>
                <a:gd name="connsiteX84" fmla="*/ 1695924 w 1881147"/>
                <a:gd name="connsiteY84" fmla="*/ 977510 h 1694229"/>
                <a:gd name="connsiteX85" fmla="*/ 1643536 w 1881147"/>
                <a:gd name="connsiteY85" fmla="*/ 944173 h 1694229"/>
                <a:gd name="connsiteX86" fmla="*/ 1605436 w 1881147"/>
                <a:gd name="connsiteY86" fmla="*/ 887023 h 1694229"/>
                <a:gd name="connsiteX87" fmla="*/ 1557811 w 1881147"/>
                <a:gd name="connsiteY87" fmla="*/ 839398 h 1694229"/>
                <a:gd name="connsiteX88" fmla="*/ 1505424 w 1881147"/>
                <a:gd name="connsiteY88" fmla="*/ 820348 h 1694229"/>
                <a:gd name="connsiteX89" fmla="*/ 1453036 w 1881147"/>
                <a:gd name="connsiteY89" fmla="*/ 815585 h 1694229"/>
                <a:gd name="connsiteX90" fmla="*/ 1510186 w 1881147"/>
                <a:gd name="connsiteY90" fmla="*/ 782248 h 1694229"/>
                <a:gd name="connsiteX91" fmla="*/ 1476849 w 1881147"/>
                <a:gd name="connsiteY91" fmla="*/ 748910 h 1694229"/>
                <a:gd name="connsiteX92" fmla="*/ 1481611 w 1881147"/>
                <a:gd name="connsiteY92" fmla="*/ 725098 h 1694229"/>
                <a:gd name="connsiteX93" fmla="*/ 1572099 w 1881147"/>
                <a:gd name="connsiteY93" fmla="*/ 763198 h 1694229"/>
                <a:gd name="connsiteX94" fmla="*/ 1624486 w 1881147"/>
                <a:gd name="connsiteY94" fmla="*/ 696523 h 1694229"/>
                <a:gd name="connsiteX95" fmla="*/ 1622283 w 1881147"/>
                <a:gd name="connsiteY95" fmla="*/ 553648 h 1694229"/>
                <a:gd name="connsiteX96" fmla="*/ 1639486 w 1881147"/>
                <a:gd name="connsiteY96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9738 w 1881147"/>
                <a:gd name="connsiteY13" fmla="*/ 346183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55759 w 1881147"/>
                <a:gd name="connsiteY16" fmla="*/ 376257 h 1694229"/>
                <a:gd name="connsiteX17" fmla="*/ 832776 w 1881147"/>
                <a:gd name="connsiteY17" fmla="*/ 440035 h 1694229"/>
                <a:gd name="connsiteX18" fmla="*/ 815693 w 1881147"/>
                <a:gd name="connsiteY18" fmla="*/ 475926 h 1694229"/>
                <a:gd name="connsiteX19" fmla="*/ 733662 w 1881147"/>
                <a:gd name="connsiteY19" fmla="*/ 494632 h 1694229"/>
                <a:gd name="connsiteX20" fmla="*/ 715850 w 1881147"/>
                <a:gd name="connsiteY20" fmla="*/ 440647 h 1694229"/>
                <a:gd name="connsiteX21" fmla="*/ 671986 w 1881147"/>
                <a:gd name="connsiteY21" fmla="*/ 420298 h 1694229"/>
                <a:gd name="connsiteX22" fmla="*/ 536670 w 1881147"/>
                <a:gd name="connsiteY22" fmla="*/ 420641 h 1694229"/>
                <a:gd name="connsiteX23" fmla="*/ 452793 w 1881147"/>
                <a:gd name="connsiteY23" fmla="*/ 447350 h 1694229"/>
                <a:gd name="connsiteX24" fmla="*/ 419574 w 1881147"/>
                <a:gd name="connsiteY24" fmla="*/ 420298 h 1694229"/>
                <a:gd name="connsiteX25" fmla="*/ 400524 w 1881147"/>
                <a:gd name="connsiteY25" fmla="*/ 358385 h 1694229"/>
                <a:gd name="connsiteX26" fmla="*/ 333849 w 1881147"/>
                <a:gd name="connsiteY26" fmla="*/ 305998 h 1694229"/>
                <a:gd name="connsiteX27" fmla="*/ 286224 w 1881147"/>
                <a:gd name="connsiteY27" fmla="*/ 239323 h 1694229"/>
                <a:gd name="connsiteX28" fmla="*/ 165314 w 1881147"/>
                <a:gd name="connsiteY28" fmla="*/ 258373 h 1694229"/>
                <a:gd name="connsiteX29" fmla="*/ 124299 w 1881147"/>
                <a:gd name="connsiteY29" fmla="*/ 334573 h 1694229"/>
                <a:gd name="connsiteX30" fmla="*/ 110011 w 1881147"/>
                <a:gd name="connsiteY30" fmla="*/ 367910 h 1694229"/>
                <a:gd name="connsiteX31" fmla="*/ 133824 w 1881147"/>
                <a:gd name="connsiteY31" fmla="*/ 415535 h 1694229"/>
                <a:gd name="connsiteX32" fmla="*/ 81436 w 1881147"/>
                <a:gd name="connsiteY32" fmla="*/ 453635 h 1694229"/>
                <a:gd name="connsiteX33" fmla="*/ 33811 w 1881147"/>
                <a:gd name="connsiteY33" fmla="*/ 448873 h 1694229"/>
                <a:gd name="connsiteX34" fmla="*/ 33811 w 1881147"/>
                <a:gd name="connsiteY34" fmla="*/ 520310 h 1694229"/>
                <a:gd name="connsiteX35" fmla="*/ 474 w 1881147"/>
                <a:gd name="connsiteY35" fmla="*/ 625085 h 1694229"/>
                <a:gd name="connsiteX36" fmla="*/ 62386 w 1881147"/>
                <a:gd name="connsiteY36" fmla="*/ 701285 h 1694229"/>
                <a:gd name="connsiteX37" fmla="*/ 111977 w 1881147"/>
                <a:gd name="connsiteY37" fmla="*/ 681547 h 1694229"/>
                <a:gd name="connsiteX38" fmla="*/ 112334 w 1881147"/>
                <a:gd name="connsiteY38" fmla="*/ 751806 h 1694229"/>
                <a:gd name="connsiteX39" fmla="*/ 167161 w 1881147"/>
                <a:gd name="connsiteY39" fmla="*/ 782248 h 1694229"/>
                <a:gd name="connsiteX40" fmla="*/ 236159 w 1881147"/>
                <a:gd name="connsiteY40" fmla="*/ 792460 h 1694229"/>
                <a:gd name="connsiteX41" fmla="*/ 271462 w 1881147"/>
                <a:gd name="connsiteY41" fmla="*/ 848431 h 1694229"/>
                <a:gd name="connsiteX42" fmla="*/ 270869 w 1881147"/>
                <a:gd name="connsiteY42" fmla="*/ 893503 h 1694229"/>
                <a:gd name="connsiteX43" fmla="*/ 295393 w 1881147"/>
                <a:gd name="connsiteY43" fmla="*/ 932978 h 1694229"/>
                <a:gd name="connsiteX44" fmla="*/ 341051 w 1881147"/>
                <a:gd name="connsiteY44" fmla="*/ 971570 h 1694229"/>
                <a:gd name="connsiteX45" fmla="*/ 426184 w 1881147"/>
                <a:gd name="connsiteY45" fmla="*/ 1025822 h 1694229"/>
                <a:gd name="connsiteX46" fmla="*/ 461961 w 1881147"/>
                <a:gd name="connsiteY46" fmla="*/ 1096915 h 1694229"/>
                <a:gd name="connsiteX47" fmla="*/ 441064 w 1881147"/>
                <a:gd name="connsiteY47" fmla="*/ 1166488 h 1694229"/>
                <a:gd name="connsiteX48" fmla="*/ 519111 w 1881147"/>
                <a:gd name="connsiteY48" fmla="*/ 1222951 h 1694229"/>
                <a:gd name="connsiteX49" fmla="*/ 591143 w 1881147"/>
                <a:gd name="connsiteY49" fmla="*/ 1255945 h 1694229"/>
                <a:gd name="connsiteX50" fmla="*/ 571974 w 1881147"/>
                <a:gd name="connsiteY50" fmla="*/ 1315648 h 1694229"/>
                <a:gd name="connsiteX51" fmla="*/ 662461 w 1881147"/>
                <a:gd name="connsiteY51" fmla="*/ 1468048 h 1694229"/>
                <a:gd name="connsiteX52" fmla="*/ 755271 w 1881147"/>
                <a:gd name="connsiteY52" fmla="*/ 1541202 h 1694229"/>
                <a:gd name="connsiteX53" fmla="*/ 805336 w 1881147"/>
                <a:gd name="connsiteY53" fmla="*/ 1491860 h 1694229"/>
                <a:gd name="connsiteX54" fmla="*/ 869926 w 1881147"/>
                <a:gd name="connsiteY54" fmla="*/ 1519257 h 1694229"/>
                <a:gd name="connsiteX55" fmla="*/ 924399 w 1881147"/>
                <a:gd name="connsiteY55" fmla="*/ 1487098 h 1694229"/>
                <a:gd name="connsiteX56" fmla="*/ 941246 w 1881147"/>
                <a:gd name="connsiteY56" fmla="*/ 1444922 h 1694229"/>
                <a:gd name="connsiteX57" fmla="*/ 1005123 w 1881147"/>
                <a:gd name="connsiteY57" fmla="*/ 1531334 h 1694229"/>
                <a:gd name="connsiteX58" fmla="*/ 1050190 w 1881147"/>
                <a:gd name="connsiteY58" fmla="*/ 1602428 h 1694229"/>
                <a:gd name="connsiteX59" fmla="*/ 1120136 w 1881147"/>
                <a:gd name="connsiteY59" fmla="*/ 1693947 h 1694229"/>
                <a:gd name="connsiteX60" fmla="*/ 1151034 w 1881147"/>
                <a:gd name="connsiteY60" fmla="*/ 1630856 h 1694229"/>
                <a:gd name="connsiteX61" fmla="*/ 1181693 w 1881147"/>
                <a:gd name="connsiteY61" fmla="*/ 1624376 h 1694229"/>
                <a:gd name="connsiteX62" fmla="*/ 1224792 w 1881147"/>
                <a:gd name="connsiteY62" fmla="*/ 1653639 h 1694229"/>
                <a:gd name="connsiteX63" fmla="*/ 1258367 w 1881147"/>
                <a:gd name="connsiteY63" fmla="*/ 1612985 h 1694229"/>
                <a:gd name="connsiteX64" fmla="*/ 1277188 w 1881147"/>
                <a:gd name="connsiteY64" fmla="*/ 1617602 h 1694229"/>
                <a:gd name="connsiteX65" fmla="*/ 1311230 w 1881147"/>
                <a:gd name="connsiteY65" fmla="*/ 1684079 h 1694229"/>
                <a:gd name="connsiteX66" fmla="*/ 1367786 w 1881147"/>
                <a:gd name="connsiteY66" fmla="*/ 1660610 h 1694229"/>
                <a:gd name="connsiteX67" fmla="*/ 1419818 w 1881147"/>
                <a:gd name="connsiteY67" fmla="*/ 1604489 h 1694229"/>
                <a:gd name="connsiteX68" fmla="*/ 1470595 w 1881147"/>
                <a:gd name="connsiteY68" fmla="*/ 1587946 h 1694229"/>
                <a:gd name="connsiteX69" fmla="*/ 1488274 w 1881147"/>
                <a:gd name="connsiteY69" fmla="*/ 1643768 h 1694229"/>
                <a:gd name="connsiteX70" fmla="*/ 1558169 w 1881147"/>
                <a:gd name="connsiteY70" fmla="*/ 1618090 h 1694229"/>
                <a:gd name="connsiteX71" fmla="*/ 1588947 w 1881147"/>
                <a:gd name="connsiteY71" fmla="*/ 1531334 h 1694229"/>
                <a:gd name="connsiteX72" fmla="*/ 1670383 w 1881147"/>
                <a:gd name="connsiteY72" fmla="*/ 1441192 h 1694229"/>
                <a:gd name="connsiteX73" fmla="*/ 1714974 w 1881147"/>
                <a:gd name="connsiteY73" fmla="*/ 1410062 h 1694229"/>
                <a:gd name="connsiteX74" fmla="*/ 1743343 w 1881147"/>
                <a:gd name="connsiteY74" fmla="*/ 1413357 h 1694229"/>
                <a:gd name="connsiteX75" fmla="*/ 1820935 w 1881147"/>
                <a:gd name="connsiteY75" fmla="*/ 1402749 h 1694229"/>
                <a:gd name="connsiteX76" fmla="*/ 1816054 w 1881147"/>
                <a:gd name="connsiteY76" fmla="*/ 1456313 h 1694229"/>
                <a:gd name="connsiteX77" fmla="*/ 1874221 w 1881147"/>
                <a:gd name="connsiteY77" fmla="*/ 1479634 h 1694229"/>
                <a:gd name="connsiteX78" fmla="*/ 1875829 w 1881147"/>
                <a:gd name="connsiteY78" fmla="*/ 1457000 h 1694229"/>
                <a:gd name="connsiteX79" fmla="*/ 1875051 w 1881147"/>
                <a:gd name="connsiteY79" fmla="*/ 1396266 h 1694229"/>
                <a:gd name="connsiteX80" fmla="*/ 1853086 w 1881147"/>
                <a:gd name="connsiteY80" fmla="*/ 1306123 h 1694229"/>
                <a:gd name="connsiteX81" fmla="*/ 1853086 w 1881147"/>
                <a:gd name="connsiteY81" fmla="*/ 1248973 h 1694229"/>
                <a:gd name="connsiteX82" fmla="*/ 1810224 w 1881147"/>
                <a:gd name="connsiteY82" fmla="*/ 1239448 h 1694229"/>
                <a:gd name="connsiteX83" fmla="*/ 1734024 w 1881147"/>
                <a:gd name="connsiteY83" fmla="*/ 1158485 h 1694229"/>
                <a:gd name="connsiteX84" fmla="*/ 1695924 w 1881147"/>
                <a:gd name="connsiteY84" fmla="*/ 977510 h 1694229"/>
                <a:gd name="connsiteX85" fmla="*/ 1643536 w 1881147"/>
                <a:gd name="connsiteY85" fmla="*/ 944173 h 1694229"/>
                <a:gd name="connsiteX86" fmla="*/ 1605436 w 1881147"/>
                <a:gd name="connsiteY86" fmla="*/ 887023 h 1694229"/>
                <a:gd name="connsiteX87" fmla="*/ 1557811 w 1881147"/>
                <a:gd name="connsiteY87" fmla="*/ 839398 h 1694229"/>
                <a:gd name="connsiteX88" fmla="*/ 1505424 w 1881147"/>
                <a:gd name="connsiteY88" fmla="*/ 820348 h 1694229"/>
                <a:gd name="connsiteX89" fmla="*/ 1453036 w 1881147"/>
                <a:gd name="connsiteY89" fmla="*/ 815585 h 1694229"/>
                <a:gd name="connsiteX90" fmla="*/ 1510186 w 1881147"/>
                <a:gd name="connsiteY90" fmla="*/ 782248 h 1694229"/>
                <a:gd name="connsiteX91" fmla="*/ 1476849 w 1881147"/>
                <a:gd name="connsiteY91" fmla="*/ 748910 h 1694229"/>
                <a:gd name="connsiteX92" fmla="*/ 1481611 w 1881147"/>
                <a:gd name="connsiteY92" fmla="*/ 725098 h 1694229"/>
                <a:gd name="connsiteX93" fmla="*/ 1572099 w 1881147"/>
                <a:gd name="connsiteY93" fmla="*/ 763198 h 1694229"/>
                <a:gd name="connsiteX94" fmla="*/ 1624486 w 1881147"/>
                <a:gd name="connsiteY94" fmla="*/ 696523 h 1694229"/>
                <a:gd name="connsiteX95" fmla="*/ 1622283 w 1881147"/>
                <a:gd name="connsiteY95" fmla="*/ 553648 h 1694229"/>
                <a:gd name="connsiteX96" fmla="*/ 1639486 w 1881147"/>
                <a:gd name="connsiteY96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9738 w 1881147"/>
                <a:gd name="connsiteY13" fmla="*/ 346183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55759 w 1881147"/>
                <a:gd name="connsiteY16" fmla="*/ 376257 h 1694229"/>
                <a:gd name="connsiteX17" fmla="*/ 832776 w 1881147"/>
                <a:gd name="connsiteY17" fmla="*/ 440035 h 1694229"/>
                <a:gd name="connsiteX18" fmla="*/ 815693 w 1881147"/>
                <a:gd name="connsiteY18" fmla="*/ 475926 h 1694229"/>
                <a:gd name="connsiteX19" fmla="*/ 733662 w 1881147"/>
                <a:gd name="connsiteY19" fmla="*/ 494632 h 1694229"/>
                <a:gd name="connsiteX20" fmla="*/ 715850 w 1881147"/>
                <a:gd name="connsiteY20" fmla="*/ 440647 h 1694229"/>
                <a:gd name="connsiteX21" fmla="*/ 671986 w 1881147"/>
                <a:gd name="connsiteY21" fmla="*/ 420298 h 1694229"/>
                <a:gd name="connsiteX22" fmla="*/ 536670 w 1881147"/>
                <a:gd name="connsiteY22" fmla="*/ 420641 h 1694229"/>
                <a:gd name="connsiteX23" fmla="*/ 452793 w 1881147"/>
                <a:gd name="connsiteY23" fmla="*/ 447350 h 1694229"/>
                <a:gd name="connsiteX24" fmla="*/ 419574 w 1881147"/>
                <a:gd name="connsiteY24" fmla="*/ 420298 h 1694229"/>
                <a:gd name="connsiteX25" fmla="*/ 400524 w 1881147"/>
                <a:gd name="connsiteY25" fmla="*/ 358385 h 1694229"/>
                <a:gd name="connsiteX26" fmla="*/ 333849 w 1881147"/>
                <a:gd name="connsiteY26" fmla="*/ 305998 h 1694229"/>
                <a:gd name="connsiteX27" fmla="*/ 288664 w 1881147"/>
                <a:gd name="connsiteY27" fmla="*/ 229110 h 1694229"/>
                <a:gd name="connsiteX28" fmla="*/ 165314 w 1881147"/>
                <a:gd name="connsiteY28" fmla="*/ 258373 h 1694229"/>
                <a:gd name="connsiteX29" fmla="*/ 124299 w 1881147"/>
                <a:gd name="connsiteY29" fmla="*/ 334573 h 1694229"/>
                <a:gd name="connsiteX30" fmla="*/ 110011 w 1881147"/>
                <a:gd name="connsiteY30" fmla="*/ 367910 h 1694229"/>
                <a:gd name="connsiteX31" fmla="*/ 133824 w 1881147"/>
                <a:gd name="connsiteY31" fmla="*/ 415535 h 1694229"/>
                <a:gd name="connsiteX32" fmla="*/ 81436 w 1881147"/>
                <a:gd name="connsiteY32" fmla="*/ 453635 h 1694229"/>
                <a:gd name="connsiteX33" fmla="*/ 33811 w 1881147"/>
                <a:gd name="connsiteY33" fmla="*/ 448873 h 1694229"/>
                <a:gd name="connsiteX34" fmla="*/ 33811 w 1881147"/>
                <a:gd name="connsiteY34" fmla="*/ 520310 h 1694229"/>
                <a:gd name="connsiteX35" fmla="*/ 474 w 1881147"/>
                <a:gd name="connsiteY35" fmla="*/ 625085 h 1694229"/>
                <a:gd name="connsiteX36" fmla="*/ 62386 w 1881147"/>
                <a:gd name="connsiteY36" fmla="*/ 701285 h 1694229"/>
                <a:gd name="connsiteX37" fmla="*/ 111977 w 1881147"/>
                <a:gd name="connsiteY37" fmla="*/ 681547 h 1694229"/>
                <a:gd name="connsiteX38" fmla="*/ 112334 w 1881147"/>
                <a:gd name="connsiteY38" fmla="*/ 751806 h 1694229"/>
                <a:gd name="connsiteX39" fmla="*/ 167161 w 1881147"/>
                <a:gd name="connsiteY39" fmla="*/ 782248 h 1694229"/>
                <a:gd name="connsiteX40" fmla="*/ 236159 w 1881147"/>
                <a:gd name="connsiteY40" fmla="*/ 792460 h 1694229"/>
                <a:gd name="connsiteX41" fmla="*/ 271462 w 1881147"/>
                <a:gd name="connsiteY41" fmla="*/ 848431 h 1694229"/>
                <a:gd name="connsiteX42" fmla="*/ 270869 w 1881147"/>
                <a:gd name="connsiteY42" fmla="*/ 893503 h 1694229"/>
                <a:gd name="connsiteX43" fmla="*/ 295393 w 1881147"/>
                <a:gd name="connsiteY43" fmla="*/ 932978 h 1694229"/>
                <a:gd name="connsiteX44" fmla="*/ 341051 w 1881147"/>
                <a:gd name="connsiteY44" fmla="*/ 971570 h 1694229"/>
                <a:gd name="connsiteX45" fmla="*/ 426184 w 1881147"/>
                <a:gd name="connsiteY45" fmla="*/ 1025822 h 1694229"/>
                <a:gd name="connsiteX46" fmla="*/ 461961 w 1881147"/>
                <a:gd name="connsiteY46" fmla="*/ 1096915 h 1694229"/>
                <a:gd name="connsiteX47" fmla="*/ 441064 w 1881147"/>
                <a:gd name="connsiteY47" fmla="*/ 1166488 h 1694229"/>
                <a:gd name="connsiteX48" fmla="*/ 519111 w 1881147"/>
                <a:gd name="connsiteY48" fmla="*/ 1222951 h 1694229"/>
                <a:gd name="connsiteX49" fmla="*/ 591143 w 1881147"/>
                <a:gd name="connsiteY49" fmla="*/ 1255945 h 1694229"/>
                <a:gd name="connsiteX50" fmla="*/ 571974 w 1881147"/>
                <a:gd name="connsiteY50" fmla="*/ 1315648 h 1694229"/>
                <a:gd name="connsiteX51" fmla="*/ 662461 w 1881147"/>
                <a:gd name="connsiteY51" fmla="*/ 1468048 h 1694229"/>
                <a:gd name="connsiteX52" fmla="*/ 755271 w 1881147"/>
                <a:gd name="connsiteY52" fmla="*/ 1541202 h 1694229"/>
                <a:gd name="connsiteX53" fmla="*/ 805336 w 1881147"/>
                <a:gd name="connsiteY53" fmla="*/ 1491860 h 1694229"/>
                <a:gd name="connsiteX54" fmla="*/ 869926 w 1881147"/>
                <a:gd name="connsiteY54" fmla="*/ 1519257 h 1694229"/>
                <a:gd name="connsiteX55" fmla="*/ 924399 w 1881147"/>
                <a:gd name="connsiteY55" fmla="*/ 1487098 h 1694229"/>
                <a:gd name="connsiteX56" fmla="*/ 941246 w 1881147"/>
                <a:gd name="connsiteY56" fmla="*/ 1444922 h 1694229"/>
                <a:gd name="connsiteX57" fmla="*/ 1005123 w 1881147"/>
                <a:gd name="connsiteY57" fmla="*/ 1531334 h 1694229"/>
                <a:gd name="connsiteX58" fmla="*/ 1050190 w 1881147"/>
                <a:gd name="connsiteY58" fmla="*/ 1602428 h 1694229"/>
                <a:gd name="connsiteX59" fmla="*/ 1120136 w 1881147"/>
                <a:gd name="connsiteY59" fmla="*/ 1693947 h 1694229"/>
                <a:gd name="connsiteX60" fmla="*/ 1151034 w 1881147"/>
                <a:gd name="connsiteY60" fmla="*/ 1630856 h 1694229"/>
                <a:gd name="connsiteX61" fmla="*/ 1181693 w 1881147"/>
                <a:gd name="connsiteY61" fmla="*/ 1624376 h 1694229"/>
                <a:gd name="connsiteX62" fmla="*/ 1224792 w 1881147"/>
                <a:gd name="connsiteY62" fmla="*/ 1653639 h 1694229"/>
                <a:gd name="connsiteX63" fmla="*/ 1258367 w 1881147"/>
                <a:gd name="connsiteY63" fmla="*/ 1612985 h 1694229"/>
                <a:gd name="connsiteX64" fmla="*/ 1277188 w 1881147"/>
                <a:gd name="connsiteY64" fmla="*/ 1617602 h 1694229"/>
                <a:gd name="connsiteX65" fmla="*/ 1311230 w 1881147"/>
                <a:gd name="connsiteY65" fmla="*/ 1684079 h 1694229"/>
                <a:gd name="connsiteX66" fmla="*/ 1367786 w 1881147"/>
                <a:gd name="connsiteY66" fmla="*/ 1660610 h 1694229"/>
                <a:gd name="connsiteX67" fmla="*/ 1419818 w 1881147"/>
                <a:gd name="connsiteY67" fmla="*/ 1604489 h 1694229"/>
                <a:gd name="connsiteX68" fmla="*/ 1470595 w 1881147"/>
                <a:gd name="connsiteY68" fmla="*/ 1587946 h 1694229"/>
                <a:gd name="connsiteX69" fmla="*/ 1488274 w 1881147"/>
                <a:gd name="connsiteY69" fmla="*/ 1643768 h 1694229"/>
                <a:gd name="connsiteX70" fmla="*/ 1558169 w 1881147"/>
                <a:gd name="connsiteY70" fmla="*/ 1618090 h 1694229"/>
                <a:gd name="connsiteX71" fmla="*/ 1588947 w 1881147"/>
                <a:gd name="connsiteY71" fmla="*/ 1531334 h 1694229"/>
                <a:gd name="connsiteX72" fmla="*/ 1670383 w 1881147"/>
                <a:gd name="connsiteY72" fmla="*/ 1441192 h 1694229"/>
                <a:gd name="connsiteX73" fmla="*/ 1714974 w 1881147"/>
                <a:gd name="connsiteY73" fmla="*/ 1410062 h 1694229"/>
                <a:gd name="connsiteX74" fmla="*/ 1743343 w 1881147"/>
                <a:gd name="connsiteY74" fmla="*/ 1413357 h 1694229"/>
                <a:gd name="connsiteX75" fmla="*/ 1820935 w 1881147"/>
                <a:gd name="connsiteY75" fmla="*/ 1402749 h 1694229"/>
                <a:gd name="connsiteX76" fmla="*/ 1816054 w 1881147"/>
                <a:gd name="connsiteY76" fmla="*/ 1456313 h 1694229"/>
                <a:gd name="connsiteX77" fmla="*/ 1874221 w 1881147"/>
                <a:gd name="connsiteY77" fmla="*/ 1479634 h 1694229"/>
                <a:gd name="connsiteX78" fmla="*/ 1875829 w 1881147"/>
                <a:gd name="connsiteY78" fmla="*/ 1457000 h 1694229"/>
                <a:gd name="connsiteX79" fmla="*/ 1875051 w 1881147"/>
                <a:gd name="connsiteY79" fmla="*/ 1396266 h 1694229"/>
                <a:gd name="connsiteX80" fmla="*/ 1853086 w 1881147"/>
                <a:gd name="connsiteY80" fmla="*/ 1306123 h 1694229"/>
                <a:gd name="connsiteX81" fmla="*/ 1853086 w 1881147"/>
                <a:gd name="connsiteY81" fmla="*/ 1248973 h 1694229"/>
                <a:gd name="connsiteX82" fmla="*/ 1810224 w 1881147"/>
                <a:gd name="connsiteY82" fmla="*/ 1239448 h 1694229"/>
                <a:gd name="connsiteX83" fmla="*/ 1734024 w 1881147"/>
                <a:gd name="connsiteY83" fmla="*/ 1158485 h 1694229"/>
                <a:gd name="connsiteX84" fmla="*/ 1695924 w 1881147"/>
                <a:gd name="connsiteY84" fmla="*/ 977510 h 1694229"/>
                <a:gd name="connsiteX85" fmla="*/ 1643536 w 1881147"/>
                <a:gd name="connsiteY85" fmla="*/ 944173 h 1694229"/>
                <a:gd name="connsiteX86" fmla="*/ 1605436 w 1881147"/>
                <a:gd name="connsiteY86" fmla="*/ 887023 h 1694229"/>
                <a:gd name="connsiteX87" fmla="*/ 1557811 w 1881147"/>
                <a:gd name="connsiteY87" fmla="*/ 839398 h 1694229"/>
                <a:gd name="connsiteX88" fmla="*/ 1505424 w 1881147"/>
                <a:gd name="connsiteY88" fmla="*/ 820348 h 1694229"/>
                <a:gd name="connsiteX89" fmla="*/ 1453036 w 1881147"/>
                <a:gd name="connsiteY89" fmla="*/ 815585 h 1694229"/>
                <a:gd name="connsiteX90" fmla="*/ 1510186 w 1881147"/>
                <a:gd name="connsiteY90" fmla="*/ 782248 h 1694229"/>
                <a:gd name="connsiteX91" fmla="*/ 1476849 w 1881147"/>
                <a:gd name="connsiteY91" fmla="*/ 748910 h 1694229"/>
                <a:gd name="connsiteX92" fmla="*/ 1481611 w 1881147"/>
                <a:gd name="connsiteY92" fmla="*/ 725098 h 1694229"/>
                <a:gd name="connsiteX93" fmla="*/ 1572099 w 1881147"/>
                <a:gd name="connsiteY93" fmla="*/ 763198 h 1694229"/>
                <a:gd name="connsiteX94" fmla="*/ 1624486 w 1881147"/>
                <a:gd name="connsiteY94" fmla="*/ 696523 h 1694229"/>
                <a:gd name="connsiteX95" fmla="*/ 1622283 w 1881147"/>
                <a:gd name="connsiteY95" fmla="*/ 553648 h 1694229"/>
                <a:gd name="connsiteX96" fmla="*/ 1639486 w 1881147"/>
                <a:gd name="connsiteY96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9738 w 1881147"/>
                <a:gd name="connsiteY13" fmla="*/ 346183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55759 w 1881147"/>
                <a:gd name="connsiteY16" fmla="*/ 376257 h 1694229"/>
                <a:gd name="connsiteX17" fmla="*/ 832776 w 1881147"/>
                <a:gd name="connsiteY17" fmla="*/ 440035 h 1694229"/>
                <a:gd name="connsiteX18" fmla="*/ 815693 w 1881147"/>
                <a:gd name="connsiteY18" fmla="*/ 475926 h 1694229"/>
                <a:gd name="connsiteX19" fmla="*/ 733662 w 1881147"/>
                <a:gd name="connsiteY19" fmla="*/ 494632 h 1694229"/>
                <a:gd name="connsiteX20" fmla="*/ 715850 w 1881147"/>
                <a:gd name="connsiteY20" fmla="*/ 440647 h 1694229"/>
                <a:gd name="connsiteX21" fmla="*/ 671986 w 1881147"/>
                <a:gd name="connsiteY21" fmla="*/ 420298 h 1694229"/>
                <a:gd name="connsiteX22" fmla="*/ 536670 w 1881147"/>
                <a:gd name="connsiteY22" fmla="*/ 420641 h 1694229"/>
                <a:gd name="connsiteX23" fmla="*/ 452793 w 1881147"/>
                <a:gd name="connsiteY23" fmla="*/ 447350 h 1694229"/>
                <a:gd name="connsiteX24" fmla="*/ 419574 w 1881147"/>
                <a:gd name="connsiteY24" fmla="*/ 420298 h 1694229"/>
                <a:gd name="connsiteX25" fmla="*/ 400524 w 1881147"/>
                <a:gd name="connsiteY25" fmla="*/ 358385 h 1694229"/>
                <a:gd name="connsiteX26" fmla="*/ 333849 w 1881147"/>
                <a:gd name="connsiteY26" fmla="*/ 305998 h 1694229"/>
                <a:gd name="connsiteX27" fmla="*/ 288664 w 1881147"/>
                <a:gd name="connsiteY27" fmla="*/ 229110 h 1694229"/>
                <a:gd name="connsiteX28" fmla="*/ 165314 w 1881147"/>
                <a:gd name="connsiteY28" fmla="*/ 258373 h 1694229"/>
                <a:gd name="connsiteX29" fmla="*/ 146264 w 1881147"/>
                <a:gd name="connsiteY29" fmla="*/ 344785 h 1694229"/>
                <a:gd name="connsiteX30" fmla="*/ 110011 w 1881147"/>
                <a:gd name="connsiteY30" fmla="*/ 367910 h 1694229"/>
                <a:gd name="connsiteX31" fmla="*/ 133824 w 1881147"/>
                <a:gd name="connsiteY31" fmla="*/ 415535 h 1694229"/>
                <a:gd name="connsiteX32" fmla="*/ 81436 w 1881147"/>
                <a:gd name="connsiteY32" fmla="*/ 453635 h 1694229"/>
                <a:gd name="connsiteX33" fmla="*/ 33811 w 1881147"/>
                <a:gd name="connsiteY33" fmla="*/ 448873 h 1694229"/>
                <a:gd name="connsiteX34" fmla="*/ 33811 w 1881147"/>
                <a:gd name="connsiteY34" fmla="*/ 520310 h 1694229"/>
                <a:gd name="connsiteX35" fmla="*/ 474 w 1881147"/>
                <a:gd name="connsiteY35" fmla="*/ 625085 h 1694229"/>
                <a:gd name="connsiteX36" fmla="*/ 62386 w 1881147"/>
                <a:gd name="connsiteY36" fmla="*/ 701285 h 1694229"/>
                <a:gd name="connsiteX37" fmla="*/ 111977 w 1881147"/>
                <a:gd name="connsiteY37" fmla="*/ 681547 h 1694229"/>
                <a:gd name="connsiteX38" fmla="*/ 112334 w 1881147"/>
                <a:gd name="connsiteY38" fmla="*/ 751806 h 1694229"/>
                <a:gd name="connsiteX39" fmla="*/ 167161 w 1881147"/>
                <a:gd name="connsiteY39" fmla="*/ 782248 h 1694229"/>
                <a:gd name="connsiteX40" fmla="*/ 236159 w 1881147"/>
                <a:gd name="connsiteY40" fmla="*/ 792460 h 1694229"/>
                <a:gd name="connsiteX41" fmla="*/ 271462 w 1881147"/>
                <a:gd name="connsiteY41" fmla="*/ 848431 h 1694229"/>
                <a:gd name="connsiteX42" fmla="*/ 270869 w 1881147"/>
                <a:gd name="connsiteY42" fmla="*/ 893503 h 1694229"/>
                <a:gd name="connsiteX43" fmla="*/ 295393 w 1881147"/>
                <a:gd name="connsiteY43" fmla="*/ 932978 h 1694229"/>
                <a:gd name="connsiteX44" fmla="*/ 341051 w 1881147"/>
                <a:gd name="connsiteY44" fmla="*/ 971570 h 1694229"/>
                <a:gd name="connsiteX45" fmla="*/ 426184 w 1881147"/>
                <a:gd name="connsiteY45" fmla="*/ 1025822 h 1694229"/>
                <a:gd name="connsiteX46" fmla="*/ 461961 w 1881147"/>
                <a:gd name="connsiteY46" fmla="*/ 1096915 h 1694229"/>
                <a:gd name="connsiteX47" fmla="*/ 441064 w 1881147"/>
                <a:gd name="connsiteY47" fmla="*/ 1166488 h 1694229"/>
                <a:gd name="connsiteX48" fmla="*/ 519111 w 1881147"/>
                <a:gd name="connsiteY48" fmla="*/ 1222951 h 1694229"/>
                <a:gd name="connsiteX49" fmla="*/ 591143 w 1881147"/>
                <a:gd name="connsiteY49" fmla="*/ 1255945 h 1694229"/>
                <a:gd name="connsiteX50" fmla="*/ 571974 w 1881147"/>
                <a:gd name="connsiteY50" fmla="*/ 1315648 h 1694229"/>
                <a:gd name="connsiteX51" fmla="*/ 662461 w 1881147"/>
                <a:gd name="connsiteY51" fmla="*/ 1468048 h 1694229"/>
                <a:gd name="connsiteX52" fmla="*/ 755271 w 1881147"/>
                <a:gd name="connsiteY52" fmla="*/ 1541202 h 1694229"/>
                <a:gd name="connsiteX53" fmla="*/ 805336 w 1881147"/>
                <a:gd name="connsiteY53" fmla="*/ 1491860 h 1694229"/>
                <a:gd name="connsiteX54" fmla="*/ 869926 w 1881147"/>
                <a:gd name="connsiteY54" fmla="*/ 1519257 h 1694229"/>
                <a:gd name="connsiteX55" fmla="*/ 924399 w 1881147"/>
                <a:gd name="connsiteY55" fmla="*/ 1487098 h 1694229"/>
                <a:gd name="connsiteX56" fmla="*/ 941246 w 1881147"/>
                <a:gd name="connsiteY56" fmla="*/ 1444922 h 1694229"/>
                <a:gd name="connsiteX57" fmla="*/ 1005123 w 1881147"/>
                <a:gd name="connsiteY57" fmla="*/ 1531334 h 1694229"/>
                <a:gd name="connsiteX58" fmla="*/ 1050190 w 1881147"/>
                <a:gd name="connsiteY58" fmla="*/ 1602428 h 1694229"/>
                <a:gd name="connsiteX59" fmla="*/ 1120136 w 1881147"/>
                <a:gd name="connsiteY59" fmla="*/ 1693947 h 1694229"/>
                <a:gd name="connsiteX60" fmla="*/ 1151034 w 1881147"/>
                <a:gd name="connsiteY60" fmla="*/ 1630856 h 1694229"/>
                <a:gd name="connsiteX61" fmla="*/ 1181693 w 1881147"/>
                <a:gd name="connsiteY61" fmla="*/ 1624376 h 1694229"/>
                <a:gd name="connsiteX62" fmla="*/ 1224792 w 1881147"/>
                <a:gd name="connsiteY62" fmla="*/ 1653639 h 1694229"/>
                <a:gd name="connsiteX63" fmla="*/ 1258367 w 1881147"/>
                <a:gd name="connsiteY63" fmla="*/ 1612985 h 1694229"/>
                <a:gd name="connsiteX64" fmla="*/ 1277188 w 1881147"/>
                <a:gd name="connsiteY64" fmla="*/ 1617602 h 1694229"/>
                <a:gd name="connsiteX65" fmla="*/ 1311230 w 1881147"/>
                <a:gd name="connsiteY65" fmla="*/ 1684079 h 1694229"/>
                <a:gd name="connsiteX66" fmla="*/ 1367786 w 1881147"/>
                <a:gd name="connsiteY66" fmla="*/ 1660610 h 1694229"/>
                <a:gd name="connsiteX67" fmla="*/ 1419818 w 1881147"/>
                <a:gd name="connsiteY67" fmla="*/ 1604489 h 1694229"/>
                <a:gd name="connsiteX68" fmla="*/ 1470595 w 1881147"/>
                <a:gd name="connsiteY68" fmla="*/ 1587946 h 1694229"/>
                <a:gd name="connsiteX69" fmla="*/ 1488274 w 1881147"/>
                <a:gd name="connsiteY69" fmla="*/ 1643768 h 1694229"/>
                <a:gd name="connsiteX70" fmla="*/ 1558169 w 1881147"/>
                <a:gd name="connsiteY70" fmla="*/ 1618090 h 1694229"/>
                <a:gd name="connsiteX71" fmla="*/ 1588947 w 1881147"/>
                <a:gd name="connsiteY71" fmla="*/ 1531334 h 1694229"/>
                <a:gd name="connsiteX72" fmla="*/ 1670383 w 1881147"/>
                <a:gd name="connsiteY72" fmla="*/ 1441192 h 1694229"/>
                <a:gd name="connsiteX73" fmla="*/ 1714974 w 1881147"/>
                <a:gd name="connsiteY73" fmla="*/ 1410062 h 1694229"/>
                <a:gd name="connsiteX74" fmla="*/ 1743343 w 1881147"/>
                <a:gd name="connsiteY74" fmla="*/ 1413357 h 1694229"/>
                <a:gd name="connsiteX75" fmla="*/ 1820935 w 1881147"/>
                <a:gd name="connsiteY75" fmla="*/ 1402749 h 1694229"/>
                <a:gd name="connsiteX76" fmla="*/ 1816054 w 1881147"/>
                <a:gd name="connsiteY76" fmla="*/ 1456313 h 1694229"/>
                <a:gd name="connsiteX77" fmla="*/ 1874221 w 1881147"/>
                <a:gd name="connsiteY77" fmla="*/ 1479634 h 1694229"/>
                <a:gd name="connsiteX78" fmla="*/ 1875829 w 1881147"/>
                <a:gd name="connsiteY78" fmla="*/ 1457000 h 1694229"/>
                <a:gd name="connsiteX79" fmla="*/ 1875051 w 1881147"/>
                <a:gd name="connsiteY79" fmla="*/ 1396266 h 1694229"/>
                <a:gd name="connsiteX80" fmla="*/ 1853086 w 1881147"/>
                <a:gd name="connsiteY80" fmla="*/ 1306123 h 1694229"/>
                <a:gd name="connsiteX81" fmla="*/ 1853086 w 1881147"/>
                <a:gd name="connsiteY81" fmla="*/ 1248973 h 1694229"/>
                <a:gd name="connsiteX82" fmla="*/ 1810224 w 1881147"/>
                <a:gd name="connsiteY82" fmla="*/ 1239448 h 1694229"/>
                <a:gd name="connsiteX83" fmla="*/ 1734024 w 1881147"/>
                <a:gd name="connsiteY83" fmla="*/ 1158485 h 1694229"/>
                <a:gd name="connsiteX84" fmla="*/ 1695924 w 1881147"/>
                <a:gd name="connsiteY84" fmla="*/ 977510 h 1694229"/>
                <a:gd name="connsiteX85" fmla="*/ 1643536 w 1881147"/>
                <a:gd name="connsiteY85" fmla="*/ 944173 h 1694229"/>
                <a:gd name="connsiteX86" fmla="*/ 1605436 w 1881147"/>
                <a:gd name="connsiteY86" fmla="*/ 887023 h 1694229"/>
                <a:gd name="connsiteX87" fmla="*/ 1557811 w 1881147"/>
                <a:gd name="connsiteY87" fmla="*/ 839398 h 1694229"/>
                <a:gd name="connsiteX88" fmla="*/ 1505424 w 1881147"/>
                <a:gd name="connsiteY88" fmla="*/ 820348 h 1694229"/>
                <a:gd name="connsiteX89" fmla="*/ 1453036 w 1881147"/>
                <a:gd name="connsiteY89" fmla="*/ 815585 h 1694229"/>
                <a:gd name="connsiteX90" fmla="*/ 1510186 w 1881147"/>
                <a:gd name="connsiteY90" fmla="*/ 782248 h 1694229"/>
                <a:gd name="connsiteX91" fmla="*/ 1476849 w 1881147"/>
                <a:gd name="connsiteY91" fmla="*/ 748910 h 1694229"/>
                <a:gd name="connsiteX92" fmla="*/ 1481611 w 1881147"/>
                <a:gd name="connsiteY92" fmla="*/ 725098 h 1694229"/>
                <a:gd name="connsiteX93" fmla="*/ 1572099 w 1881147"/>
                <a:gd name="connsiteY93" fmla="*/ 763198 h 1694229"/>
                <a:gd name="connsiteX94" fmla="*/ 1624486 w 1881147"/>
                <a:gd name="connsiteY94" fmla="*/ 696523 h 1694229"/>
                <a:gd name="connsiteX95" fmla="*/ 1622283 w 1881147"/>
                <a:gd name="connsiteY95" fmla="*/ 553648 h 1694229"/>
                <a:gd name="connsiteX96" fmla="*/ 1639486 w 1881147"/>
                <a:gd name="connsiteY96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9738 w 1881147"/>
                <a:gd name="connsiteY13" fmla="*/ 346183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55759 w 1881147"/>
                <a:gd name="connsiteY16" fmla="*/ 376257 h 1694229"/>
                <a:gd name="connsiteX17" fmla="*/ 832776 w 1881147"/>
                <a:gd name="connsiteY17" fmla="*/ 440035 h 1694229"/>
                <a:gd name="connsiteX18" fmla="*/ 815693 w 1881147"/>
                <a:gd name="connsiteY18" fmla="*/ 475926 h 1694229"/>
                <a:gd name="connsiteX19" fmla="*/ 733662 w 1881147"/>
                <a:gd name="connsiteY19" fmla="*/ 494632 h 1694229"/>
                <a:gd name="connsiteX20" fmla="*/ 715850 w 1881147"/>
                <a:gd name="connsiteY20" fmla="*/ 440647 h 1694229"/>
                <a:gd name="connsiteX21" fmla="*/ 671986 w 1881147"/>
                <a:gd name="connsiteY21" fmla="*/ 420298 h 1694229"/>
                <a:gd name="connsiteX22" fmla="*/ 536670 w 1881147"/>
                <a:gd name="connsiteY22" fmla="*/ 420641 h 1694229"/>
                <a:gd name="connsiteX23" fmla="*/ 452793 w 1881147"/>
                <a:gd name="connsiteY23" fmla="*/ 447350 h 1694229"/>
                <a:gd name="connsiteX24" fmla="*/ 419574 w 1881147"/>
                <a:gd name="connsiteY24" fmla="*/ 420298 h 1694229"/>
                <a:gd name="connsiteX25" fmla="*/ 400524 w 1881147"/>
                <a:gd name="connsiteY25" fmla="*/ 358385 h 1694229"/>
                <a:gd name="connsiteX26" fmla="*/ 333849 w 1881147"/>
                <a:gd name="connsiteY26" fmla="*/ 305998 h 1694229"/>
                <a:gd name="connsiteX27" fmla="*/ 288664 w 1881147"/>
                <a:gd name="connsiteY27" fmla="*/ 229110 h 1694229"/>
                <a:gd name="connsiteX28" fmla="*/ 165314 w 1881147"/>
                <a:gd name="connsiteY28" fmla="*/ 258373 h 1694229"/>
                <a:gd name="connsiteX29" fmla="*/ 146264 w 1881147"/>
                <a:gd name="connsiteY29" fmla="*/ 344785 h 1694229"/>
                <a:gd name="connsiteX30" fmla="*/ 146620 w 1881147"/>
                <a:gd name="connsiteY30" fmla="*/ 390888 h 1694229"/>
                <a:gd name="connsiteX31" fmla="*/ 133824 w 1881147"/>
                <a:gd name="connsiteY31" fmla="*/ 415535 h 1694229"/>
                <a:gd name="connsiteX32" fmla="*/ 81436 w 1881147"/>
                <a:gd name="connsiteY32" fmla="*/ 453635 h 1694229"/>
                <a:gd name="connsiteX33" fmla="*/ 33811 w 1881147"/>
                <a:gd name="connsiteY33" fmla="*/ 448873 h 1694229"/>
                <a:gd name="connsiteX34" fmla="*/ 33811 w 1881147"/>
                <a:gd name="connsiteY34" fmla="*/ 520310 h 1694229"/>
                <a:gd name="connsiteX35" fmla="*/ 474 w 1881147"/>
                <a:gd name="connsiteY35" fmla="*/ 625085 h 1694229"/>
                <a:gd name="connsiteX36" fmla="*/ 62386 w 1881147"/>
                <a:gd name="connsiteY36" fmla="*/ 701285 h 1694229"/>
                <a:gd name="connsiteX37" fmla="*/ 111977 w 1881147"/>
                <a:gd name="connsiteY37" fmla="*/ 681547 h 1694229"/>
                <a:gd name="connsiteX38" fmla="*/ 112334 w 1881147"/>
                <a:gd name="connsiteY38" fmla="*/ 751806 h 1694229"/>
                <a:gd name="connsiteX39" fmla="*/ 167161 w 1881147"/>
                <a:gd name="connsiteY39" fmla="*/ 782248 h 1694229"/>
                <a:gd name="connsiteX40" fmla="*/ 236159 w 1881147"/>
                <a:gd name="connsiteY40" fmla="*/ 792460 h 1694229"/>
                <a:gd name="connsiteX41" fmla="*/ 271462 w 1881147"/>
                <a:gd name="connsiteY41" fmla="*/ 848431 h 1694229"/>
                <a:gd name="connsiteX42" fmla="*/ 270869 w 1881147"/>
                <a:gd name="connsiteY42" fmla="*/ 893503 h 1694229"/>
                <a:gd name="connsiteX43" fmla="*/ 295393 w 1881147"/>
                <a:gd name="connsiteY43" fmla="*/ 932978 h 1694229"/>
                <a:gd name="connsiteX44" fmla="*/ 341051 w 1881147"/>
                <a:gd name="connsiteY44" fmla="*/ 971570 h 1694229"/>
                <a:gd name="connsiteX45" fmla="*/ 426184 w 1881147"/>
                <a:gd name="connsiteY45" fmla="*/ 1025822 h 1694229"/>
                <a:gd name="connsiteX46" fmla="*/ 461961 w 1881147"/>
                <a:gd name="connsiteY46" fmla="*/ 1096915 h 1694229"/>
                <a:gd name="connsiteX47" fmla="*/ 441064 w 1881147"/>
                <a:gd name="connsiteY47" fmla="*/ 1166488 h 1694229"/>
                <a:gd name="connsiteX48" fmla="*/ 519111 w 1881147"/>
                <a:gd name="connsiteY48" fmla="*/ 1222951 h 1694229"/>
                <a:gd name="connsiteX49" fmla="*/ 591143 w 1881147"/>
                <a:gd name="connsiteY49" fmla="*/ 1255945 h 1694229"/>
                <a:gd name="connsiteX50" fmla="*/ 571974 w 1881147"/>
                <a:gd name="connsiteY50" fmla="*/ 1315648 h 1694229"/>
                <a:gd name="connsiteX51" fmla="*/ 662461 w 1881147"/>
                <a:gd name="connsiteY51" fmla="*/ 1468048 h 1694229"/>
                <a:gd name="connsiteX52" fmla="*/ 755271 w 1881147"/>
                <a:gd name="connsiteY52" fmla="*/ 1541202 h 1694229"/>
                <a:gd name="connsiteX53" fmla="*/ 805336 w 1881147"/>
                <a:gd name="connsiteY53" fmla="*/ 1491860 h 1694229"/>
                <a:gd name="connsiteX54" fmla="*/ 869926 w 1881147"/>
                <a:gd name="connsiteY54" fmla="*/ 1519257 h 1694229"/>
                <a:gd name="connsiteX55" fmla="*/ 924399 w 1881147"/>
                <a:gd name="connsiteY55" fmla="*/ 1487098 h 1694229"/>
                <a:gd name="connsiteX56" fmla="*/ 941246 w 1881147"/>
                <a:gd name="connsiteY56" fmla="*/ 1444922 h 1694229"/>
                <a:gd name="connsiteX57" fmla="*/ 1005123 w 1881147"/>
                <a:gd name="connsiteY57" fmla="*/ 1531334 h 1694229"/>
                <a:gd name="connsiteX58" fmla="*/ 1050190 w 1881147"/>
                <a:gd name="connsiteY58" fmla="*/ 1602428 h 1694229"/>
                <a:gd name="connsiteX59" fmla="*/ 1120136 w 1881147"/>
                <a:gd name="connsiteY59" fmla="*/ 1693947 h 1694229"/>
                <a:gd name="connsiteX60" fmla="*/ 1151034 w 1881147"/>
                <a:gd name="connsiteY60" fmla="*/ 1630856 h 1694229"/>
                <a:gd name="connsiteX61" fmla="*/ 1181693 w 1881147"/>
                <a:gd name="connsiteY61" fmla="*/ 1624376 h 1694229"/>
                <a:gd name="connsiteX62" fmla="*/ 1224792 w 1881147"/>
                <a:gd name="connsiteY62" fmla="*/ 1653639 h 1694229"/>
                <a:gd name="connsiteX63" fmla="*/ 1258367 w 1881147"/>
                <a:gd name="connsiteY63" fmla="*/ 1612985 h 1694229"/>
                <a:gd name="connsiteX64" fmla="*/ 1277188 w 1881147"/>
                <a:gd name="connsiteY64" fmla="*/ 1617602 h 1694229"/>
                <a:gd name="connsiteX65" fmla="*/ 1311230 w 1881147"/>
                <a:gd name="connsiteY65" fmla="*/ 1684079 h 1694229"/>
                <a:gd name="connsiteX66" fmla="*/ 1367786 w 1881147"/>
                <a:gd name="connsiteY66" fmla="*/ 1660610 h 1694229"/>
                <a:gd name="connsiteX67" fmla="*/ 1419818 w 1881147"/>
                <a:gd name="connsiteY67" fmla="*/ 1604489 h 1694229"/>
                <a:gd name="connsiteX68" fmla="*/ 1470595 w 1881147"/>
                <a:gd name="connsiteY68" fmla="*/ 1587946 h 1694229"/>
                <a:gd name="connsiteX69" fmla="*/ 1488274 w 1881147"/>
                <a:gd name="connsiteY69" fmla="*/ 1643768 h 1694229"/>
                <a:gd name="connsiteX70" fmla="*/ 1558169 w 1881147"/>
                <a:gd name="connsiteY70" fmla="*/ 1618090 h 1694229"/>
                <a:gd name="connsiteX71" fmla="*/ 1588947 w 1881147"/>
                <a:gd name="connsiteY71" fmla="*/ 1531334 h 1694229"/>
                <a:gd name="connsiteX72" fmla="*/ 1670383 w 1881147"/>
                <a:gd name="connsiteY72" fmla="*/ 1441192 h 1694229"/>
                <a:gd name="connsiteX73" fmla="*/ 1714974 w 1881147"/>
                <a:gd name="connsiteY73" fmla="*/ 1410062 h 1694229"/>
                <a:gd name="connsiteX74" fmla="*/ 1743343 w 1881147"/>
                <a:gd name="connsiteY74" fmla="*/ 1413357 h 1694229"/>
                <a:gd name="connsiteX75" fmla="*/ 1820935 w 1881147"/>
                <a:gd name="connsiteY75" fmla="*/ 1402749 h 1694229"/>
                <a:gd name="connsiteX76" fmla="*/ 1816054 w 1881147"/>
                <a:gd name="connsiteY76" fmla="*/ 1456313 h 1694229"/>
                <a:gd name="connsiteX77" fmla="*/ 1874221 w 1881147"/>
                <a:gd name="connsiteY77" fmla="*/ 1479634 h 1694229"/>
                <a:gd name="connsiteX78" fmla="*/ 1875829 w 1881147"/>
                <a:gd name="connsiteY78" fmla="*/ 1457000 h 1694229"/>
                <a:gd name="connsiteX79" fmla="*/ 1875051 w 1881147"/>
                <a:gd name="connsiteY79" fmla="*/ 1396266 h 1694229"/>
                <a:gd name="connsiteX80" fmla="*/ 1853086 w 1881147"/>
                <a:gd name="connsiteY80" fmla="*/ 1306123 h 1694229"/>
                <a:gd name="connsiteX81" fmla="*/ 1853086 w 1881147"/>
                <a:gd name="connsiteY81" fmla="*/ 1248973 h 1694229"/>
                <a:gd name="connsiteX82" fmla="*/ 1810224 w 1881147"/>
                <a:gd name="connsiteY82" fmla="*/ 1239448 h 1694229"/>
                <a:gd name="connsiteX83" fmla="*/ 1734024 w 1881147"/>
                <a:gd name="connsiteY83" fmla="*/ 1158485 h 1694229"/>
                <a:gd name="connsiteX84" fmla="*/ 1695924 w 1881147"/>
                <a:gd name="connsiteY84" fmla="*/ 977510 h 1694229"/>
                <a:gd name="connsiteX85" fmla="*/ 1643536 w 1881147"/>
                <a:gd name="connsiteY85" fmla="*/ 944173 h 1694229"/>
                <a:gd name="connsiteX86" fmla="*/ 1605436 w 1881147"/>
                <a:gd name="connsiteY86" fmla="*/ 887023 h 1694229"/>
                <a:gd name="connsiteX87" fmla="*/ 1557811 w 1881147"/>
                <a:gd name="connsiteY87" fmla="*/ 839398 h 1694229"/>
                <a:gd name="connsiteX88" fmla="*/ 1505424 w 1881147"/>
                <a:gd name="connsiteY88" fmla="*/ 820348 h 1694229"/>
                <a:gd name="connsiteX89" fmla="*/ 1453036 w 1881147"/>
                <a:gd name="connsiteY89" fmla="*/ 815585 h 1694229"/>
                <a:gd name="connsiteX90" fmla="*/ 1510186 w 1881147"/>
                <a:gd name="connsiteY90" fmla="*/ 782248 h 1694229"/>
                <a:gd name="connsiteX91" fmla="*/ 1476849 w 1881147"/>
                <a:gd name="connsiteY91" fmla="*/ 748910 h 1694229"/>
                <a:gd name="connsiteX92" fmla="*/ 1481611 w 1881147"/>
                <a:gd name="connsiteY92" fmla="*/ 725098 h 1694229"/>
                <a:gd name="connsiteX93" fmla="*/ 1572099 w 1881147"/>
                <a:gd name="connsiteY93" fmla="*/ 763198 h 1694229"/>
                <a:gd name="connsiteX94" fmla="*/ 1624486 w 1881147"/>
                <a:gd name="connsiteY94" fmla="*/ 696523 h 1694229"/>
                <a:gd name="connsiteX95" fmla="*/ 1622283 w 1881147"/>
                <a:gd name="connsiteY95" fmla="*/ 553648 h 1694229"/>
                <a:gd name="connsiteX96" fmla="*/ 1639486 w 1881147"/>
                <a:gd name="connsiteY96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9738 w 1881147"/>
                <a:gd name="connsiteY13" fmla="*/ 346183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55759 w 1881147"/>
                <a:gd name="connsiteY16" fmla="*/ 376257 h 1694229"/>
                <a:gd name="connsiteX17" fmla="*/ 832776 w 1881147"/>
                <a:gd name="connsiteY17" fmla="*/ 440035 h 1694229"/>
                <a:gd name="connsiteX18" fmla="*/ 815693 w 1881147"/>
                <a:gd name="connsiteY18" fmla="*/ 475926 h 1694229"/>
                <a:gd name="connsiteX19" fmla="*/ 733662 w 1881147"/>
                <a:gd name="connsiteY19" fmla="*/ 494632 h 1694229"/>
                <a:gd name="connsiteX20" fmla="*/ 715850 w 1881147"/>
                <a:gd name="connsiteY20" fmla="*/ 440647 h 1694229"/>
                <a:gd name="connsiteX21" fmla="*/ 671986 w 1881147"/>
                <a:gd name="connsiteY21" fmla="*/ 420298 h 1694229"/>
                <a:gd name="connsiteX22" fmla="*/ 536670 w 1881147"/>
                <a:gd name="connsiteY22" fmla="*/ 420641 h 1694229"/>
                <a:gd name="connsiteX23" fmla="*/ 452793 w 1881147"/>
                <a:gd name="connsiteY23" fmla="*/ 447350 h 1694229"/>
                <a:gd name="connsiteX24" fmla="*/ 419574 w 1881147"/>
                <a:gd name="connsiteY24" fmla="*/ 420298 h 1694229"/>
                <a:gd name="connsiteX25" fmla="*/ 400524 w 1881147"/>
                <a:gd name="connsiteY25" fmla="*/ 358385 h 1694229"/>
                <a:gd name="connsiteX26" fmla="*/ 333849 w 1881147"/>
                <a:gd name="connsiteY26" fmla="*/ 305998 h 1694229"/>
                <a:gd name="connsiteX27" fmla="*/ 288664 w 1881147"/>
                <a:gd name="connsiteY27" fmla="*/ 229110 h 1694229"/>
                <a:gd name="connsiteX28" fmla="*/ 165314 w 1881147"/>
                <a:gd name="connsiteY28" fmla="*/ 258373 h 1694229"/>
                <a:gd name="connsiteX29" fmla="*/ 146264 w 1881147"/>
                <a:gd name="connsiteY29" fmla="*/ 344785 h 1694229"/>
                <a:gd name="connsiteX30" fmla="*/ 163704 w 1881147"/>
                <a:gd name="connsiteY30" fmla="*/ 411312 h 1694229"/>
                <a:gd name="connsiteX31" fmla="*/ 133824 w 1881147"/>
                <a:gd name="connsiteY31" fmla="*/ 415535 h 1694229"/>
                <a:gd name="connsiteX32" fmla="*/ 81436 w 1881147"/>
                <a:gd name="connsiteY32" fmla="*/ 453635 h 1694229"/>
                <a:gd name="connsiteX33" fmla="*/ 33811 w 1881147"/>
                <a:gd name="connsiteY33" fmla="*/ 448873 h 1694229"/>
                <a:gd name="connsiteX34" fmla="*/ 33811 w 1881147"/>
                <a:gd name="connsiteY34" fmla="*/ 520310 h 1694229"/>
                <a:gd name="connsiteX35" fmla="*/ 474 w 1881147"/>
                <a:gd name="connsiteY35" fmla="*/ 625085 h 1694229"/>
                <a:gd name="connsiteX36" fmla="*/ 62386 w 1881147"/>
                <a:gd name="connsiteY36" fmla="*/ 701285 h 1694229"/>
                <a:gd name="connsiteX37" fmla="*/ 111977 w 1881147"/>
                <a:gd name="connsiteY37" fmla="*/ 681547 h 1694229"/>
                <a:gd name="connsiteX38" fmla="*/ 112334 w 1881147"/>
                <a:gd name="connsiteY38" fmla="*/ 751806 h 1694229"/>
                <a:gd name="connsiteX39" fmla="*/ 167161 w 1881147"/>
                <a:gd name="connsiteY39" fmla="*/ 782248 h 1694229"/>
                <a:gd name="connsiteX40" fmla="*/ 236159 w 1881147"/>
                <a:gd name="connsiteY40" fmla="*/ 792460 h 1694229"/>
                <a:gd name="connsiteX41" fmla="*/ 271462 w 1881147"/>
                <a:gd name="connsiteY41" fmla="*/ 848431 h 1694229"/>
                <a:gd name="connsiteX42" fmla="*/ 270869 w 1881147"/>
                <a:gd name="connsiteY42" fmla="*/ 893503 h 1694229"/>
                <a:gd name="connsiteX43" fmla="*/ 295393 w 1881147"/>
                <a:gd name="connsiteY43" fmla="*/ 932978 h 1694229"/>
                <a:gd name="connsiteX44" fmla="*/ 341051 w 1881147"/>
                <a:gd name="connsiteY44" fmla="*/ 971570 h 1694229"/>
                <a:gd name="connsiteX45" fmla="*/ 426184 w 1881147"/>
                <a:gd name="connsiteY45" fmla="*/ 1025822 h 1694229"/>
                <a:gd name="connsiteX46" fmla="*/ 461961 w 1881147"/>
                <a:gd name="connsiteY46" fmla="*/ 1096915 h 1694229"/>
                <a:gd name="connsiteX47" fmla="*/ 441064 w 1881147"/>
                <a:gd name="connsiteY47" fmla="*/ 1166488 h 1694229"/>
                <a:gd name="connsiteX48" fmla="*/ 519111 w 1881147"/>
                <a:gd name="connsiteY48" fmla="*/ 1222951 h 1694229"/>
                <a:gd name="connsiteX49" fmla="*/ 591143 w 1881147"/>
                <a:gd name="connsiteY49" fmla="*/ 1255945 h 1694229"/>
                <a:gd name="connsiteX50" fmla="*/ 571974 w 1881147"/>
                <a:gd name="connsiteY50" fmla="*/ 1315648 h 1694229"/>
                <a:gd name="connsiteX51" fmla="*/ 662461 w 1881147"/>
                <a:gd name="connsiteY51" fmla="*/ 1468048 h 1694229"/>
                <a:gd name="connsiteX52" fmla="*/ 755271 w 1881147"/>
                <a:gd name="connsiteY52" fmla="*/ 1541202 h 1694229"/>
                <a:gd name="connsiteX53" fmla="*/ 805336 w 1881147"/>
                <a:gd name="connsiteY53" fmla="*/ 1491860 h 1694229"/>
                <a:gd name="connsiteX54" fmla="*/ 869926 w 1881147"/>
                <a:gd name="connsiteY54" fmla="*/ 1519257 h 1694229"/>
                <a:gd name="connsiteX55" fmla="*/ 924399 w 1881147"/>
                <a:gd name="connsiteY55" fmla="*/ 1487098 h 1694229"/>
                <a:gd name="connsiteX56" fmla="*/ 941246 w 1881147"/>
                <a:gd name="connsiteY56" fmla="*/ 1444922 h 1694229"/>
                <a:gd name="connsiteX57" fmla="*/ 1005123 w 1881147"/>
                <a:gd name="connsiteY57" fmla="*/ 1531334 h 1694229"/>
                <a:gd name="connsiteX58" fmla="*/ 1050190 w 1881147"/>
                <a:gd name="connsiteY58" fmla="*/ 1602428 h 1694229"/>
                <a:gd name="connsiteX59" fmla="*/ 1120136 w 1881147"/>
                <a:gd name="connsiteY59" fmla="*/ 1693947 h 1694229"/>
                <a:gd name="connsiteX60" fmla="*/ 1151034 w 1881147"/>
                <a:gd name="connsiteY60" fmla="*/ 1630856 h 1694229"/>
                <a:gd name="connsiteX61" fmla="*/ 1181693 w 1881147"/>
                <a:gd name="connsiteY61" fmla="*/ 1624376 h 1694229"/>
                <a:gd name="connsiteX62" fmla="*/ 1224792 w 1881147"/>
                <a:gd name="connsiteY62" fmla="*/ 1653639 h 1694229"/>
                <a:gd name="connsiteX63" fmla="*/ 1258367 w 1881147"/>
                <a:gd name="connsiteY63" fmla="*/ 1612985 h 1694229"/>
                <a:gd name="connsiteX64" fmla="*/ 1277188 w 1881147"/>
                <a:gd name="connsiteY64" fmla="*/ 1617602 h 1694229"/>
                <a:gd name="connsiteX65" fmla="*/ 1311230 w 1881147"/>
                <a:gd name="connsiteY65" fmla="*/ 1684079 h 1694229"/>
                <a:gd name="connsiteX66" fmla="*/ 1367786 w 1881147"/>
                <a:gd name="connsiteY66" fmla="*/ 1660610 h 1694229"/>
                <a:gd name="connsiteX67" fmla="*/ 1419818 w 1881147"/>
                <a:gd name="connsiteY67" fmla="*/ 1604489 h 1694229"/>
                <a:gd name="connsiteX68" fmla="*/ 1470595 w 1881147"/>
                <a:gd name="connsiteY68" fmla="*/ 1587946 h 1694229"/>
                <a:gd name="connsiteX69" fmla="*/ 1488274 w 1881147"/>
                <a:gd name="connsiteY69" fmla="*/ 1643768 h 1694229"/>
                <a:gd name="connsiteX70" fmla="*/ 1558169 w 1881147"/>
                <a:gd name="connsiteY70" fmla="*/ 1618090 h 1694229"/>
                <a:gd name="connsiteX71" fmla="*/ 1588947 w 1881147"/>
                <a:gd name="connsiteY71" fmla="*/ 1531334 h 1694229"/>
                <a:gd name="connsiteX72" fmla="*/ 1670383 w 1881147"/>
                <a:gd name="connsiteY72" fmla="*/ 1441192 h 1694229"/>
                <a:gd name="connsiteX73" fmla="*/ 1714974 w 1881147"/>
                <a:gd name="connsiteY73" fmla="*/ 1410062 h 1694229"/>
                <a:gd name="connsiteX74" fmla="*/ 1743343 w 1881147"/>
                <a:gd name="connsiteY74" fmla="*/ 1413357 h 1694229"/>
                <a:gd name="connsiteX75" fmla="*/ 1820935 w 1881147"/>
                <a:gd name="connsiteY75" fmla="*/ 1402749 h 1694229"/>
                <a:gd name="connsiteX76" fmla="*/ 1816054 w 1881147"/>
                <a:gd name="connsiteY76" fmla="*/ 1456313 h 1694229"/>
                <a:gd name="connsiteX77" fmla="*/ 1874221 w 1881147"/>
                <a:gd name="connsiteY77" fmla="*/ 1479634 h 1694229"/>
                <a:gd name="connsiteX78" fmla="*/ 1875829 w 1881147"/>
                <a:gd name="connsiteY78" fmla="*/ 1457000 h 1694229"/>
                <a:gd name="connsiteX79" fmla="*/ 1875051 w 1881147"/>
                <a:gd name="connsiteY79" fmla="*/ 1396266 h 1694229"/>
                <a:gd name="connsiteX80" fmla="*/ 1853086 w 1881147"/>
                <a:gd name="connsiteY80" fmla="*/ 1306123 h 1694229"/>
                <a:gd name="connsiteX81" fmla="*/ 1853086 w 1881147"/>
                <a:gd name="connsiteY81" fmla="*/ 1248973 h 1694229"/>
                <a:gd name="connsiteX82" fmla="*/ 1810224 w 1881147"/>
                <a:gd name="connsiteY82" fmla="*/ 1239448 h 1694229"/>
                <a:gd name="connsiteX83" fmla="*/ 1734024 w 1881147"/>
                <a:gd name="connsiteY83" fmla="*/ 1158485 h 1694229"/>
                <a:gd name="connsiteX84" fmla="*/ 1695924 w 1881147"/>
                <a:gd name="connsiteY84" fmla="*/ 977510 h 1694229"/>
                <a:gd name="connsiteX85" fmla="*/ 1643536 w 1881147"/>
                <a:gd name="connsiteY85" fmla="*/ 944173 h 1694229"/>
                <a:gd name="connsiteX86" fmla="*/ 1605436 w 1881147"/>
                <a:gd name="connsiteY86" fmla="*/ 887023 h 1694229"/>
                <a:gd name="connsiteX87" fmla="*/ 1557811 w 1881147"/>
                <a:gd name="connsiteY87" fmla="*/ 839398 h 1694229"/>
                <a:gd name="connsiteX88" fmla="*/ 1505424 w 1881147"/>
                <a:gd name="connsiteY88" fmla="*/ 820348 h 1694229"/>
                <a:gd name="connsiteX89" fmla="*/ 1453036 w 1881147"/>
                <a:gd name="connsiteY89" fmla="*/ 815585 h 1694229"/>
                <a:gd name="connsiteX90" fmla="*/ 1510186 w 1881147"/>
                <a:gd name="connsiteY90" fmla="*/ 782248 h 1694229"/>
                <a:gd name="connsiteX91" fmla="*/ 1476849 w 1881147"/>
                <a:gd name="connsiteY91" fmla="*/ 748910 h 1694229"/>
                <a:gd name="connsiteX92" fmla="*/ 1481611 w 1881147"/>
                <a:gd name="connsiteY92" fmla="*/ 725098 h 1694229"/>
                <a:gd name="connsiteX93" fmla="*/ 1572099 w 1881147"/>
                <a:gd name="connsiteY93" fmla="*/ 763198 h 1694229"/>
                <a:gd name="connsiteX94" fmla="*/ 1624486 w 1881147"/>
                <a:gd name="connsiteY94" fmla="*/ 696523 h 1694229"/>
                <a:gd name="connsiteX95" fmla="*/ 1622283 w 1881147"/>
                <a:gd name="connsiteY95" fmla="*/ 553648 h 1694229"/>
                <a:gd name="connsiteX96" fmla="*/ 1639486 w 1881147"/>
                <a:gd name="connsiteY96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9738 w 1881147"/>
                <a:gd name="connsiteY13" fmla="*/ 346183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55759 w 1881147"/>
                <a:gd name="connsiteY16" fmla="*/ 376257 h 1694229"/>
                <a:gd name="connsiteX17" fmla="*/ 832776 w 1881147"/>
                <a:gd name="connsiteY17" fmla="*/ 440035 h 1694229"/>
                <a:gd name="connsiteX18" fmla="*/ 815693 w 1881147"/>
                <a:gd name="connsiteY18" fmla="*/ 475926 h 1694229"/>
                <a:gd name="connsiteX19" fmla="*/ 733662 w 1881147"/>
                <a:gd name="connsiteY19" fmla="*/ 494632 h 1694229"/>
                <a:gd name="connsiteX20" fmla="*/ 715850 w 1881147"/>
                <a:gd name="connsiteY20" fmla="*/ 440647 h 1694229"/>
                <a:gd name="connsiteX21" fmla="*/ 671986 w 1881147"/>
                <a:gd name="connsiteY21" fmla="*/ 420298 h 1694229"/>
                <a:gd name="connsiteX22" fmla="*/ 536670 w 1881147"/>
                <a:gd name="connsiteY22" fmla="*/ 420641 h 1694229"/>
                <a:gd name="connsiteX23" fmla="*/ 452793 w 1881147"/>
                <a:gd name="connsiteY23" fmla="*/ 447350 h 1694229"/>
                <a:gd name="connsiteX24" fmla="*/ 419574 w 1881147"/>
                <a:gd name="connsiteY24" fmla="*/ 420298 h 1694229"/>
                <a:gd name="connsiteX25" fmla="*/ 400524 w 1881147"/>
                <a:gd name="connsiteY25" fmla="*/ 358385 h 1694229"/>
                <a:gd name="connsiteX26" fmla="*/ 333849 w 1881147"/>
                <a:gd name="connsiteY26" fmla="*/ 305998 h 1694229"/>
                <a:gd name="connsiteX27" fmla="*/ 288664 w 1881147"/>
                <a:gd name="connsiteY27" fmla="*/ 229110 h 1694229"/>
                <a:gd name="connsiteX28" fmla="*/ 165314 w 1881147"/>
                <a:gd name="connsiteY28" fmla="*/ 258373 h 1694229"/>
                <a:gd name="connsiteX29" fmla="*/ 146264 w 1881147"/>
                <a:gd name="connsiteY29" fmla="*/ 344785 h 1694229"/>
                <a:gd name="connsiteX30" fmla="*/ 163704 w 1881147"/>
                <a:gd name="connsiteY30" fmla="*/ 411312 h 1694229"/>
                <a:gd name="connsiteX31" fmla="*/ 136265 w 1881147"/>
                <a:gd name="connsiteY31" fmla="*/ 446172 h 1694229"/>
                <a:gd name="connsiteX32" fmla="*/ 81436 w 1881147"/>
                <a:gd name="connsiteY32" fmla="*/ 453635 h 1694229"/>
                <a:gd name="connsiteX33" fmla="*/ 33811 w 1881147"/>
                <a:gd name="connsiteY33" fmla="*/ 448873 h 1694229"/>
                <a:gd name="connsiteX34" fmla="*/ 33811 w 1881147"/>
                <a:gd name="connsiteY34" fmla="*/ 520310 h 1694229"/>
                <a:gd name="connsiteX35" fmla="*/ 474 w 1881147"/>
                <a:gd name="connsiteY35" fmla="*/ 625085 h 1694229"/>
                <a:gd name="connsiteX36" fmla="*/ 62386 w 1881147"/>
                <a:gd name="connsiteY36" fmla="*/ 701285 h 1694229"/>
                <a:gd name="connsiteX37" fmla="*/ 111977 w 1881147"/>
                <a:gd name="connsiteY37" fmla="*/ 681547 h 1694229"/>
                <a:gd name="connsiteX38" fmla="*/ 112334 w 1881147"/>
                <a:gd name="connsiteY38" fmla="*/ 751806 h 1694229"/>
                <a:gd name="connsiteX39" fmla="*/ 167161 w 1881147"/>
                <a:gd name="connsiteY39" fmla="*/ 782248 h 1694229"/>
                <a:gd name="connsiteX40" fmla="*/ 236159 w 1881147"/>
                <a:gd name="connsiteY40" fmla="*/ 792460 h 1694229"/>
                <a:gd name="connsiteX41" fmla="*/ 271462 w 1881147"/>
                <a:gd name="connsiteY41" fmla="*/ 848431 h 1694229"/>
                <a:gd name="connsiteX42" fmla="*/ 270869 w 1881147"/>
                <a:gd name="connsiteY42" fmla="*/ 893503 h 1694229"/>
                <a:gd name="connsiteX43" fmla="*/ 295393 w 1881147"/>
                <a:gd name="connsiteY43" fmla="*/ 932978 h 1694229"/>
                <a:gd name="connsiteX44" fmla="*/ 341051 w 1881147"/>
                <a:gd name="connsiteY44" fmla="*/ 971570 h 1694229"/>
                <a:gd name="connsiteX45" fmla="*/ 426184 w 1881147"/>
                <a:gd name="connsiteY45" fmla="*/ 1025822 h 1694229"/>
                <a:gd name="connsiteX46" fmla="*/ 461961 w 1881147"/>
                <a:gd name="connsiteY46" fmla="*/ 1096915 h 1694229"/>
                <a:gd name="connsiteX47" fmla="*/ 441064 w 1881147"/>
                <a:gd name="connsiteY47" fmla="*/ 1166488 h 1694229"/>
                <a:gd name="connsiteX48" fmla="*/ 519111 w 1881147"/>
                <a:gd name="connsiteY48" fmla="*/ 1222951 h 1694229"/>
                <a:gd name="connsiteX49" fmla="*/ 591143 w 1881147"/>
                <a:gd name="connsiteY49" fmla="*/ 1255945 h 1694229"/>
                <a:gd name="connsiteX50" fmla="*/ 571974 w 1881147"/>
                <a:gd name="connsiteY50" fmla="*/ 1315648 h 1694229"/>
                <a:gd name="connsiteX51" fmla="*/ 662461 w 1881147"/>
                <a:gd name="connsiteY51" fmla="*/ 1468048 h 1694229"/>
                <a:gd name="connsiteX52" fmla="*/ 755271 w 1881147"/>
                <a:gd name="connsiteY52" fmla="*/ 1541202 h 1694229"/>
                <a:gd name="connsiteX53" fmla="*/ 805336 w 1881147"/>
                <a:gd name="connsiteY53" fmla="*/ 1491860 h 1694229"/>
                <a:gd name="connsiteX54" fmla="*/ 869926 w 1881147"/>
                <a:gd name="connsiteY54" fmla="*/ 1519257 h 1694229"/>
                <a:gd name="connsiteX55" fmla="*/ 924399 w 1881147"/>
                <a:gd name="connsiteY55" fmla="*/ 1487098 h 1694229"/>
                <a:gd name="connsiteX56" fmla="*/ 941246 w 1881147"/>
                <a:gd name="connsiteY56" fmla="*/ 1444922 h 1694229"/>
                <a:gd name="connsiteX57" fmla="*/ 1005123 w 1881147"/>
                <a:gd name="connsiteY57" fmla="*/ 1531334 h 1694229"/>
                <a:gd name="connsiteX58" fmla="*/ 1050190 w 1881147"/>
                <a:gd name="connsiteY58" fmla="*/ 1602428 h 1694229"/>
                <a:gd name="connsiteX59" fmla="*/ 1120136 w 1881147"/>
                <a:gd name="connsiteY59" fmla="*/ 1693947 h 1694229"/>
                <a:gd name="connsiteX60" fmla="*/ 1151034 w 1881147"/>
                <a:gd name="connsiteY60" fmla="*/ 1630856 h 1694229"/>
                <a:gd name="connsiteX61" fmla="*/ 1181693 w 1881147"/>
                <a:gd name="connsiteY61" fmla="*/ 1624376 h 1694229"/>
                <a:gd name="connsiteX62" fmla="*/ 1224792 w 1881147"/>
                <a:gd name="connsiteY62" fmla="*/ 1653639 h 1694229"/>
                <a:gd name="connsiteX63" fmla="*/ 1258367 w 1881147"/>
                <a:gd name="connsiteY63" fmla="*/ 1612985 h 1694229"/>
                <a:gd name="connsiteX64" fmla="*/ 1277188 w 1881147"/>
                <a:gd name="connsiteY64" fmla="*/ 1617602 h 1694229"/>
                <a:gd name="connsiteX65" fmla="*/ 1311230 w 1881147"/>
                <a:gd name="connsiteY65" fmla="*/ 1684079 h 1694229"/>
                <a:gd name="connsiteX66" fmla="*/ 1367786 w 1881147"/>
                <a:gd name="connsiteY66" fmla="*/ 1660610 h 1694229"/>
                <a:gd name="connsiteX67" fmla="*/ 1419818 w 1881147"/>
                <a:gd name="connsiteY67" fmla="*/ 1604489 h 1694229"/>
                <a:gd name="connsiteX68" fmla="*/ 1470595 w 1881147"/>
                <a:gd name="connsiteY68" fmla="*/ 1587946 h 1694229"/>
                <a:gd name="connsiteX69" fmla="*/ 1488274 w 1881147"/>
                <a:gd name="connsiteY69" fmla="*/ 1643768 h 1694229"/>
                <a:gd name="connsiteX70" fmla="*/ 1558169 w 1881147"/>
                <a:gd name="connsiteY70" fmla="*/ 1618090 h 1694229"/>
                <a:gd name="connsiteX71" fmla="*/ 1588947 w 1881147"/>
                <a:gd name="connsiteY71" fmla="*/ 1531334 h 1694229"/>
                <a:gd name="connsiteX72" fmla="*/ 1670383 w 1881147"/>
                <a:gd name="connsiteY72" fmla="*/ 1441192 h 1694229"/>
                <a:gd name="connsiteX73" fmla="*/ 1714974 w 1881147"/>
                <a:gd name="connsiteY73" fmla="*/ 1410062 h 1694229"/>
                <a:gd name="connsiteX74" fmla="*/ 1743343 w 1881147"/>
                <a:gd name="connsiteY74" fmla="*/ 1413357 h 1694229"/>
                <a:gd name="connsiteX75" fmla="*/ 1820935 w 1881147"/>
                <a:gd name="connsiteY75" fmla="*/ 1402749 h 1694229"/>
                <a:gd name="connsiteX76" fmla="*/ 1816054 w 1881147"/>
                <a:gd name="connsiteY76" fmla="*/ 1456313 h 1694229"/>
                <a:gd name="connsiteX77" fmla="*/ 1874221 w 1881147"/>
                <a:gd name="connsiteY77" fmla="*/ 1479634 h 1694229"/>
                <a:gd name="connsiteX78" fmla="*/ 1875829 w 1881147"/>
                <a:gd name="connsiteY78" fmla="*/ 1457000 h 1694229"/>
                <a:gd name="connsiteX79" fmla="*/ 1875051 w 1881147"/>
                <a:gd name="connsiteY79" fmla="*/ 1396266 h 1694229"/>
                <a:gd name="connsiteX80" fmla="*/ 1853086 w 1881147"/>
                <a:gd name="connsiteY80" fmla="*/ 1306123 h 1694229"/>
                <a:gd name="connsiteX81" fmla="*/ 1853086 w 1881147"/>
                <a:gd name="connsiteY81" fmla="*/ 1248973 h 1694229"/>
                <a:gd name="connsiteX82" fmla="*/ 1810224 w 1881147"/>
                <a:gd name="connsiteY82" fmla="*/ 1239448 h 1694229"/>
                <a:gd name="connsiteX83" fmla="*/ 1734024 w 1881147"/>
                <a:gd name="connsiteY83" fmla="*/ 1158485 h 1694229"/>
                <a:gd name="connsiteX84" fmla="*/ 1695924 w 1881147"/>
                <a:gd name="connsiteY84" fmla="*/ 977510 h 1694229"/>
                <a:gd name="connsiteX85" fmla="*/ 1643536 w 1881147"/>
                <a:gd name="connsiteY85" fmla="*/ 944173 h 1694229"/>
                <a:gd name="connsiteX86" fmla="*/ 1605436 w 1881147"/>
                <a:gd name="connsiteY86" fmla="*/ 887023 h 1694229"/>
                <a:gd name="connsiteX87" fmla="*/ 1557811 w 1881147"/>
                <a:gd name="connsiteY87" fmla="*/ 839398 h 1694229"/>
                <a:gd name="connsiteX88" fmla="*/ 1505424 w 1881147"/>
                <a:gd name="connsiteY88" fmla="*/ 820348 h 1694229"/>
                <a:gd name="connsiteX89" fmla="*/ 1453036 w 1881147"/>
                <a:gd name="connsiteY89" fmla="*/ 815585 h 1694229"/>
                <a:gd name="connsiteX90" fmla="*/ 1510186 w 1881147"/>
                <a:gd name="connsiteY90" fmla="*/ 782248 h 1694229"/>
                <a:gd name="connsiteX91" fmla="*/ 1476849 w 1881147"/>
                <a:gd name="connsiteY91" fmla="*/ 748910 h 1694229"/>
                <a:gd name="connsiteX92" fmla="*/ 1481611 w 1881147"/>
                <a:gd name="connsiteY92" fmla="*/ 725098 h 1694229"/>
                <a:gd name="connsiteX93" fmla="*/ 1572099 w 1881147"/>
                <a:gd name="connsiteY93" fmla="*/ 763198 h 1694229"/>
                <a:gd name="connsiteX94" fmla="*/ 1624486 w 1881147"/>
                <a:gd name="connsiteY94" fmla="*/ 696523 h 1694229"/>
                <a:gd name="connsiteX95" fmla="*/ 1622283 w 1881147"/>
                <a:gd name="connsiteY95" fmla="*/ 553648 h 1694229"/>
                <a:gd name="connsiteX96" fmla="*/ 1639486 w 1881147"/>
                <a:gd name="connsiteY96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9738 w 1881147"/>
                <a:gd name="connsiteY13" fmla="*/ 346183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55759 w 1881147"/>
                <a:gd name="connsiteY16" fmla="*/ 376257 h 1694229"/>
                <a:gd name="connsiteX17" fmla="*/ 832776 w 1881147"/>
                <a:gd name="connsiteY17" fmla="*/ 440035 h 1694229"/>
                <a:gd name="connsiteX18" fmla="*/ 815693 w 1881147"/>
                <a:gd name="connsiteY18" fmla="*/ 475926 h 1694229"/>
                <a:gd name="connsiteX19" fmla="*/ 733662 w 1881147"/>
                <a:gd name="connsiteY19" fmla="*/ 494632 h 1694229"/>
                <a:gd name="connsiteX20" fmla="*/ 715850 w 1881147"/>
                <a:gd name="connsiteY20" fmla="*/ 440647 h 1694229"/>
                <a:gd name="connsiteX21" fmla="*/ 671986 w 1881147"/>
                <a:gd name="connsiteY21" fmla="*/ 420298 h 1694229"/>
                <a:gd name="connsiteX22" fmla="*/ 536670 w 1881147"/>
                <a:gd name="connsiteY22" fmla="*/ 420641 h 1694229"/>
                <a:gd name="connsiteX23" fmla="*/ 452793 w 1881147"/>
                <a:gd name="connsiteY23" fmla="*/ 447350 h 1694229"/>
                <a:gd name="connsiteX24" fmla="*/ 419574 w 1881147"/>
                <a:gd name="connsiteY24" fmla="*/ 420298 h 1694229"/>
                <a:gd name="connsiteX25" fmla="*/ 400524 w 1881147"/>
                <a:gd name="connsiteY25" fmla="*/ 358385 h 1694229"/>
                <a:gd name="connsiteX26" fmla="*/ 333849 w 1881147"/>
                <a:gd name="connsiteY26" fmla="*/ 305998 h 1694229"/>
                <a:gd name="connsiteX27" fmla="*/ 288664 w 1881147"/>
                <a:gd name="connsiteY27" fmla="*/ 229110 h 1694229"/>
                <a:gd name="connsiteX28" fmla="*/ 165314 w 1881147"/>
                <a:gd name="connsiteY28" fmla="*/ 258373 h 1694229"/>
                <a:gd name="connsiteX29" fmla="*/ 146264 w 1881147"/>
                <a:gd name="connsiteY29" fmla="*/ 344785 h 1694229"/>
                <a:gd name="connsiteX30" fmla="*/ 163704 w 1881147"/>
                <a:gd name="connsiteY30" fmla="*/ 411312 h 1694229"/>
                <a:gd name="connsiteX31" fmla="*/ 136265 w 1881147"/>
                <a:gd name="connsiteY31" fmla="*/ 446172 h 1694229"/>
                <a:gd name="connsiteX32" fmla="*/ 83877 w 1881147"/>
                <a:gd name="connsiteY32" fmla="*/ 474059 h 1694229"/>
                <a:gd name="connsiteX33" fmla="*/ 33811 w 1881147"/>
                <a:gd name="connsiteY33" fmla="*/ 448873 h 1694229"/>
                <a:gd name="connsiteX34" fmla="*/ 33811 w 1881147"/>
                <a:gd name="connsiteY34" fmla="*/ 520310 h 1694229"/>
                <a:gd name="connsiteX35" fmla="*/ 474 w 1881147"/>
                <a:gd name="connsiteY35" fmla="*/ 625085 h 1694229"/>
                <a:gd name="connsiteX36" fmla="*/ 62386 w 1881147"/>
                <a:gd name="connsiteY36" fmla="*/ 701285 h 1694229"/>
                <a:gd name="connsiteX37" fmla="*/ 111977 w 1881147"/>
                <a:gd name="connsiteY37" fmla="*/ 681547 h 1694229"/>
                <a:gd name="connsiteX38" fmla="*/ 112334 w 1881147"/>
                <a:gd name="connsiteY38" fmla="*/ 751806 h 1694229"/>
                <a:gd name="connsiteX39" fmla="*/ 167161 w 1881147"/>
                <a:gd name="connsiteY39" fmla="*/ 782248 h 1694229"/>
                <a:gd name="connsiteX40" fmla="*/ 236159 w 1881147"/>
                <a:gd name="connsiteY40" fmla="*/ 792460 h 1694229"/>
                <a:gd name="connsiteX41" fmla="*/ 271462 w 1881147"/>
                <a:gd name="connsiteY41" fmla="*/ 848431 h 1694229"/>
                <a:gd name="connsiteX42" fmla="*/ 270869 w 1881147"/>
                <a:gd name="connsiteY42" fmla="*/ 893503 h 1694229"/>
                <a:gd name="connsiteX43" fmla="*/ 295393 w 1881147"/>
                <a:gd name="connsiteY43" fmla="*/ 932978 h 1694229"/>
                <a:gd name="connsiteX44" fmla="*/ 341051 w 1881147"/>
                <a:gd name="connsiteY44" fmla="*/ 971570 h 1694229"/>
                <a:gd name="connsiteX45" fmla="*/ 426184 w 1881147"/>
                <a:gd name="connsiteY45" fmla="*/ 1025822 h 1694229"/>
                <a:gd name="connsiteX46" fmla="*/ 461961 w 1881147"/>
                <a:gd name="connsiteY46" fmla="*/ 1096915 h 1694229"/>
                <a:gd name="connsiteX47" fmla="*/ 441064 w 1881147"/>
                <a:gd name="connsiteY47" fmla="*/ 1166488 h 1694229"/>
                <a:gd name="connsiteX48" fmla="*/ 519111 w 1881147"/>
                <a:gd name="connsiteY48" fmla="*/ 1222951 h 1694229"/>
                <a:gd name="connsiteX49" fmla="*/ 591143 w 1881147"/>
                <a:gd name="connsiteY49" fmla="*/ 1255945 h 1694229"/>
                <a:gd name="connsiteX50" fmla="*/ 571974 w 1881147"/>
                <a:gd name="connsiteY50" fmla="*/ 1315648 h 1694229"/>
                <a:gd name="connsiteX51" fmla="*/ 662461 w 1881147"/>
                <a:gd name="connsiteY51" fmla="*/ 1468048 h 1694229"/>
                <a:gd name="connsiteX52" fmla="*/ 755271 w 1881147"/>
                <a:gd name="connsiteY52" fmla="*/ 1541202 h 1694229"/>
                <a:gd name="connsiteX53" fmla="*/ 805336 w 1881147"/>
                <a:gd name="connsiteY53" fmla="*/ 1491860 h 1694229"/>
                <a:gd name="connsiteX54" fmla="*/ 869926 w 1881147"/>
                <a:gd name="connsiteY54" fmla="*/ 1519257 h 1694229"/>
                <a:gd name="connsiteX55" fmla="*/ 924399 w 1881147"/>
                <a:gd name="connsiteY55" fmla="*/ 1487098 h 1694229"/>
                <a:gd name="connsiteX56" fmla="*/ 941246 w 1881147"/>
                <a:gd name="connsiteY56" fmla="*/ 1444922 h 1694229"/>
                <a:gd name="connsiteX57" fmla="*/ 1005123 w 1881147"/>
                <a:gd name="connsiteY57" fmla="*/ 1531334 h 1694229"/>
                <a:gd name="connsiteX58" fmla="*/ 1050190 w 1881147"/>
                <a:gd name="connsiteY58" fmla="*/ 1602428 h 1694229"/>
                <a:gd name="connsiteX59" fmla="*/ 1120136 w 1881147"/>
                <a:gd name="connsiteY59" fmla="*/ 1693947 h 1694229"/>
                <a:gd name="connsiteX60" fmla="*/ 1151034 w 1881147"/>
                <a:gd name="connsiteY60" fmla="*/ 1630856 h 1694229"/>
                <a:gd name="connsiteX61" fmla="*/ 1181693 w 1881147"/>
                <a:gd name="connsiteY61" fmla="*/ 1624376 h 1694229"/>
                <a:gd name="connsiteX62" fmla="*/ 1224792 w 1881147"/>
                <a:gd name="connsiteY62" fmla="*/ 1653639 h 1694229"/>
                <a:gd name="connsiteX63" fmla="*/ 1258367 w 1881147"/>
                <a:gd name="connsiteY63" fmla="*/ 1612985 h 1694229"/>
                <a:gd name="connsiteX64" fmla="*/ 1277188 w 1881147"/>
                <a:gd name="connsiteY64" fmla="*/ 1617602 h 1694229"/>
                <a:gd name="connsiteX65" fmla="*/ 1311230 w 1881147"/>
                <a:gd name="connsiteY65" fmla="*/ 1684079 h 1694229"/>
                <a:gd name="connsiteX66" fmla="*/ 1367786 w 1881147"/>
                <a:gd name="connsiteY66" fmla="*/ 1660610 h 1694229"/>
                <a:gd name="connsiteX67" fmla="*/ 1419818 w 1881147"/>
                <a:gd name="connsiteY67" fmla="*/ 1604489 h 1694229"/>
                <a:gd name="connsiteX68" fmla="*/ 1470595 w 1881147"/>
                <a:gd name="connsiteY68" fmla="*/ 1587946 h 1694229"/>
                <a:gd name="connsiteX69" fmla="*/ 1488274 w 1881147"/>
                <a:gd name="connsiteY69" fmla="*/ 1643768 h 1694229"/>
                <a:gd name="connsiteX70" fmla="*/ 1558169 w 1881147"/>
                <a:gd name="connsiteY70" fmla="*/ 1618090 h 1694229"/>
                <a:gd name="connsiteX71" fmla="*/ 1588947 w 1881147"/>
                <a:gd name="connsiteY71" fmla="*/ 1531334 h 1694229"/>
                <a:gd name="connsiteX72" fmla="*/ 1670383 w 1881147"/>
                <a:gd name="connsiteY72" fmla="*/ 1441192 h 1694229"/>
                <a:gd name="connsiteX73" fmla="*/ 1714974 w 1881147"/>
                <a:gd name="connsiteY73" fmla="*/ 1410062 h 1694229"/>
                <a:gd name="connsiteX74" fmla="*/ 1743343 w 1881147"/>
                <a:gd name="connsiteY74" fmla="*/ 1413357 h 1694229"/>
                <a:gd name="connsiteX75" fmla="*/ 1820935 w 1881147"/>
                <a:gd name="connsiteY75" fmla="*/ 1402749 h 1694229"/>
                <a:gd name="connsiteX76" fmla="*/ 1816054 w 1881147"/>
                <a:gd name="connsiteY76" fmla="*/ 1456313 h 1694229"/>
                <a:gd name="connsiteX77" fmla="*/ 1874221 w 1881147"/>
                <a:gd name="connsiteY77" fmla="*/ 1479634 h 1694229"/>
                <a:gd name="connsiteX78" fmla="*/ 1875829 w 1881147"/>
                <a:gd name="connsiteY78" fmla="*/ 1457000 h 1694229"/>
                <a:gd name="connsiteX79" fmla="*/ 1875051 w 1881147"/>
                <a:gd name="connsiteY79" fmla="*/ 1396266 h 1694229"/>
                <a:gd name="connsiteX80" fmla="*/ 1853086 w 1881147"/>
                <a:gd name="connsiteY80" fmla="*/ 1306123 h 1694229"/>
                <a:gd name="connsiteX81" fmla="*/ 1853086 w 1881147"/>
                <a:gd name="connsiteY81" fmla="*/ 1248973 h 1694229"/>
                <a:gd name="connsiteX82" fmla="*/ 1810224 w 1881147"/>
                <a:gd name="connsiteY82" fmla="*/ 1239448 h 1694229"/>
                <a:gd name="connsiteX83" fmla="*/ 1734024 w 1881147"/>
                <a:gd name="connsiteY83" fmla="*/ 1158485 h 1694229"/>
                <a:gd name="connsiteX84" fmla="*/ 1695924 w 1881147"/>
                <a:gd name="connsiteY84" fmla="*/ 977510 h 1694229"/>
                <a:gd name="connsiteX85" fmla="*/ 1643536 w 1881147"/>
                <a:gd name="connsiteY85" fmla="*/ 944173 h 1694229"/>
                <a:gd name="connsiteX86" fmla="*/ 1605436 w 1881147"/>
                <a:gd name="connsiteY86" fmla="*/ 887023 h 1694229"/>
                <a:gd name="connsiteX87" fmla="*/ 1557811 w 1881147"/>
                <a:gd name="connsiteY87" fmla="*/ 839398 h 1694229"/>
                <a:gd name="connsiteX88" fmla="*/ 1505424 w 1881147"/>
                <a:gd name="connsiteY88" fmla="*/ 820348 h 1694229"/>
                <a:gd name="connsiteX89" fmla="*/ 1453036 w 1881147"/>
                <a:gd name="connsiteY89" fmla="*/ 815585 h 1694229"/>
                <a:gd name="connsiteX90" fmla="*/ 1510186 w 1881147"/>
                <a:gd name="connsiteY90" fmla="*/ 782248 h 1694229"/>
                <a:gd name="connsiteX91" fmla="*/ 1476849 w 1881147"/>
                <a:gd name="connsiteY91" fmla="*/ 748910 h 1694229"/>
                <a:gd name="connsiteX92" fmla="*/ 1481611 w 1881147"/>
                <a:gd name="connsiteY92" fmla="*/ 725098 h 1694229"/>
                <a:gd name="connsiteX93" fmla="*/ 1572099 w 1881147"/>
                <a:gd name="connsiteY93" fmla="*/ 763198 h 1694229"/>
                <a:gd name="connsiteX94" fmla="*/ 1624486 w 1881147"/>
                <a:gd name="connsiteY94" fmla="*/ 696523 h 1694229"/>
                <a:gd name="connsiteX95" fmla="*/ 1622283 w 1881147"/>
                <a:gd name="connsiteY95" fmla="*/ 553648 h 1694229"/>
                <a:gd name="connsiteX96" fmla="*/ 1639486 w 1881147"/>
                <a:gd name="connsiteY96" fmla="*/ 405322 h 1694229"/>
                <a:gd name="connsiteX0" fmla="*/ 1639538 w 1881199"/>
                <a:gd name="connsiteY0" fmla="*/ 405322 h 1694229"/>
                <a:gd name="connsiteX1" fmla="*/ 1567388 w 1881199"/>
                <a:gd name="connsiteY1" fmla="*/ 372673 h 1694229"/>
                <a:gd name="connsiteX2" fmla="*/ 1477139 w 1881199"/>
                <a:gd name="connsiteY2" fmla="*/ 348860 h 1694229"/>
                <a:gd name="connsiteX3" fmla="*/ 1423819 w 1881199"/>
                <a:gd name="connsiteY3" fmla="*/ 271776 h 1694229"/>
                <a:gd name="connsiteX4" fmla="*/ 1400718 w 1881199"/>
                <a:gd name="connsiteY4" fmla="*/ 169931 h 1694229"/>
                <a:gd name="connsiteX5" fmla="*/ 1364821 w 1881199"/>
                <a:gd name="connsiteY5" fmla="*/ 1869 h 1694229"/>
                <a:gd name="connsiteX6" fmla="*/ 1297452 w 1881199"/>
                <a:gd name="connsiteY6" fmla="*/ 43567 h 1694229"/>
                <a:gd name="connsiteX7" fmla="*/ 1291884 w 1881199"/>
                <a:gd name="connsiteY7" fmla="*/ 101090 h 1694229"/>
                <a:gd name="connsiteX8" fmla="*/ 1275979 w 1881199"/>
                <a:gd name="connsiteY8" fmla="*/ 152303 h 1694229"/>
                <a:gd name="connsiteX9" fmla="*/ 1256454 w 1881199"/>
                <a:gd name="connsiteY9" fmla="*/ 204316 h 1694229"/>
                <a:gd name="connsiteX10" fmla="*/ 1254725 w 1881199"/>
                <a:gd name="connsiteY10" fmla="*/ 273739 h 1694229"/>
                <a:gd name="connsiteX11" fmla="*/ 1181744 w 1881199"/>
                <a:gd name="connsiteY11" fmla="*/ 283903 h 1694229"/>
                <a:gd name="connsiteX12" fmla="*/ 1117391 w 1881199"/>
                <a:gd name="connsiteY12" fmla="*/ 285917 h 1694229"/>
                <a:gd name="connsiteX13" fmla="*/ 1069790 w 1881199"/>
                <a:gd name="connsiteY13" fmla="*/ 346183 h 1694229"/>
                <a:gd name="connsiteX14" fmla="*/ 1015175 w 1881199"/>
                <a:gd name="connsiteY14" fmla="*/ 371690 h 1694229"/>
                <a:gd name="connsiteX15" fmla="*/ 962551 w 1881199"/>
                <a:gd name="connsiteY15" fmla="*/ 358385 h 1694229"/>
                <a:gd name="connsiteX16" fmla="*/ 855811 w 1881199"/>
                <a:gd name="connsiteY16" fmla="*/ 376257 h 1694229"/>
                <a:gd name="connsiteX17" fmla="*/ 832828 w 1881199"/>
                <a:gd name="connsiteY17" fmla="*/ 440035 h 1694229"/>
                <a:gd name="connsiteX18" fmla="*/ 815745 w 1881199"/>
                <a:gd name="connsiteY18" fmla="*/ 475926 h 1694229"/>
                <a:gd name="connsiteX19" fmla="*/ 733714 w 1881199"/>
                <a:gd name="connsiteY19" fmla="*/ 494632 h 1694229"/>
                <a:gd name="connsiteX20" fmla="*/ 715902 w 1881199"/>
                <a:gd name="connsiteY20" fmla="*/ 440647 h 1694229"/>
                <a:gd name="connsiteX21" fmla="*/ 672038 w 1881199"/>
                <a:gd name="connsiteY21" fmla="*/ 420298 h 1694229"/>
                <a:gd name="connsiteX22" fmla="*/ 536722 w 1881199"/>
                <a:gd name="connsiteY22" fmla="*/ 420641 h 1694229"/>
                <a:gd name="connsiteX23" fmla="*/ 452845 w 1881199"/>
                <a:gd name="connsiteY23" fmla="*/ 447350 h 1694229"/>
                <a:gd name="connsiteX24" fmla="*/ 419626 w 1881199"/>
                <a:gd name="connsiteY24" fmla="*/ 420298 h 1694229"/>
                <a:gd name="connsiteX25" fmla="*/ 400576 w 1881199"/>
                <a:gd name="connsiteY25" fmla="*/ 358385 h 1694229"/>
                <a:gd name="connsiteX26" fmla="*/ 333901 w 1881199"/>
                <a:gd name="connsiteY26" fmla="*/ 305998 h 1694229"/>
                <a:gd name="connsiteX27" fmla="*/ 288716 w 1881199"/>
                <a:gd name="connsiteY27" fmla="*/ 229110 h 1694229"/>
                <a:gd name="connsiteX28" fmla="*/ 165366 w 1881199"/>
                <a:gd name="connsiteY28" fmla="*/ 258373 h 1694229"/>
                <a:gd name="connsiteX29" fmla="*/ 146316 w 1881199"/>
                <a:gd name="connsiteY29" fmla="*/ 344785 h 1694229"/>
                <a:gd name="connsiteX30" fmla="*/ 163756 w 1881199"/>
                <a:gd name="connsiteY30" fmla="*/ 411312 h 1694229"/>
                <a:gd name="connsiteX31" fmla="*/ 136317 w 1881199"/>
                <a:gd name="connsiteY31" fmla="*/ 446172 h 1694229"/>
                <a:gd name="connsiteX32" fmla="*/ 83929 w 1881199"/>
                <a:gd name="connsiteY32" fmla="*/ 474059 h 1694229"/>
                <a:gd name="connsiteX33" fmla="*/ 55828 w 1881199"/>
                <a:gd name="connsiteY33" fmla="*/ 482063 h 1694229"/>
                <a:gd name="connsiteX34" fmla="*/ 33863 w 1881199"/>
                <a:gd name="connsiteY34" fmla="*/ 520310 h 1694229"/>
                <a:gd name="connsiteX35" fmla="*/ 526 w 1881199"/>
                <a:gd name="connsiteY35" fmla="*/ 625085 h 1694229"/>
                <a:gd name="connsiteX36" fmla="*/ 62438 w 1881199"/>
                <a:gd name="connsiteY36" fmla="*/ 701285 h 1694229"/>
                <a:gd name="connsiteX37" fmla="*/ 112029 w 1881199"/>
                <a:gd name="connsiteY37" fmla="*/ 681547 h 1694229"/>
                <a:gd name="connsiteX38" fmla="*/ 112386 w 1881199"/>
                <a:gd name="connsiteY38" fmla="*/ 751806 h 1694229"/>
                <a:gd name="connsiteX39" fmla="*/ 167213 w 1881199"/>
                <a:gd name="connsiteY39" fmla="*/ 782248 h 1694229"/>
                <a:gd name="connsiteX40" fmla="*/ 236211 w 1881199"/>
                <a:gd name="connsiteY40" fmla="*/ 792460 h 1694229"/>
                <a:gd name="connsiteX41" fmla="*/ 271514 w 1881199"/>
                <a:gd name="connsiteY41" fmla="*/ 848431 h 1694229"/>
                <a:gd name="connsiteX42" fmla="*/ 270921 w 1881199"/>
                <a:gd name="connsiteY42" fmla="*/ 893503 h 1694229"/>
                <a:gd name="connsiteX43" fmla="*/ 295445 w 1881199"/>
                <a:gd name="connsiteY43" fmla="*/ 932978 h 1694229"/>
                <a:gd name="connsiteX44" fmla="*/ 341103 w 1881199"/>
                <a:gd name="connsiteY44" fmla="*/ 971570 h 1694229"/>
                <a:gd name="connsiteX45" fmla="*/ 426236 w 1881199"/>
                <a:gd name="connsiteY45" fmla="*/ 1025822 h 1694229"/>
                <a:gd name="connsiteX46" fmla="*/ 462013 w 1881199"/>
                <a:gd name="connsiteY46" fmla="*/ 1096915 h 1694229"/>
                <a:gd name="connsiteX47" fmla="*/ 441116 w 1881199"/>
                <a:gd name="connsiteY47" fmla="*/ 1166488 h 1694229"/>
                <a:gd name="connsiteX48" fmla="*/ 519163 w 1881199"/>
                <a:gd name="connsiteY48" fmla="*/ 1222951 h 1694229"/>
                <a:gd name="connsiteX49" fmla="*/ 591195 w 1881199"/>
                <a:gd name="connsiteY49" fmla="*/ 1255945 h 1694229"/>
                <a:gd name="connsiteX50" fmla="*/ 572026 w 1881199"/>
                <a:gd name="connsiteY50" fmla="*/ 1315648 h 1694229"/>
                <a:gd name="connsiteX51" fmla="*/ 662513 w 1881199"/>
                <a:gd name="connsiteY51" fmla="*/ 1468048 h 1694229"/>
                <a:gd name="connsiteX52" fmla="*/ 755323 w 1881199"/>
                <a:gd name="connsiteY52" fmla="*/ 1541202 h 1694229"/>
                <a:gd name="connsiteX53" fmla="*/ 805388 w 1881199"/>
                <a:gd name="connsiteY53" fmla="*/ 1491860 h 1694229"/>
                <a:gd name="connsiteX54" fmla="*/ 869978 w 1881199"/>
                <a:gd name="connsiteY54" fmla="*/ 1519257 h 1694229"/>
                <a:gd name="connsiteX55" fmla="*/ 924451 w 1881199"/>
                <a:gd name="connsiteY55" fmla="*/ 1487098 h 1694229"/>
                <a:gd name="connsiteX56" fmla="*/ 941298 w 1881199"/>
                <a:gd name="connsiteY56" fmla="*/ 1444922 h 1694229"/>
                <a:gd name="connsiteX57" fmla="*/ 1005175 w 1881199"/>
                <a:gd name="connsiteY57" fmla="*/ 1531334 h 1694229"/>
                <a:gd name="connsiteX58" fmla="*/ 1050242 w 1881199"/>
                <a:gd name="connsiteY58" fmla="*/ 1602428 h 1694229"/>
                <a:gd name="connsiteX59" fmla="*/ 1120188 w 1881199"/>
                <a:gd name="connsiteY59" fmla="*/ 1693947 h 1694229"/>
                <a:gd name="connsiteX60" fmla="*/ 1151086 w 1881199"/>
                <a:gd name="connsiteY60" fmla="*/ 1630856 h 1694229"/>
                <a:gd name="connsiteX61" fmla="*/ 1181745 w 1881199"/>
                <a:gd name="connsiteY61" fmla="*/ 1624376 h 1694229"/>
                <a:gd name="connsiteX62" fmla="*/ 1224844 w 1881199"/>
                <a:gd name="connsiteY62" fmla="*/ 1653639 h 1694229"/>
                <a:gd name="connsiteX63" fmla="*/ 1258419 w 1881199"/>
                <a:gd name="connsiteY63" fmla="*/ 1612985 h 1694229"/>
                <a:gd name="connsiteX64" fmla="*/ 1277240 w 1881199"/>
                <a:gd name="connsiteY64" fmla="*/ 1617602 h 1694229"/>
                <a:gd name="connsiteX65" fmla="*/ 1311282 w 1881199"/>
                <a:gd name="connsiteY65" fmla="*/ 1684079 h 1694229"/>
                <a:gd name="connsiteX66" fmla="*/ 1367838 w 1881199"/>
                <a:gd name="connsiteY66" fmla="*/ 1660610 h 1694229"/>
                <a:gd name="connsiteX67" fmla="*/ 1419870 w 1881199"/>
                <a:gd name="connsiteY67" fmla="*/ 1604489 h 1694229"/>
                <a:gd name="connsiteX68" fmla="*/ 1470647 w 1881199"/>
                <a:gd name="connsiteY68" fmla="*/ 1587946 h 1694229"/>
                <a:gd name="connsiteX69" fmla="*/ 1488326 w 1881199"/>
                <a:gd name="connsiteY69" fmla="*/ 1643768 h 1694229"/>
                <a:gd name="connsiteX70" fmla="*/ 1558221 w 1881199"/>
                <a:gd name="connsiteY70" fmla="*/ 1618090 h 1694229"/>
                <a:gd name="connsiteX71" fmla="*/ 1588999 w 1881199"/>
                <a:gd name="connsiteY71" fmla="*/ 1531334 h 1694229"/>
                <a:gd name="connsiteX72" fmla="*/ 1670435 w 1881199"/>
                <a:gd name="connsiteY72" fmla="*/ 1441192 h 1694229"/>
                <a:gd name="connsiteX73" fmla="*/ 1715026 w 1881199"/>
                <a:gd name="connsiteY73" fmla="*/ 1410062 h 1694229"/>
                <a:gd name="connsiteX74" fmla="*/ 1743395 w 1881199"/>
                <a:gd name="connsiteY74" fmla="*/ 1413357 h 1694229"/>
                <a:gd name="connsiteX75" fmla="*/ 1820987 w 1881199"/>
                <a:gd name="connsiteY75" fmla="*/ 1402749 h 1694229"/>
                <a:gd name="connsiteX76" fmla="*/ 1816106 w 1881199"/>
                <a:gd name="connsiteY76" fmla="*/ 1456313 h 1694229"/>
                <a:gd name="connsiteX77" fmla="*/ 1874273 w 1881199"/>
                <a:gd name="connsiteY77" fmla="*/ 1479634 h 1694229"/>
                <a:gd name="connsiteX78" fmla="*/ 1875881 w 1881199"/>
                <a:gd name="connsiteY78" fmla="*/ 1457000 h 1694229"/>
                <a:gd name="connsiteX79" fmla="*/ 1875103 w 1881199"/>
                <a:gd name="connsiteY79" fmla="*/ 1396266 h 1694229"/>
                <a:gd name="connsiteX80" fmla="*/ 1853138 w 1881199"/>
                <a:gd name="connsiteY80" fmla="*/ 1306123 h 1694229"/>
                <a:gd name="connsiteX81" fmla="*/ 1853138 w 1881199"/>
                <a:gd name="connsiteY81" fmla="*/ 1248973 h 1694229"/>
                <a:gd name="connsiteX82" fmla="*/ 1810276 w 1881199"/>
                <a:gd name="connsiteY82" fmla="*/ 1239448 h 1694229"/>
                <a:gd name="connsiteX83" fmla="*/ 1734076 w 1881199"/>
                <a:gd name="connsiteY83" fmla="*/ 1158485 h 1694229"/>
                <a:gd name="connsiteX84" fmla="*/ 1695976 w 1881199"/>
                <a:gd name="connsiteY84" fmla="*/ 977510 h 1694229"/>
                <a:gd name="connsiteX85" fmla="*/ 1643588 w 1881199"/>
                <a:gd name="connsiteY85" fmla="*/ 944173 h 1694229"/>
                <a:gd name="connsiteX86" fmla="*/ 1605488 w 1881199"/>
                <a:gd name="connsiteY86" fmla="*/ 887023 h 1694229"/>
                <a:gd name="connsiteX87" fmla="*/ 1557863 w 1881199"/>
                <a:gd name="connsiteY87" fmla="*/ 839398 h 1694229"/>
                <a:gd name="connsiteX88" fmla="*/ 1505476 w 1881199"/>
                <a:gd name="connsiteY88" fmla="*/ 820348 h 1694229"/>
                <a:gd name="connsiteX89" fmla="*/ 1453088 w 1881199"/>
                <a:gd name="connsiteY89" fmla="*/ 815585 h 1694229"/>
                <a:gd name="connsiteX90" fmla="*/ 1510238 w 1881199"/>
                <a:gd name="connsiteY90" fmla="*/ 782248 h 1694229"/>
                <a:gd name="connsiteX91" fmla="*/ 1476901 w 1881199"/>
                <a:gd name="connsiteY91" fmla="*/ 748910 h 1694229"/>
                <a:gd name="connsiteX92" fmla="*/ 1481663 w 1881199"/>
                <a:gd name="connsiteY92" fmla="*/ 725098 h 1694229"/>
                <a:gd name="connsiteX93" fmla="*/ 1572151 w 1881199"/>
                <a:gd name="connsiteY93" fmla="*/ 763198 h 1694229"/>
                <a:gd name="connsiteX94" fmla="*/ 1624538 w 1881199"/>
                <a:gd name="connsiteY94" fmla="*/ 696523 h 1694229"/>
                <a:gd name="connsiteX95" fmla="*/ 1622335 w 1881199"/>
                <a:gd name="connsiteY95" fmla="*/ 553648 h 1694229"/>
                <a:gd name="connsiteX96" fmla="*/ 1639538 w 1881199"/>
                <a:gd name="connsiteY96" fmla="*/ 405322 h 1694229"/>
                <a:gd name="connsiteX0" fmla="*/ 1620540 w 1862201"/>
                <a:gd name="connsiteY0" fmla="*/ 405322 h 1694229"/>
                <a:gd name="connsiteX1" fmla="*/ 1548390 w 1862201"/>
                <a:gd name="connsiteY1" fmla="*/ 372673 h 1694229"/>
                <a:gd name="connsiteX2" fmla="*/ 1458141 w 1862201"/>
                <a:gd name="connsiteY2" fmla="*/ 348860 h 1694229"/>
                <a:gd name="connsiteX3" fmla="*/ 1404821 w 1862201"/>
                <a:gd name="connsiteY3" fmla="*/ 271776 h 1694229"/>
                <a:gd name="connsiteX4" fmla="*/ 1381720 w 1862201"/>
                <a:gd name="connsiteY4" fmla="*/ 169931 h 1694229"/>
                <a:gd name="connsiteX5" fmla="*/ 1345823 w 1862201"/>
                <a:gd name="connsiteY5" fmla="*/ 1869 h 1694229"/>
                <a:gd name="connsiteX6" fmla="*/ 1278454 w 1862201"/>
                <a:gd name="connsiteY6" fmla="*/ 43567 h 1694229"/>
                <a:gd name="connsiteX7" fmla="*/ 1272886 w 1862201"/>
                <a:gd name="connsiteY7" fmla="*/ 101090 h 1694229"/>
                <a:gd name="connsiteX8" fmla="*/ 1256981 w 1862201"/>
                <a:gd name="connsiteY8" fmla="*/ 152303 h 1694229"/>
                <a:gd name="connsiteX9" fmla="*/ 1237456 w 1862201"/>
                <a:gd name="connsiteY9" fmla="*/ 204316 h 1694229"/>
                <a:gd name="connsiteX10" fmla="*/ 1235727 w 1862201"/>
                <a:gd name="connsiteY10" fmla="*/ 273739 h 1694229"/>
                <a:gd name="connsiteX11" fmla="*/ 1162746 w 1862201"/>
                <a:gd name="connsiteY11" fmla="*/ 283903 h 1694229"/>
                <a:gd name="connsiteX12" fmla="*/ 1098393 w 1862201"/>
                <a:gd name="connsiteY12" fmla="*/ 285917 h 1694229"/>
                <a:gd name="connsiteX13" fmla="*/ 1050792 w 1862201"/>
                <a:gd name="connsiteY13" fmla="*/ 346183 h 1694229"/>
                <a:gd name="connsiteX14" fmla="*/ 996177 w 1862201"/>
                <a:gd name="connsiteY14" fmla="*/ 371690 h 1694229"/>
                <a:gd name="connsiteX15" fmla="*/ 943553 w 1862201"/>
                <a:gd name="connsiteY15" fmla="*/ 358385 h 1694229"/>
                <a:gd name="connsiteX16" fmla="*/ 836813 w 1862201"/>
                <a:gd name="connsiteY16" fmla="*/ 376257 h 1694229"/>
                <a:gd name="connsiteX17" fmla="*/ 813830 w 1862201"/>
                <a:gd name="connsiteY17" fmla="*/ 440035 h 1694229"/>
                <a:gd name="connsiteX18" fmla="*/ 796747 w 1862201"/>
                <a:gd name="connsiteY18" fmla="*/ 475926 h 1694229"/>
                <a:gd name="connsiteX19" fmla="*/ 714716 w 1862201"/>
                <a:gd name="connsiteY19" fmla="*/ 494632 h 1694229"/>
                <a:gd name="connsiteX20" fmla="*/ 696904 w 1862201"/>
                <a:gd name="connsiteY20" fmla="*/ 440647 h 1694229"/>
                <a:gd name="connsiteX21" fmla="*/ 653040 w 1862201"/>
                <a:gd name="connsiteY21" fmla="*/ 420298 h 1694229"/>
                <a:gd name="connsiteX22" fmla="*/ 517724 w 1862201"/>
                <a:gd name="connsiteY22" fmla="*/ 420641 h 1694229"/>
                <a:gd name="connsiteX23" fmla="*/ 433847 w 1862201"/>
                <a:gd name="connsiteY23" fmla="*/ 447350 h 1694229"/>
                <a:gd name="connsiteX24" fmla="*/ 400628 w 1862201"/>
                <a:gd name="connsiteY24" fmla="*/ 420298 h 1694229"/>
                <a:gd name="connsiteX25" fmla="*/ 381578 w 1862201"/>
                <a:gd name="connsiteY25" fmla="*/ 358385 h 1694229"/>
                <a:gd name="connsiteX26" fmla="*/ 314903 w 1862201"/>
                <a:gd name="connsiteY26" fmla="*/ 305998 h 1694229"/>
                <a:gd name="connsiteX27" fmla="*/ 269718 w 1862201"/>
                <a:gd name="connsiteY27" fmla="*/ 229110 h 1694229"/>
                <a:gd name="connsiteX28" fmla="*/ 146368 w 1862201"/>
                <a:gd name="connsiteY28" fmla="*/ 258373 h 1694229"/>
                <a:gd name="connsiteX29" fmla="*/ 127318 w 1862201"/>
                <a:gd name="connsiteY29" fmla="*/ 344785 h 1694229"/>
                <a:gd name="connsiteX30" fmla="*/ 144758 w 1862201"/>
                <a:gd name="connsiteY30" fmla="*/ 411312 h 1694229"/>
                <a:gd name="connsiteX31" fmla="*/ 117319 w 1862201"/>
                <a:gd name="connsiteY31" fmla="*/ 446172 h 1694229"/>
                <a:gd name="connsiteX32" fmla="*/ 64931 w 1862201"/>
                <a:gd name="connsiteY32" fmla="*/ 474059 h 1694229"/>
                <a:gd name="connsiteX33" fmla="*/ 36830 w 1862201"/>
                <a:gd name="connsiteY33" fmla="*/ 482063 h 1694229"/>
                <a:gd name="connsiteX34" fmla="*/ 14865 w 1862201"/>
                <a:gd name="connsiteY34" fmla="*/ 520310 h 1694229"/>
                <a:gd name="connsiteX35" fmla="*/ 1053 w 1862201"/>
                <a:gd name="connsiteY35" fmla="*/ 632745 h 1694229"/>
                <a:gd name="connsiteX36" fmla="*/ 43440 w 1862201"/>
                <a:gd name="connsiteY36" fmla="*/ 701285 h 1694229"/>
                <a:gd name="connsiteX37" fmla="*/ 93031 w 1862201"/>
                <a:gd name="connsiteY37" fmla="*/ 681547 h 1694229"/>
                <a:gd name="connsiteX38" fmla="*/ 93388 w 1862201"/>
                <a:gd name="connsiteY38" fmla="*/ 751806 h 1694229"/>
                <a:gd name="connsiteX39" fmla="*/ 148215 w 1862201"/>
                <a:gd name="connsiteY39" fmla="*/ 782248 h 1694229"/>
                <a:gd name="connsiteX40" fmla="*/ 217213 w 1862201"/>
                <a:gd name="connsiteY40" fmla="*/ 792460 h 1694229"/>
                <a:gd name="connsiteX41" fmla="*/ 252516 w 1862201"/>
                <a:gd name="connsiteY41" fmla="*/ 848431 h 1694229"/>
                <a:gd name="connsiteX42" fmla="*/ 251923 w 1862201"/>
                <a:gd name="connsiteY42" fmla="*/ 893503 h 1694229"/>
                <a:gd name="connsiteX43" fmla="*/ 276447 w 1862201"/>
                <a:gd name="connsiteY43" fmla="*/ 932978 h 1694229"/>
                <a:gd name="connsiteX44" fmla="*/ 322105 w 1862201"/>
                <a:gd name="connsiteY44" fmla="*/ 971570 h 1694229"/>
                <a:gd name="connsiteX45" fmla="*/ 407238 w 1862201"/>
                <a:gd name="connsiteY45" fmla="*/ 1025822 h 1694229"/>
                <a:gd name="connsiteX46" fmla="*/ 443015 w 1862201"/>
                <a:gd name="connsiteY46" fmla="*/ 1096915 h 1694229"/>
                <a:gd name="connsiteX47" fmla="*/ 422118 w 1862201"/>
                <a:gd name="connsiteY47" fmla="*/ 1166488 h 1694229"/>
                <a:gd name="connsiteX48" fmla="*/ 500165 w 1862201"/>
                <a:gd name="connsiteY48" fmla="*/ 1222951 h 1694229"/>
                <a:gd name="connsiteX49" fmla="*/ 572197 w 1862201"/>
                <a:gd name="connsiteY49" fmla="*/ 1255945 h 1694229"/>
                <a:gd name="connsiteX50" fmla="*/ 553028 w 1862201"/>
                <a:gd name="connsiteY50" fmla="*/ 1315648 h 1694229"/>
                <a:gd name="connsiteX51" fmla="*/ 643515 w 1862201"/>
                <a:gd name="connsiteY51" fmla="*/ 1468048 h 1694229"/>
                <a:gd name="connsiteX52" fmla="*/ 736325 w 1862201"/>
                <a:gd name="connsiteY52" fmla="*/ 1541202 h 1694229"/>
                <a:gd name="connsiteX53" fmla="*/ 786390 w 1862201"/>
                <a:gd name="connsiteY53" fmla="*/ 1491860 h 1694229"/>
                <a:gd name="connsiteX54" fmla="*/ 850980 w 1862201"/>
                <a:gd name="connsiteY54" fmla="*/ 1519257 h 1694229"/>
                <a:gd name="connsiteX55" fmla="*/ 905453 w 1862201"/>
                <a:gd name="connsiteY55" fmla="*/ 1487098 h 1694229"/>
                <a:gd name="connsiteX56" fmla="*/ 922300 w 1862201"/>
                <a:gd name="connsiteY56" fmla="*/ 1444922 h 1694229"/>
                <a:gd name="connsiteX57" fmla="*/ 986177 w 1862201"/>
                <a:gd name="connsiteY57" fmla="*/ 1531334 h 1694229"/>
                <a:gd name="connsiteX58" fmla="*/ 1031244 w 1862201"/>
                <a:gd name="connsiteY58" fmla="*/ 1602428 h 1694229"/>
                <a:gd name="connsiteX59" fmla="*/ 1101190 w 1862201"/>
                <a:gd name="connsiteY59" fmla="*/ 1693947 h 1694229"/>
                <a:gd name="connsiteX60" fmla="*/ 1132088 w 1862201"/>
                <a:gd name="connsiteY60" fmla="*/ 1630856 h 1694229"/>
                <a:gd name="connsiteX61" fmla="*/ 1162747 w 1862201"/>
                <a:gd name="connsiteY61" fmla="*/ 1624376 h 1694229"/>
                <a:gd name="connsiteX62" fmla="*/ 1205846 w 1862201"/>
                <a:gd name="connsiteY62" fmla="*/ 1653639 h 1694229"/>
                <a:gd name="connsiteX63" fmla="*/ 1239421 w 1862201"/>
                <a:gd name="connsiteY63" fmla="*/ 1612985 h 1694229"/>
                <a:gd name="connsiteX64" fmla="*/ 1258242 w 1862201"/>
                <a:gd name="connsiteY64" fmla="*/ 1617602 h 1694229"/>
                <a:gd name="connsiteX65" fmla="*/ 1292284 w 1862201"/>
                <a:gd name="connsiteY65" fmla="*/ 1684079 h 1694229"/>
                <a:gd name="connsiteX66" fmla="*/ 1348840 w 1862201"/>
                <a:gd name="connsiteY66" fmla="*/ 1660610 h 1694229"/>
                <a:gd name="connsiteX67" fmla="*/ 1400872 w 1862201"/>
                <a:gd name="connsiteY67" fmla="*/ 1604489 h 1694229"/>
                <a:gd name="connsiteX68" fmla="*/ 1451649 w 1862201"/>
                <a:gd name="connsiteY68" fmla="*/ 1587946 h 1694229"/>
                <a:gd name="connsiteX69" fmla="*/ 1469328 w 1862201"/>
                <a:gd name="connsiteY69" fmla="*/ 1643768 h 1694229"/>
                <a:gd name="connsiteX70" fmla="*/ 1539223 w 1862201"/>
                <a:gd name="connsiteY70" fmla="*/ 1618090 h 1694229"/>
                <a:gd name="connsiteX71" fmla="*/ 1570001 w 1862201"/>
                <a:gd name="connsiteY71" fmla="*/ 1531334 h 1694229"/>
                <a:gd name="connsiteX72" fmla="*/ 1651437 w 1862201"/>
                <a:gd name="connsiteY72" fmla="*/ 1441192 h 1694229"/>
                <a:gd name="connsiteX73" fmla="*/ 1696028 w 1862201"/>
                <a:gd name="connsiteY73" fmla="*/ 1410062 h 1694229"/>
                <a:gd name="connsiteX74" fmla="*/ 1724397 w 1862201"/>
                <a:gd name="connsiteY74" fmla="*/ 1413357 h 1694229"/>
                <a:gd name="connsiteX75" fmla="*/ 1801989 w 1862201"/>
                <a:gd name="connsiteY75" fmla="*/ 1402749 h 1694229"/>
                <a:gd name="connsiteX76" fmla="*/ 1797108 w 1862201"/>
                <a:gd name="connsiteY76" fmla="*/ 1456313 h 1694229"/>
                <a:gd name="connsiteX77" fmla="*/ 1855275 w 1862201"/>
                <a:gd name="connsiteY77" fmla="*/ 1479634 h 1694229"/>
                <a:gd name="connsiteX78" fmla="*/ 1856883 w 1862201"/>
                <a:gd name="connsiteY78" fmla="*/ 1457000 h 1694229"/>
                <a:gd name="connsiteX79" fmla="*/ 1856105 w 1862201"/>
                <a:gd name="connsiteY79" fmla="*/ 1396266 h 1694229"/>
                <a:gd name="connsiteX80" fmla="*/ 1834140 w 1862201"/>
                <a:gd name="connsiteY80" fmla="*/ 1306123 h 1694229"/>
                <a:gd name="connsiteX81" fmla="*/ 1834140 w 1862201"/>
                <a:gd name="connsiteY81" fmla="*/ 1248973 h 1694229"/>
                <a:gd name="connsiteX82" fmla="*/ 1791278 w 1862201"/>
                <a:gd name="connsiteY82" fmla="*/ 1239448 h 1694229"/>
                <a:gd name="connsiteX83" fmla="*/ 1715078 w 1862201"/>
                <a:gd name="connsiteY83" fmla="*/ 1158485 h 1694229"/>
                <a:gd name="connsiteX84" fmla="*/ 1676978 w 1862201"/>
                <a:gd name="connsiteY84" fmla="*/ 977510 h 1694229"/>
                <a:gd name="connsiteX85" fmla="*/ 1624590 w 1862201"/>
                <a:gd name="connsiteY85" fmla="*/ 944173 h 1694229"/>
                <a:gd name="connsiteX86" fmla="*/ 1586490 w 1862201"/>
                <a:gd name="connsiteY86" fmla="*/ 887023 h 1694229"/>
                <a:gd name="connsiteX87" fmla="*/ 1538865 w 1862201"/>
                <a:gd name="connsiteY87" fmla="*/ 839398 h 1694229"/>
                <a:gd name="connsiteX88" fmla="*/ 1486478 w 1862201"/>
                <a:gd name="connsiteY88" fmla="*/ 820348 h 1694229"/>
                <a:gd name="connsiteX89" fmla="*/ 1434090 w 1862201"/>
                <a:gd name="connsiteY89" fmla="*/ 815585 h 1694229"/>
                <a:gd name="connsiteX90" fmla="*/ 1491240 w 1862201"/>
                <a:gd name="connsiteY90" fmla="*/ 782248 h 1694229"/>
                <a:gd name="connsiteX91" fmla="*/ 1457903 w 1862201"/>
                <a:gd name="connsiteY91" fmla="*/ 748910 h 1694229"/>
                <a:gd name="connsiteX92" fmla="*/ 1462665 w 1862201"/>
                <a:gd name="connsiteY92" fmla="*/ 725098 h 1694229"/>
                <a:gd name="connsiteX93" fmla="*/ 1553153 w 1862201"/>
                <a:gd name="connsiteY93" fmla="*/ 763198 h 1694229"/>
                <a:gd name="connsiteX94" fmla="*/ 1605540 w 1862201"/>
                <a:gd name="connsiteY94" fmla="*/ 696523 h 1694229"/>
                <a:gd name="connsiteX95" fmla="*/ 1603337 w 1862201"/>
                <a:gd name="connsiteY95" fmla="*/ 553648 h 1694229"/>
                <a:gd name="connsiteX96" fmla="*/ 1620540 w 1862201"/>
                <a:gd name="connsiteY96" fmla="*/ 405322 h 1694229"/>
                <a:gd name="connsiteX0" fmla="*/ 1620956 w 1862617"/>
                <a:gd name="connsiteY0" fmla="*/ 405322 h 1694229"/>
                <a:gd name="connsiteX1" fmla="*/ 1548806 w 1862617"/>
                <a:gd name="connsiteY1" fmla="*/ 372673 h 1694229"/>
                <a:gd name="connsiteX2" fmla="*/ 1458557 w 1862617"/>
                <a:gd name="connsiteY2" fmla="*/ 348860 h 1694229"/>
                <a:gd name="connsiteX3" fmla="*/ 1405237 w 1862617"/>
                <a:gd name="connsiteY3" fmla="*/ 271776 h 1694229"/>
                <a:gd name="connsiteX4" fmla="*/ 1382136 w 1862617"/>
                <a:gd name="connsiteY4" fmla="*/ 169931 h 1694229"/>
                <a:gd name="connsiteX5" fmla="*/ 1346239 w 1862617"/>
                <a:gd name="connsiteY5" fmla="*/ 1869 h 1694229"/>
                <a:gd name="connsiteX6" fmla="*/ 1278870 w 1862617"/>
                <a:gd name="connsiteY6" fmla="*/ 43567 h 1694229"/>
                <a:gd name="connsiteX7" fmla="*/ 1273302 w 1862617"/>
                <a:gd name="connsiteY7" fmla="*/ 101090 h 1694229"/>
                <a:gd name="connsiteX8" fmla="*/ 1257397 w 1862617"/>
                <a:gd name="connsiteY8" fmla="*/ 152303 h 1694229"/>
                <a:gd name="connsiteX9" fmla="*/ 1237872 w 1862617"/>
                <a:gd name="connsiteY9" fmla="*/ 204316 h 1694229"/>
                <a:gd name="connsiteX10" fmla="*/ 1236143 w 1862617"/>
                <a:gd name="connsiteY10" fmla="*/ 273739 h 1694229"/>
                <a:gd name="connsiteX11" fmla="*/ 1163162 w 1862617"/>
                <a:gd name="connsiteY11" fmla="*/ 283903 h 1694229"/>
                <a:gd name="connsiteX12" fmla="*/ 1098809 w 1862617"/>
                <a:gd name="connsiteY12" fmla="*/ 285917 h 1694229"/>
                <a:gd name="connsiteX13" fmla="*/ 1051208 w 1862617"/>
                <a:gd name="connsiteY13" fmla="*/ 346183 h 1694229"/>
                <a:gd name="connsiteX14" fmla="*/ 996593 w 1862617"/>
                <a:gd name="connsiteY14" fmla="*/ 371690 h 1694229"/>
                <a:gd name="connsiteX15" fmla="*/ 943969 w 1862617"/>
                <a:gd name="connsiteY15" fmla="*/ 358385 h 1694229"/>
                <a:gd name="connsiteX16" fmla="*/ 837229 w 1862617"/>
                <a:gd name="connsiteY16" fmla="*/ 376257 h 1694229"/>
                <a:gd name="connsiteX17" fmla="*/ 814246 w 1862617"/>
                <a:gd name="connsiteY17" fmla="*/ 440035 h 1694229"/>
                <a:gd name="connsiteX18" fmla="*/ 797163 w 1862617"/>
                <a:gd name="connsiteY18" fmla="*/ 475926 h 1694229"/>
                <a:gd name="connsiteX19" fmla="*/ 715132 w 1862617"/>
                <a:gd name="connsiteY19" fmla="*/ 494632 h 1694229"/>
                <a:gd name="connsiteX20" fmla="*/ 697320 w 1862617"/>
                <a:gd name="connsiteY20" fmla="*/ 440647 h 1694229"/>
                <a:gd name="connsiteX21" fmla="*/ 653456 w 1862617"/>
                <a:gd name="connsiteY21" fmla="*/ 420298 h 1694229"/>
                <a:gd name="connsiteX22" fmla="*/ 518140 w 1862617"/>
                <a:gd name="connsiteY22" fmla="*/ 420641 h 1694229"/>
                <a:gd name="connsiteX23" fmla="*/ 434263 w 1862617"/>
                <a:gd name="connsiteY23" fmla="*/ 447350 h 1694229"/>
                <a:gd name="connsiteX24" fmla="*/ 401044 w 1862617"/>
                <a:gd name="connsiteY24" fmla="*/ 420298 h 1694229"/>
                <a:gd name="connsiteX25" fmla="*/ 381994 w 1862617"/>
                <a:gd name="connsiteY25" fmla="*/ 358385 h 1694229"/>
                <a:gd name="connsiteX26" fmla="*/ 315319 w 1862617"/>
                <a:gd name="connsiteY26" fmla="*/ 305998 h 1694229"/>
                <a:gd name="connsiteX27" fmla="*/ 270134 w 1862617"/>
                <a:gd name="connsiteY27" fmla="*/ 229110 h 1694229"/>
                <a:gd name="connsiteX28" fmla="*/ 146784 w 1862617"/>
                <a:gd name="connsiteY28" fmla="*/ 258373 h 1694229"/>
                <a:gd name="connsiteX29" fmla="*/ 127734 w 1862617"/>
                <a:gd name="connsiteY29" fmla="*/ 344785 h 1694229"/>
                <a:gd name="connsiteX30" fmla="*/ 145174 w 1862617"/>
                <a:gd name="connsiteY30" fmla="*/ 411312 h 1694229"/>
                <a:gd name="connsiteX31" fmla="*/ 117735 w 1862617"/>
                <a:gd name="connsiteY31" fmla="*/ 446172 h 1694229"/>
                <a:gd name="connsiteX32" fmla="*/ 65347 w 1862617"/>
                <a:gd name="connsiteY32" fmla="*/ 474059 h 1694229"/>
                <a:gd name="connsiteX33" fmla="*/ 37246 w 1862617"/>
                <a:gd name="connsiteY33" fmla="*/ 482063 h 1694229"/>
                <a:gd name="connsiteX34" fmla="*/ 15281 w 1862617"/>
                <a:gd name="connsiteY34" fmla="*/ 520310 h 1694229"/>
                <a:gd name="connsiteX35" fmla="*/ 1469 w 1862617"/>
                <a:gd name="connsiteY35" fmla="*/ 632745 h 1694229"/>
                <a:gd name="connsiteX36" fmla="*/ 51178 w 1862617"/>
                <a:gd name="connsiteY36" fmla="*/ 685967 h 1694229"/>
                <a:gd name="connsiteX37" fmla="*/ 93447 w 1862617"/>
                <a:gd name="connsiteY37" fmla="*/ 681547 h 1694229"/>
                <a:gd name="connsiteX38" fmla="*/ 93804 w 1862617"/>
                <a:gd name="connsiteY38" fmla="*/ 751806 h 1694229"/>
                <a:gd name="connsiteX39" fmla="*/ 148631 w 1862617"/>
                <a:gd name="connsiteY39" fmla="*/ 782248 h 1694229"/>
                <a:gd name="connsiteX40" fmla="*/ 217629 w 1862617"/>
                <a:gd name="connsiteY40" fmla="*/ 792460 h 1694229"/>
                <a:gd name="connsiteX41" fmla="*/ 252932 w 1862617"/>
                <a:gd name="connsiteY41" fmla="*/ 848431 h 1694229"/>
                <a:gd name="connsiteX42" fmla="*/ 252339 w 1862617"/>
                <a:gd name="connsiteY42" fmla="*/ 893503 h 1694229"/>
                <a:gd name="connsiteX43" fmla="*/ 276863 w 1862617"/>
                <a:gd name="connsiteY43" fmla="*/ 932978 h 1694229"/>
                <a:gd name="connsiteX44" fmla="*/ 322521 w 1862617"/>
                <a:gd name="connsiteY44" fmla="*/ 971570 h 1694229"/>
                <a:gd name="connsiteX45" fmla="*/ 407654 w 1862617"/>
                <a:gd name="connsiteY45" fmla="*/ 1025822 h 1694229"/>
                <a:gd name="connsiteX46" fmla="*/ 443431 w 1862617"/>
                <a:gd name="connsiteY46" fmla="*/ 1096915 h 1694229"/>
                <a:gd name="connsiteX47" fmla="*/ 422534 w 1862617"/>
                <a:gd name="connsiteY47" fmla="*/ 1166488 h 1694229"/>
                <a:gd name="connsiteX48" fmla="*/ 500581 w 1862617"/>
                <a:gd name="connsiteY48" fmla="*/ 1222951 h 1694229"/>
                <a:gd name="connsiteX49" fmla="*/ 572613 w 1862617"/>
                <a:gd name="connsiteY49" fmla="*/ 1255945 h 1694229"/>
                <a:gd name="connsiteX50" fmla="*/ 553444 w 1862617"/>
                <a:gd name="connsiteY50" fmla="*/ 1315648 h 1694229"/>
                <a:gd name="connsiteX51" fmla="*/ 643931 w 1862617"/>
                <a:gd name="connsiteY51" fmla="*/ 1468048 h 1694229"/>
                <a:gd name="connsiteX52" fmla="*/ 736741 w 1862617"/>
                <a:gd name="connsiteY52" fmla="*/ 1541202 h 1694229"/>
                <a:gd name="connsiteX53" fmla="*/ 786806 w 1862617"/>
                <a:gd name="connsiteY53" fmla="*/ 1491860 h 1694229"/>
                <a:gd name="connsiteX54" fmla="*/ 851396 w 1862617"/>
                <a:gd name="connsiteY54" fmla="*/ 1519257 h 1694229"/>
                <a:gd name="connsiteX55" fmla="*/ 905869 w 1862617"/>
                <a:gd name="connsiteY55" fmla="*/ 1487098 h 1694229"/>
                <a:gd name="connsiteX56" fmla="*/ 922716 w 1862617"/>
                <a:gd name="connsiteY56" fmla="*/ 1444922 h 1694229"/>
                <a:gd name="connsiteX57" fmla="*/ 986593 w 1862617"/>
                <a:gd name="connsiteY57" fmla="*/ 1531334 h 1694229"/>
                <a:gd name="connsiteX58" fmla="*/ 1031660 w 1862617"/>
                <a:gd name="connsiteY58" fmla="*/ 1602428 h 1694229"/>
                <a:gd name="connsiteX59" fmla="*/ 1101606 w 1862617"/>
                <a:gd name="connsiteY59" fmla="*/ 1693947 h 1694229"/>
                <a:gd name="connsiteX60" fmla="*/ 1132504 w 1862617"/>
                <a:gd name="connsiteY60" fmla="*/ 1630856 h 1694229"/>
                <a:gd name="connsiteX61" fmla="*/ 1163163 w 1862617"/>
                <a:gd name="connsiteY61" fmla="*/ 1624376 h 1694229"/>
                <a:gd name="connsiteX62" fmla="*/ 1206262 w 1862617"/>
                <a:gd name="connsiteY62" fmla="*/ 1653639 h 1694229"/>
                <a:gd name="connsiteX63" fmla="*/ 1239837 w 1862617"/>
                <a:gd name="connsiteY63" fmla="*/ 1612985 h 1694229"/>
                <a:gd name="connsiteX64" fmla="*/ 1258658 w 1862617"/>
                <a:gd name="connsiteY64" fmla="*/ 1617602 h 1694229"/>
                <a:gd name="connsiteX65" fmla="*/ 1292700 w 1862617"/>
                <a:gd name="connsiteY65" fmla="*/ 1684079 h 1694229"/>
                <a:gd name="connsiteX66" fmla="*/ 1349256 w 1862617"/>
                <a:gd name="connsiteY66" fmla="*/ 1660610 h 1694229"/>
                <a:gd name="connsiteX67" fmla="*/ 1401288 w 1862617"/>
                <a:gd name="connsiteY67" fmla="*/ 1604489 h 1694229"/>
                <a:gd name="connsiteX68" fmla="*/ 1452065 w 1862617"/>
                <a:gd name="connsiteY68" fmla="*/ 1587946 h 1694229"/>
                <a:gd name="connsiteX69" fmla="*/ 1469744 w 1862617"/>
                <a:gd name="connsiteY69" fmla="*/ 1643768 h 1694229"/>
                <a:gd name="connsiteX70" fmla="*/ 1539639 w 1862617"/>
                <a:gd name="connsiteY70" fmla="*/ 1618090 h 1694229"/>
                <a:gd name="connsiteX71" fmla="*/ 1570417 w 1862617"/>
                <a:gd name="connsiteY71" fmla="*/ 1531334 h 1694229"/>
                <a:gd name="connsiteX72" fmla="*/ 1651853 w 1862617"/>
                <a:gd name="connsiteY72" fmla="*/ 1441192 h 1694229"/>
                <a:gd name="connsiteX73" fmla="*/ 1696444 w 1862617"/>
                <a:gd name="connsiteY73" fmla="*/ 1410062 h 1694229"/>
                <a:gd name="connsiteX74" fmla="*/ 1724813 w 1862617"/>
                <a:gd name="connsiteY74" fmla="*/ 1413357 h 1694229"/>
                <a:gd name="connsiteX75" fmla="*/ 1802405 w 1862617"/>
                <a:gd name="connsiteY75" fmla="*/ 1402749 h 1694229"/>
                <a:gd name="connsiteX76" fmla="*/ 1797524 w 1862617"/>
                <a:gd name="connsiteY76" fmla="*/ 1456313 h 1694229"/>
                <a:gd name="connsiteX77" fmla="*/ 1855691 w 1862617"/>
                <a:gd name="connsiteY77" fmla="*/ 1479634 h 1694229"/>
                <a:gd name="connsiteX78" fmla="*/ 1857299 w 1862617"/>
                <a:gd name="connsiteY78" fmla="*/ 1457000 h 1694229"/>
                <a:gd name="connsiteX79" fmla="*/ 1856521 w 1862617"/>
                <a:gd name="connsiteY79" fmla="*/ 1396266 h 1694229"/>
                <a:gd name="connsiteX80" fmla="*/ 1834556 w 1862617"/>
                <a:gd name="connsiteY80" fmla="*/ 1306123 h 1694229"/>
                <a:gd name="connsiteX81" fmla="*/ 1834556 w 1862617"/>
                <a:gd name="connsiteY81" fmla="*/ 1248973 h 1694229"/>
                <a:gd name="connsiteX82" fmla="*/ 1791694 w 1862617"/>
                <a:gd name="connsiteY82" fmla="*/ 1239448 h 1694229"/>
                <a:gd name="connsiteX83" fmla="*/ 1715494 w 1862617"/>
                <a:gd name="connsiteY83" fmla="*/ 1158485 h 1694229"/>
                <a:gd name="connsiteX84" fmla="*/ 1677394 w 1862617"/>
                <a:gd name="connsiteY84" fmla="*/ 977510 h 1694229"/>
                <a:gd name="connsiteX85" fmla="*/ 1625006 w 1862617"/>
                <a:gd name="connsiteY85" fmla="*/ 944173 h 1694229"/>
                <a:gd name="connsiteX86" fmla="*/ 1586906 w 1862617"/>
                <a:gd name="connsiteY86" fmla="*/ 887023 h 1694229"/>
                <a:gd name="connsiteX87" fmla="*/ 1539281 w 1862617"/>
                <a:gd name="connsiteY87" fmla="*/ 839398 h 1694229"/>
                <a:gd name="connsiteX88" fmla="*/ 1486894 w 1862617"/>
                <a:gd name="connsiteY88" fmla="*/ 820348 h 1694229"/>
                <a:gd name="connsiteX89" fmla="*/ 1434506 w 1862617"/>
                <a:gd name="connsiteY89" fmla="*/ 815585 h 1694229"/>
                <a:gd name="connsiteX90" fmla="*/ 1491656 w 1862617"/>
                <a:gd name="connsiteY90" fmla="*/ 782248 h 1694229"/>
                <a:gd name="connsiteX91" fmla="*/ 1458319 w 1862617"/>
                <a:gd name="connsiteY91" fmla="*/ 748910 h 1694229"/>
                <a:gd name="connsiteX92" fmla="*/ 1463081 w 1862617"/>
                <a:gd name="connsiteY92" fmla="*/ 725098 h 1694229"/>
                <a:gd name="connsiteX93" fmla="*/ 1553569 w 1862617"/>
                <a:gd name="connsiteY93" fmla="*/ 763198 h 1694229"/>
                <a:gd name="connsiteX94" fmla="*/ 1605956 w 1862617"/>
                <a:gd name="connsiteY94" fmla="*/ 696523 h 1694229"/>
                <a:gd name="connsiteX95" fmla="*/ 1603753 w 1862617"/>
                <a:gd name="connsiteY95" fmla="*/ 553648 h 1694229"/>
                <a:gd name="connsiteX96" fmla="*/ 1620956 w 1862617"/>
                <a:gd name="connsiteY96" fmla="*/ 405322 h 1694229"/>
                <a:gd name="connsiteX0" fmla="*/ 1620956 w 1862617"/>
                <a:gd name="connsiteY0" fmla="*/ 405322 h 1694229"/>
                <a:gd name="connsiteX1" fmla="*/ 1548806 w 1862617"/>
                <a:gd name="connsiteY1" fmla="*/ 372673 h 1694229"/>
                <a:gd name="connsiteX2" fmla="*/ 1458557 w 1862617"/>
                <a:gd name="connsiteY2" fmla="*/ 348860 h 1694229"/>
                <a:gd name="connsiteX3" fmla="*/ 1405237 w 1862617"/>
                <a:gd name="connsiteY3" fmla="*/ 271776 h 1694229"/>
                <a:gd name="connsiteX4" fmla="*/ 1382136 w 1862617"/>
                <a:gd name="connsiteY4" fmla="*/ 169931 h 1694229"/>
                <a:gd name="connsiteX5" fmla="*/ 1346239 w 1862617"/>
                <a:gd name="connsiteY5" fmla="*/ 1869 h 1694229"/>
                <a:gd name="connsiteX6" fmla="*/ 1278870 w 1862617"/>
                <a:gd name="connsiteY6" fmla="*/ 43567 h 1694229"/>
                <a:gd name="connsiteX7" fmla="*/ 1273302 w 1862617"/>
                <a:gd name="connsiteY7" fmla="*/ 101090 h 1694229"/>
                <a:gd name="connsiteX8" fmla="*/ 1257397 w 1862617"/>
                <a:gd name="connsiteY8" fmla="*/ 152303 h 1694229"/>
                <a:gd name="connsiteX9" fmla="*/ 1237872 w 1862617"/>
                <a:gd name="connsiteY9" fmla="*/ 204316 h 1694229"/>
                <a:gd name="connsiteX10" fmla="*/ 1236143 w 1862617"/>
                <a:gd name="connsiteY10" fmla="*/ 273739 h 1694229"/>
                <a:gd name="connsiteX11" fmla="*/ 1163162 w 1862617"/>
                <a:gd name="connsiteY11" fmla="*/ 283903 h 1694229"/>
                <a:gd name="connsiteX12" fmla="*/ 1098809 w 1862617"/>
                <a:gd name="connsiteY12" fmla="*/ 285917 h 1694229"/>
                <a:gd name="connsiteX13" fmla="*/ 1051208 w 1862617"/>
                <a:gd name="connsiteY13" fmla="*/ 346183 h 1694229"/>
                <a:gd name="connsiteX14" fmla="*/ 996593 w 1862617"/>
                <a:gd name="connsiteY14" fmla="*/ 371690 h 1694229"/>
                <a:gd name="connsiteX15" fmla="*/ 943969 w 1862617"/>
                <a:gd name="connsiteY15" fmla="*/ 358385 h 1694229"/>
                <a:gd name="connsiteX16" fmla="*/ 837229 w 1862617"/>
                <a:gd name="connsiteY16" fmla="*/ 376257 h 1694229"/>
                <a:gd name="connsiteX17" fmla="*/ 814246 w 1862617"/>
                <a:gd name="connsiteY17" fmla="*/ 440035 h 1694229"/>
                <a:gd name="connsiteX18" fmla="*/ 797163 w 1862617"/>
                <a:gd name="connsiteY18" fmla="*/ 475926 h 1694229"/>
                <a:gd name="connsiteX19" fmla="*/ 715132 w 1862617"/>
                <a:gd name="connsiteY19" fmla="*/ 494632 h 1694229"/>
                <a:gd name="connsiteX20" fmla="*/ 697320 w 1862617"/>
                <a:gd name="connsiteY20" fmla="*/ 440647 h 1694229"/>
                <a:gd name="connsiteX21" fmla="*/ 653456 w 1862617"/>
                <a:gd name="connsiteY21" fmla="*/ 420298 h 1694229"/>
                <a:gd name="connsiteX22" fmla="*/ 518140 w 1862617"/>
                <a:gd name="connsiteY22" fmla="*/ 420641 h 1694229"/>
                <a:gd name="connsiteX23" fmla="*/ 434263 w 1862617"/>
                <a:gd name="connsiteY23" fmla="*/ 447350 h 1694229"/>
                <a:gd name="connsiteX24" fmla="*/ 401044 w 1862617"/>
                <a:gd name="connsiteY24" fmla="*/ 420298 h 1694229"/>
                <a:gd name="connsiteX25" fmla="*/ 381994 w 1862617"/>
                <a:gd name="connsiteY25" fmla="*/ 358385 h 1694229"/>
                <a:gd name="connsiteX26" fmla="*/ 315319 w 1862617"/>
                <a:gd name="connsiteY26" fmla="*/ 305998 h 1694229"/>
                <a:gd name="connsiteX27" fmla="*/ 270134 w 1862617"/>
                <a:gd name="connsiteY27" fmla="*/ 229110 h 1694229"/>
                <a:gd name="connsiteX28" fmla="*/ 146784 w 1862617"/>
                <a:gd name="connsiteY28" fmla="*/ 258373 h 1694229"/>
                <a:gd name="connsiteX29" fmla="*/ 127734 w 1862617"/>
                <a:gd name="connsiteY29" fmla="*/ 344785 h 1694229"/>
                <a:gd name="connsiteX30" fmla="*/ 145174 w 1862617"/>
                <a:gd name="connsiteY30" fmla="*/ 411312 h 1694229"/>
                <a:gd name="connsiteX31" fmla="*/ 117735 w 1862617"/>
                <a:gd name="connsiteY31" fmla="*/ 446172 h 1694229"/>
                <a:gd name="connsiteX32" fmla="*/ 65347 w 1862617"/>
                <a:gd name="connsiteY32" fmla="*/ 474059 h 1694229"/>
                <a:gd name="connsiteX33" fmla="*/ 37246 w 1862617"/>
                <a:gd name="connsiteY33" fmla="*/ 482063 h 1694229"/>
                <a:gd name="connsiteX34" fmla="*/ 15281 w 1862617"/>
                <a:gd name="connsiteY34" fmla="*/ 520310 h 1694229"/>
                <a:gd name="connsiteX35" fmla="*/ 1469 w 1862617"/>
                <a:gd name="connsiteY35" fmla="*/ 632745 h 1694229"/>
                <a:gd name="connsiteX36" fmla="*/ 51178 w 1862617"/>
                <a:gd name="connsiteY36" fmla="*/ 685967 h 1694229"/>
                <a:gd name="connsiteX37" fmla="*/ 108092 w 1862617"/>
                <a:gd name="connsiteY37" fmla="*/ 681547 h 1694229"/>
                <a:gd name="connsiteX38" fmla="*/ 93804 w 1862617"/>
                <a:gd name="connsiteY38" fmla="*/ 751806 h 1694229"/>
                <a:gd name="connsiteX39" fmla="*/ 148631 w 1862617"/>
                <a:gd name="connsiteY39" fmla="*/ 782248 h 1694229"/>
                <a:gd name="connsiteX40" fmla="*/ 217629 w 1862617"/>
                <a:gd name="connsiteY40" fmla="*/ 792460 h 1694229"/>
                <a:gd name="connsiteX41" fmla="*/ 252932 w 1862617"/>
                <a:gd name="connsiteY41" fmla="*/ 848431 h 1694229"/>
                <a:gd name="connsiteX42" fmla="*/ 252339 w 1862617"/>
                <a:gd name="connsiteY42" fmla="*/ 893503 h 1694229"/>
                <a:gd name="connsiteX43" fmla="*/ 276863 w 1862617"/>
                <a:gd name="connsiteY43" fmla="*/ 932978 h 1694229"/>
                <a:gd name="connsiteX44" fmla="*/ 322521 w 1862617"/>
                <a:gd name="connsiteY44" fmla="*/ 971570 h 1694229"/>
                <a:gd name="connsiteX45" fmla="*/ 407654 w 1862617"/>
                <a:gd name="connsiteY45" fmla="*/ 1025822 h 1694229"/>
                <a:gd name="connsiteX46" fmla="*/ 443431 w 1862617"/>
                <a:gd name="connsiteY46" fmla="*/ 1096915 h 1694229"/>
                <a:gd name="connsiteX47" fmla="*/ 422534 w 1862617"/>
                <a:gd name="connsiteY47" fmla="*/ 1166488 h 1694229"/>
                <a:gd name="connsiteX48" fmla="*/ 500581 w 1862617"/>
                <a:gd name="connsiteY48" fmla="*/ 1222951 h 1694229"/>
                <a:gd name="connsiteX49" fmla="*/ 572613 w 1862617"/>
                <a:gd name="connsiteY49" fmla="*/ 1255945 h 1694229"/>
                <a:gd name="connsiteX50" fmla="*/ 553444 w 1862617"/>
                <a:gd name="connsiteY50" fmla="*/ 1315648 h 1694229"/>
                <a:gd name="connsiteX51" fmla="*/ 643931 w 1862617"/>
                <a:gd name="connsiteY51" fmla="*/ 1468048 h 1694229"/>
                <a:gd name="connsiteX52" fmla="*/ 736741 w 1862617"/>
                <a:gd name="connsiteY52" fmla="*/ 1541202 h 1694229"/>
                <a:gd name="connsiteX53" fmla="*/ 786806 w 1862617"/>
                <a:gd name="connsiteY53" fmla="*/ 1491860 h 1694229"/>
                <a:gd name="connsiteX54" fmla="*/ 851396 w 1862617"/>
                <a:gd name="connsiteY54" fmla="*/ 1519257 h 1694229"/>
                <a:gd name="connsiteX55" fmla="*/ 905869 w 1862617"/>
                <a:gd name="connsiteY55" fmla="*/ 1487098 h 1694229"/>
                <a:gd name="connsiteX56" fmla="*/ 922716 w 1862617"/>
                <a:gd name="connsiteY56" fmla="*/ 1444922 h 1694229"/>
                <a:gd name="connsiteX57" fmla="*/ 986593 w 1862617"/>
                <a:gd name="connsiteY57" fmla="*/ 1531334 h 1694229"/>
                <a:gd name="connsiteX58" fmla="*/ 1031660 w 1862617"/>
                <a:gd name="connsiteY58" fmla="*/ 1602428 h 1694229"/>
                <a:gd name="connsiteX59" fmla="*/ 1101606 w 1862617"/>
                <a:gd name="connsiteY59" fmla="*/ 1693947 h 1694229"/>
                <a:gd name="connsiteX60" fmla="*/ 1132504 w 1862617"/>
                <a:gd name="connsiteY60" fmla="*/ 1630856 h 1694229"/>
                <a:gd name="connsiteX61" fmla="*/ 1163163 w 1862617"/>
                <a:gd name="connsiteY61" fmla="*/ 1624376 h 1694229"/>
                <a:gd name="connsiteX62" fmla="*/ 1206262 w 1862617"/>
                <a:gd name="connsiteY62" fmla="*/ 1653639 h 1694229"/>
                <a:gd name="connsiteX63" fmla="*/ 1239837 w 1862617"/>
                <a:gd name="connsiteY63" fmla="*/ 1612985 h 1694229"/>
                <a:gd name="connsiteX64" fmla="*/ 1258658 w 1862617"/>
                <a:gd name="connsiteY64" fmla="*/ 1617602 h 1694229"/>
                <a:gd name="connsiteX65" fmla="*/ 1292700 w 1862617"/>
                <a:gd name="connsiteY65" fmla="*/ 1684079 h 1694229"/>
                <a:gd name="connsiteX66" fmla="*/ 1349256 w 1862617"/>
                <a:gd name="connsiteY66" fmla="*/ 1660610 h 1694229"/>
                <a:gd name="connsiteX67" fmla="*/ 1401288 w 1862617"/>
                <a:gd name="connsiteY67" fmla="*/ 1604489 h 1694229"/>
                <a:gd name="connsiteX68" fmla="*/ 1452065 w 1862617"/>
                <a:gd name="connsiteY68" fmla="*/ 1587946 h 1694229"/>
                <a:gd name="connsiteX69" fmla="*/ 1469744 w 1862617"/>
                <a:gd name="connsiteY69" fmla="*/ 1643768 h 1694229"/>
                <a:gd name="connsiteX70" fmla="*/ 1539639 w 1862617"/>
                <a:gd name="connsiteY70" fmla="*/ 1618090 h 1694229"/>
                <a:gd name="connsiteX71" fmla="*/ 1570417 w 1862617"/>
                <a:gd name="connsiteY71" fmla="*/ 1531334 h 1694229"/>
                <a:gd name="connsiteX72" fmla="*/ 1651853 w 1862617"/>
                <a:gd name="connsiteY72" fmla="*/ 1441192 h 1694229"/>
                <a:gd name="connsiteX73" fmla="*/ 1696444 w 1862617"/>
                <a:gd name="connsiteY73" fmla="*/ 1410062 h 1694229"/>
                <a:gd name="connsiteX74" fmla="*/ 1724813 w 1862617"/>
                <a:gd name="connsiteY74" fmla="*/ 1413357 h 1694229"/>
                <a:gd name="connsiteX75" fmla="*/ 1802405 w 1862617"/>
                <a:gd name="connsiteY75" fmla="*/ 1402749 h 1694229"/>
                <a:gd name="connsiteX76" fmla="*/ 1797524 w 1862617"/>
                <a:gd name="connsiteY76" fmla="*/ 1456313 h 1694229"/>
                <a:gd name="connsiteX77" fmla="*/ 1855691 w 1862617"/>
                <a:gd name="connsiteY77" fmla="*/ 1479634 h 1694229"/>
                <a:gd name="connsiteX78" fmla="*/ 1857299 w 1862617"/>
                <a:gd name="connsiteY78" fmla="*/ 1457000 h 1694229"/>
                <a:gd name="connsiteX79" fmla="*/ 1856521 w 1862617"/>
                <a:gd name="connsiteY79" fmla="*/ 1396266 h 1694229"/>
                <a:gd name="connsiteX80" fmla="*/ 1834556 w 1862617"/>
                <a:gd name="connsiteY80" fmla="*/ 1306123 h 1694229"/>
                <a:gd name="connsiteX81" fmla="*/ 1834556 w 1862617"/>
                <a:gd name="connsiteY81" fmla="*/ 1248973 h 1694229"/>
                <a:gd name="connsiteX82" fmla="*/ 1791694 w 1862617"/>
                <a:gd name="connsiteY82" fmla="*/ 1239448 h 1694229"/>
                <a:gd name="connsiteX83" fmla="*/ 1715494 w 1862617"/>
                <a:gd name="connsiteY83" fmla="*/ 1158485 h 1694229"/>
                <a:gd name="connsiteX84" fmla="*/ 1677394 w 1862617"/>
                <a:gd name="connsiteY84" fmla="*/ 977510 h 1694229"/>
                <a:gd name="connsiteX85" fmla="*/ 1625006 w 1862617"/>
                <a:gd name="connsiteY85" fmla="*/ 944173 h 1694229"/>
                <a:gd name="connsiteX86" fmla="*/ 1586906 w 1862617"/>
                <a:gd name="connsiteY86" fmla="*/ 887023 h 1694229"/>
                <a:gd name="connsiteX87" fmla="*/ 1539281 w 1862617"/>
                <a:gd name="connsiteY87" fmla="*/ 839398 h 1694229"/>
                <a:gd name="connsiteX88" fmla="*/ 1486894 w 1862617"/>
                <a:gd name="connsiteY88" fmla="*/ 820348 h 1694229"/>
                <a:gd name="connsiteX89" fmla="*/ 1434506 w 1862617"/>
                <a:gd name="connsiteY89" fmla="*/ 815585 h 1694229"/>
                <a:gd name="connsiteX90" fmla="*/ 1491656 w 1862617"/>
                <a:gd name="connsiteY90" fmla="*/ 782248 h 1694229"/>
                <a:gd name="connsiteX91" fmla="*/ 1458319 w 1862617"/>
                <a:gd name="connsiteY91" fmla="*/ 748910 h 1694229"/>
                <a:gd name="connsiteX92" fmla="*/ 1463081 w 1862617"/>
                <a:gd name="connsiteY92" fmla="*/ 725098 h 1694229"/>
                <a:gd name="connsiteX93" fmla="*/ 1553569 w 1862617"/>
                <a:gd name="connsiteY93" fmla="*/ 763198 h 1694229"/>
                <a:gd name="connsiteX94" fmla="*/ 1605956 w 1862617"/>
                <a:gd name="connsiteY94" fmla="*/ 696523 h 1694229"/>
                <a:gd name="connsiteX95" fmla="*/ 1603753 w 1862617"/>
                <a:gd name="connsiteY95" fmla="*/ 553648 h 1694229"/>
                <a:gd name="connsiteX96" fmla="*/ 1620956 w 1862617"/>
                <a:gd name="connsiteY96" fmla="*/ 405322 h 1694229"/>
                <a:gd name="connsiteX0" fmla="*/ 1620956 w 1862617"/>
                <a:gd name="connsiteY0" fmla="*/ 405322 h 1694229"/>
                <a:gd name="connsiteX1" fmla="*/ 1548806 w 1862617"/>
                <a:gd name="connsiteY1" fmla="*/ 372673 h 1694229"/>
                <a:gd name="connsiteX2" fmla="*/ 1458557 w 1862617"/>
                <a:gd name="connsiteY2" fmla="*/ 348860 h 1694229"/>
                <a:gd name="connsiteX3" fmla="*/ 1405237 w 1862617"/>
                <a:gd name="connsiteY3" fmla="*/ 271776 h 1694229"/>
                <a:gd name="connsiteX4" fmla="*/ 1382136 w 1862617"/>
                <a:gd name="connsiteY4" fmla="*/ 169931 h 1694229"/>
                <a:gd name="connsiteX5" fmla="*/ 1346239 w 1862617"/>
                <a:gd name="connsiteY5" fmla="*/ 1869 h 1694229"/>
                <a:gd name="connsiteX6" fmla="*/ 1278870 w 1862617"/>
                <a:gd name="connsiteY6" fmla="*/ 43567 h 1694229"/>
                <a:gd name="connsiteX7" fmla="*/ 1273302 w 1862617"/>
                <a:gd name="connsiteY7" fmla="*/ 101090 h 1694229"/>
                <a:gd name="connsiteX8" fmla="*/ 1257397 w 1862617"/>
                <a:gd name="connsiteY8" fmla="*/ 152303 h 1694229"/>
                <a:gd name="connsiteX9" fmla="*/ 1237872 w 1862617"/>
                <a:gd name="connsiteY9" fmla="*/ 204316 h 1694229"/>
                <a:gd name="connsiteX10" fmla="*/ 1236143 w 1862617"/>
                <a:gd name="connsiteY10" fmla="*/ 273739 h 1694229"/>
                <a:gd name="connsiteX11" fmla="*/ 1163162 w 1862617"/>
                <a:gd name="connsiteY11" fmla="*/ 283903 h 1694229"/>
                <a:gd name="connsiteX12" fmla="*/ 1098809 w 1862617"/>
                <a:gd name="connsiteY12" fmla="*/ 285917 h 1694229"/>
                <a:gd name="connsiteX13" fmla="*/ 1051208 w 1862617"/>
                <a:gd name="connsiteY13" fmla="*/ 346183 h 1694229"/>
                <a:gd name="connsiteX14" fmla="*/ 996593 w 1862617"/>
                <a:gd name="connsiteY14" fmla="*/ 371690 h 1694229"/>
                <a:gd name="connsiteX15" fmla="*/ 943969 w 1862617"/>
                <a:gd name="connsiteY15" fmla="*/ 358385 h 1694229"/>
                <a:gd name="connsiteX16" fmla="*/ 837229 w 1862617"/>
                <a:gd name="connsiteY16" fmla="*/ 376257 h 1694229"/>
                <a:gd name="connsiteX17" fmla="*/ 814246 w 1862617"/>
                <a:gd name="connsiteY17" fmla="*/ 440035 h 1694229"/>
                <a:gd name="connsiteX18" fmla="*/ 797163 w 1862617"/>
                <a:gd name="connsiteY18" fmla="*/ 475926 h 1694229"/>
                <a:gd name="connsiteX19" fmla="*/ 715132 w 1862617"/>
                <a:gd name="connsiteY19" fmla="*/ 494632 h 1694229"/>
                <a:gd name="connsiteX20" fmla="*/ 697320 w 1862617"/>
                <a:gd name="connsiteY20" fmla="*/ 440647 h 1694229"/>
                <a:gd name="connsiteX21" fmla="*/ 653456 w 1862617"/>
                <a:gd name="connsiteY21" fmla="*/ 420298 h 1694229"/>
                <a:gd name="connsiteX22" fmla="*/ 518140 w 1862617"/>
                <a:gd name="connsiteY22" fmla="*/ 420641 h 1694229"/>
                <a:gd name="connsiteX23" fmla="*/ 434263 w 1862617"/>
                <a:gd name="connsiteY23" fmla="*/ 447350 h 1694229"/>
                <a:gd name="connsiteX24" fmla="*/ 401044 w 1862617"/>
                <a:gd name="connsiteY24" fmla="*/ 420298 h 1694229"/>
                <a:gd name="connsiteX25" fmla="*/ 381994 w 1862617"/>
                <a:gd name="connsiteY25" fmla="*/ 358385 h 1694229"/>
                <a:gd name="connsiteX26" fmla="*/ 315319 w 1862617"/>
                <a:gd name="connsiteY26" fmla="*/ 305998 h 1694229"/>
                <a:gd name="connsiteX27" fmla="*/ 270134 w 1862617"/>
                <a:gd name="connsiteY27" fmla="*/ 229110 h 1694229"/>
                <a:gd name="connsiteX28" fmla="*/ 146784 w 1862617"/>
                <a:gd name="connsiteY28" fmla="*/ 258373 h 1694229"/>
                <a:gd name="connsiteX29" fmla="*/ 127734 w 1862617"/>
                <a:gd name="connsiteY29" fmla="*/ 344785 h 1694229"/>
                <a:gd name="connsiteX30" fmla="*/ 145174 w 1862617"/>
                <a:gd name="connsiteY30" fmla="*/ 411312 h 1694229"/>
                <a:gd name="connsiteX31" fmla="*/ 117735 w 1862617"/>
                <a:gd name="connsiteY31" fmla="*/ 446172 h 1694229"/>
                <a:gd name="connsiteX32" fmla="*/ 65347 w 1862617"/>
                <a:gd name="connsiteY32" fmla="*/ 474059 h 1694229"/>
                <a:gd name="connsiteX33" fmla="*/ 37246 w 1862617"/>
                <a:gd name="connsiteY33" fmla="*/ 482063 h 1694229"/>
                <a:gd name="connsiteX34" fmla="*/ 15281 w 1862617"/>
                <a:gd name="connsiteY34" fmla="*/ 520310 h 1694229"/>
                <a:gd name="connsiteX35" fmla="*/ 1469 w 1862617"/>
                <a:gd name="connsiteY35" fmla="*/ 632745 h 1694229"/>
                <a:gd name="connsiteX36" fmla="*/ 51178 w 1862617"/>
                <a:gd name="connsiteY36" fmla="*/ 685967 h 1694229"/>
                <a:gd name="connsiteX37" fmla="*/ 108092 w 1862617"/>
                <a:gd name="connsiteY37" fmla="*/ 681547 h 1694229"/>
                <a:gd name="connsiteX38" fmla="*/ 93804 w 1862617"/>
                <a:gd name="connsiteY38" fmla="*/ 751806 h 1694229"/>
                <a:gd name="connsiteX39" fmla="*/ 148631 w 1862617"/>
                <a:gd name="connsiteY39" fmla="*/ 782248 h 1694229"/>
                <a:gd name="connsiteX40" fmla="*/ 217629 w 1862617"/>
                <a:gd name="connsiteY40" fmla="*/ 792460 h 1694229"/>
                <a:gd name="connsiteX41" fmla="*/ 252932 w 1862617"/>
                <a:gd name="connsiteY41" fmla="*/ 848431 h 1694229"/>
                <a:gd name="connsiteX42" fmla="*/ 252339 w 1862617"/>
                <a:gd name="connsiteY42" fmla="*/ 893503 h 1694229"/>
                <a:gd name="connsiteX43" fmla="*/ 276863 w 1862617"/>
                <a:gd name="connsiteY43" fmla="*/ 932978 h 1694229"/>
                <a:gd name="connsiteX44" fmla="*/ 322521 w 1862617"/>
                <a:gd name="connsiteY44" fmla="*/ 971570 h 1694229"/>
                <a:gd name="connsiteX45" fmla="*/ 407654 w 1862617"/>
                <a:gd name="connsiteY45" fmla="*/ 1025822 h 1694229"/>
                <a:gd name="connsiteX46" fmla="*/ 443431 w 1862617"/>
                <a:gd name="connsiteY46" fmla="*/ 1096915 h 1694229"/>
                <a:gd name="connsiteX47" fmla="*/ 422534 w 1862617"/>
                <a:gd name="connsiteY47" fmla="*/ 1166488 h 1694229"/>
                <a:gd name="connsiteX48" fmla="*/ 500581 w 1862617"/>
                <a:gd name="connsiteY48" fmla="*/ 1222951 h 1694229"/>
                <a:gd name="connsiteX49" fmla="*/ 572613 w 1862617"/>
                <a:gd name="connsiteY49" fmla="*/ 1255945 h 1694229"/>
                <a:gd name="connsiteX50" fmla="*/ 553444 w 1862617"/>
                <a:gd name="connsiteY50" fmla="*/ 1315648 h 1694229"/>
                <a:gd name="connsiteX51" fmla="*/ 643931 w 1862617"/>
                <a:gd name="connsiteY51" fmla="*/ 1468048 h 1694229"/>
                <a:gd name="connsiteX52" fmla="*/ 736741 w 1862617"/>
                <a:gd name="connsiteY52" fmla="*/ 1541202 h 1694229"/>
                <a:gd name="connsiteX53" fmla="*/ 786806 w 1862617"/>
                <a:gd name="connsiteY53" fmla="*/ 1491860 h 1694229"/>
                <a:gd name="connsiteX54" fmla="*/ 851396 w 1862617"/>
                <a:gd name="connsiteY54" fmla="*/ 1519257 h 1694229"/>
                <a:gd name="connsiteX55" fmla="*/ 905869 w 1862617"/>
                <a:gd name="connsiteY55" fmla="*/ 1487098 h 1694229"/>
                <a:gd name="connsiteX56" fmla="*/ 922716 w 1862617"/>
                <a:gd name="connsiteY56" fmla="*/ 1444922 h 1694229"/>
                <a:gd name="connsiteX57" fmla="*/ 986593 w 1862617"/>
                <a:gd name="connsiteY57" fmla="*/ 1531334 h 1694229"/>
                <a:gd name="connsiteX58" fmla="*/ 1031660 w 1862617"/>
                <a:gd name="connsiteY58" fmla="*/ 1602428 h 1694229"/>
                <a:gd name="connsiteX59" fmla="*/ 1101606 w 1862617"/>
                <a:gd name="connsiteY59" fmla="*/ 1693947 h 1694229"/>
                <a:gd name="connsiteX60" fmla="*/ 1132504 w 1862617"/>
                <a:gd name="connsiteY60" fmla="*/ 1630856 h 1694229"/>
                <a:gd name="connsiteX61" fmla="*/ 1163163 w 1862617"/>
                <a:gd name="connsiteY61" fmla="*/ 1624376 h 1694229"/>
                <a:gd name="connsiteX62" fmla="*/ 1206262 w 1862617"/>
                <a:gd name="connsiteY62" fmla="*/ 1653639 h 1694229"/>
                <a:gd name="connsiteX63" fmla="*/ 1239837 w 1862617"/>
                <a:gd name="connsiteY63" fmla="*/ 1612985 h 1694229"/>
                <a:gd name="connsiteX64" fmla="*/ 1258658 w 1862617"/>
                <a:gd name="connsiteY64" fmla="*/ 1617602 h 1694229"/>
                <a:gd name="connsiteX65" fmla="*/ 1292700 w 1862617"/>
                <a:gd name="connsiteY65" fmla="*/ 1684079 h 1694229"/>
                <a:gd name="connsiteX66" fmla="*/ 1349256 w 1862617"/>
                <a:gd name="connsiteY66" fmla="*/ 1660610 h 1694229"/>
                <a:gd name="connsiteX67" fmla="*/ 1401288 w 1862617"/>
                <a:gd name="connsiteY67" fmla="*/ 1604489 h 1694229"/>
                <a:gd name="connsiteX68" fmla="*/ 1452065 w 1862617"/>
                <a:gd name="connsiteY68" fmla="*/ 1587946 h 1694229"/>
                <a:gd name="connsiteX69" fmla="*/ 1469744 w 1862617"/>
                <a:gd name="connsiteY69" fmla="*/ 1643768 h 1694229"/>
                <a:gd name="connsiteX70" fmla="*/ 1539639 w 1862617"/>
                <a:gd name="connsiteY70" fmla="*/ 1618090 h 1694229"/>
                <a:gd name="connsiteX71" fmla="*/ 1570417 w 1862617"/>
                <a:gd name="connsiteY71" fmla="*/ 1531334 h 1694229"/>
                <a:gd name="connsiteX72" fmla="*/ 1651853 w 1862617"/>
                <a:gd name="connsiteY72" fmla="*/ 1441192 h 1694229"/>
                <a:gd name="connsiteX73" fmla="*/ 1696444 w 1862617"/>
                <a:gd name="connsiteY73" fmla="*/ 1410062 h 1694229"/>
                <a:gd name="connsiteX74" fmla="*/ 1724813 w 1862617"/>
                <a:gd name="connsiteY74" fmla="*/ 1413357 h 1694229"/>
                <a:gd name="connsiteX75" fmla="*/ 1802405 w 1862617"/>
                <a:gd name="connsiteY75" fmla="*/ 1402749 h 1694229"/>
                <a:gd name="connsiteX76" fmla="*/ 1797524 w 1862617"/>
                <a:gd name="connsiteY76" fmla="*/ 1456313 h 1694229"/>
                <a:gd name="connsiteX77" fmla="*/ 1855691 w 1862617"/>
                <a:gd name="connsiteY77" fmla="*/ 1479634 h 1694229"/>
                <a:gd name="connsiteX78" fmla="*/ 1857299 w 1862617"/>
                <a:gd name="connsiteY78" fmla="*/ 1457000 h 1694229"/>
                <a:gd name="connsiteX79" fmla="*/ 1856521 w 1862617"/>
                <a:gd name="connsiteY79" fmla="*/ 1396266 h 1694229"/>
                <a:gd name="connsiteX80" fmla="*/ 1834556 w 1862617"/>
                <a:gd name="connsiteY80" fmla="*/ 1306123 h 1694229"/>
                <a:gd name="connsiteX81" fmla="*/ 1834556 w 1862617"/>
                <a:gd name="connsiteY81" fmla="*/ 1248973 h 1694229"/>
                <a:gd name="connsiteX82" fmla="*/ 1791694 w 1862617"/>
                <a:gd name="connsiteY82" fmla="*/ 1239448 h 1694229"/>
                <a:gd name="connsiteX83" fmla="*/ 1715494 w 1862617"/>
                <a:gd name="connsiteY83" fmla="*/ 1158485 h 1694229"/>
                <a:gd name="connsiteX84" fmla="*/ 1677394 w 1862617"/>
                <a:gd name="connsiteY84" fmla="*/ 977510 h 1694229"/>
                <a:gd name="connsiteX85" fmla="*/ 1625006 w 1862617"/>
                <a:gd name="connsiteY85" fmla="*/ 944173 h 1694229"/>
                <a:gd name="connsiteX86" fmla="*/ 1586906 w 1862617"/>
                <a:gd name="connsiteY86" fmla="*/ 887023 h 1694229"/>
                <a:gd name="connsiteX87" fmla="*/ 1539281 w 1862617"/>
                <a:gd name="connsiteY87" fmla="*/ 839398 h 1694229"/>
                <a:gd name="connsiteX88" fmla="*/ 1472251 w 1862617"/>
                <a:gd name="connsiteY88" fmla="*/ 845878 h 1694229"/>
                <a:gd name="connsiteX89" fmla="*/ 1434506 w 1862617"/>
                <a:gd name="connsiteY89" fmla="*/ 815585 h 1694229"/>
                <a:gd name="connsiteX90" fmla="*/ 1491656 w 1862617"/>
                <a:gd name="connsiteY90" fmla="*/ 782248 h 1694229"/>
                <a:gd name="connsiteX91" fmla="*/ 1458319 w 1862617"/>
                <a:gd name="connsiteY91" fmla="*/ 748910 h 1694229"/>
                <a:gd name="connsiteX92" fmla="*/ 1463081 w 1862617"/>
                <a:gd name="connsiteY92" fmla="*/ 725098 h 1694229"/>
                <a:gd name="connsiteX93" fmla="*/ 1553569 w 1862617"/>
                <a:gd name="connsiteY93" fmla="*/ 763198 h 1694229"/>
                <a:gd name="connsiteX94" fmla="*/ 1605956 w 1862617"/>
                <a:gd name="connsiteY94" fmla="*/ 696523 h 1694229"/>
                <a:gd name="connsiteX95" fmla="*/ 1603753 w 1862617"/>
                <a:gd name="connsiteY95" fmla="*/ 553648 h 1694229"/>
                <a:gd name="connsiteX96" fmla="*/ 1620956 w 1862617"/>
                <a:gd name="connsiteY96" fmla="*/ 405322 h 1694229"/>
                <a:gd name="connsiteX0" fmla="*/ 1620956 w 1862617"/>
                <a:gd name="connsiteY0" fmla="*/ 405322 h 1694229"/>
                <a:gd name="connsiteX1" fmla="*/ 1548806 w 1862617"/>
                <a:gd name="connsiteY1" fmla="*/ 372673 h 1694229"/>
                <a:gd name="connsiteX2" fmla="*/ 1458557 w 1862617"/>
                <a:gd name="connsiteY2" fmla="*/ 348860 h 1694229"/>
                <a:gd name="connsiteX3" fmla="*/ 1405237 w 1862617"/>
                <a:gd name="connsiteY3" fmla="*/ 271776 h 1694229"/>
                <a:gd name="connsiteX4" fmla="*/ 1382136 w 1862617"/>
                <a:gd name="connsiteY4" fmla="*/ 169931 h 1694229"/>
                <a:gd name="connsiteX5" fmla="*/ 1346239 w 1862617"/>
                <a:gd name="connsiteY5" fmla="*/ 1869 h 1694229"/>
                <a:gd name="connsiteX6" fmla="*/ 1278870 w 1862617"/>
                <a:gd name="connsiteY6" fmla="*/ 43567 h 1694229"/>
                <a:gd name="connsiteX7" fmla="*/ 1273302 w 1862617"/>
                <a:gd name="connsiteY7" fmla="*/ 101090 h 1694229"/>
                <a:gd name="connsiteX8" fmla="*/ 1257397 w 1862617"/>
                <a:gd name="connsiteY8" fmla="*/ 152303 h 1694229"/>
                <a:gd name="connsiteX9" fmla="*/ 1237872 w 1862617"/>
                <a:gd name="connsiteY9" fmla="*/ 204316 h 1694229"/>
                <a:gd name="connsiteX10" fmla="*/ 1236143 w 1862617"/>
                <a:gd name="connsiteY10" fmla="*/ 273739 h 1694229"/>
                <a:gd name="connsiteX11" fmla="*/ 1163162 w 1862617"/>
                <a:gd name="connsiteY11" fmla="*/ 283903 h 1694229"/>
                <a:gd name="connsiteX12" fmla="*/ 1098809 w 1862617"/>
                <a:gd name="connsiteY12" fmla="*/ 285917 h 1694229"/>
                <a:gd name="connsiteX13" fmla="*/ 1051208 w 1862617"/>
                <a:gd name="connsiteY13" fmla="*/ 346183 h 1694229"/>
                <a:gd name="connsiteX14" fmla="*/ 996593 w 1862617"/>
                <a:gd name="connsiteY14" fmla="*/ 371690 h 1694229"/>
                <a:gd name="connsiteX15" fmla="*/ 943969 w 1862617"/>
                <a:gd name="connsiteY15" fmla="*/ 358385 h 1694229"/>
                <a:gd name="connsiteX16" fmla="*/ 837229 w 1862617"/>
                <a:gd name="connsiteY16" fmla="*/ 376257 h 1694229"/>
                <a:gd name="connsiteX17" fmla="*/ 814246 w 1862617"/>
                <a:gd name="connsiteY17" fmla="*/ 440035 h 1694229"/>
                <a:gd name="connsiteX18" fmla="*/ 797163 w 1862617"/>
                <a:gd name="connsiteY18" fmla="*/ 475926 h 1694229"/>
                <a:gd name="connsiteX19" fmla="*/ 715132 w 1862617"/>
                <a:gd name="connsiteY19" fmla="*/ 494632 h 1694229"/>
                <a:gd name="connsiteX20" fmla="*/ 697320 w 1862617"/>
                <a:gd name="connsiteY20" fmla="*/ 440647 h 1694229"/>
                <a:gd name="connsiteX21" fmla="*/ 653456 w 1862617"/>
                <a:gd name="connsiteY21" fmla="*/ 420298 h 1694229"/>
                <a:gd name="connsiteX22" fmla="*/ 518140 w 1862617"/>
                <a:gd name="connsiteY22" fmla="*/ 420641 h 1694229"/>
                <a:gd name="connsiteX23" fmla="*/ 434263 w 1862617"/>
                <a:gd name="connsiteY23" fmla="*/ 447350 h 1694229"/>
                <a:gd name="connsiteX24" fmla="*/ 401044 w 1862617"/>
                <a:gd name="connsiteY24" fmla="*/ 420298 h 1694229"/>
                <a:gd name="connsiteX25" fmla="*/ 381994 w 1862617"/>
                <a:gd name="connsiteY25" fmla="*/ 358385 h 1694229"/>
                <a:gd name="connsiteX26" fmla="*/ 315319 w 1862617"/>
                <a:gd name="connsiteY26" fmla="*/ 305998 h 1694229"/>
                <a:gd name="connsiteX27" fmla="*/ 270134 w 1862617"/>
                <a:gd name="connsiteY27" fmla="*/ 229110 h 1694229"/>
                <a:gd name="connsiteX28" fmla="*/ 146784 w 1862617"/>
                <a:gd name="connsiteY28" fmla="*/ 258373 h 1694229"/>
                <a:gd name="connsiteX29" fmla="*/ 127734 w 1862617"/>
                <a:gd name="connsiteY29" fmla="*/ 344785 h 1694229"/>
                <a:gd name="connsiteX30" fmla="*/ 145174 w 1862617"/>
                <a:gd name="connsiteY30" fmla="*/ 411312 h 1694229"/>
                <a:gd name="connsiteX31" fmla="*/ 117735 w 1862617"/>
                <a:gd name="connsiteY31" fmla="*/ 446172 h 1694229"/>
                <a:gd name="connsiteX32" fmla="*/ 65347 w 1862617"/>
                <a:gd name="connsiteY32" fmla="*/ 474059 h 1694229"/>
                <a:gd name="connsiteX33" fmla="*/ 37246 w 1862617"/>
                <a:gd name="connsiteY33" fmla="*/ 482063 h 1694229"/>
                <a:gd name="connsiteX34" fmla="*/ 15281 w 1862617"/>
                <a:gd name="connsiteY34" fmla="*/ 520310 h 1694229"/>
                <a:gd name="connsiteX35" fmla="*/ 1469 w 1862617"/>
                <a:gd name="connsiteY35" fmla="*/ 632745 h 1694229"/>
                <a:gd name="connsiteX36" fmla="*/ 51178 w 1862617"/>
                <a:gd name="connsiteY36" fmla="*/ 685967 h 1694229"/>
                <a:gd name="connsiteX37" fmla="*/ 108092 w 1862617"/>
                <a:gd name="connsiteY37" fmla="*/ 681547 h 1694229"/>
                <a:gd name="connsiteX38" fmla="*/ 93804 w 1862617"/>
                <a:gd name="connsiteY38" fmla="*/ 751806 h 1694229"/>
                <a:gd name="connsiteX39" fmla="*/ 148631 w 1862617"/>
                <a:gd name="connsiteY39" fmla="*/ 782248 h 1694229"/>
                <a:gd name="connsiteX40" fmla="*/ 217629 w 1862617"/>
                <a:gd name="connsiteY40" fmla="*/ 792460 h 1694229"/>
                <a:gd name="connsiteX41" fmla="*/ 252932 w 1862617"/>
                <a:gd name="connsiteY41" fmla="*/ 848431 h 1694229"/>
                <a:gd name="connsiteX42" fmla="*/ 252339 w 1862617"/>
                <a:gd name="connsiteY42" fmla="*/ 893503 h 1694229"/>
                <a:gd name="connsiteX43" fmla="*/ 276863 w 1862617"/>
                <a:gd name="connsiteY43" fmla="*/ 932978 h 1694229"/>
                <a:gd name="connsiteX44" fmla="*/ 322521 w 1862617"/>
                <a:gd name="connsiteY44" fmla="*/ 971570 h 1694229"/>
                <a:gd name="connsiteX45" fmla="*/ 407654 w 1862617"/>
                <a:gd name="connsiteY45" fmla="*/ 1025822 h 1694229"/>
                <a:gd name="connsiteX46" fmla="*/ 443431 w 1862617"/>
                <a:gd name="connsiteY46" fmla="*/ 1096915 h 1694229"/>
                <a:gd name="connsiteX47" fmla="*/ 422534 w 1862617"/>
                <a:gd name="connsiteY47" fmla="*/ 1166488 h 1694229"/>
                <a:gd name="connsiteX48" fmla="*/ 500581 w 1862617"/>
                <a:gd name="connsiteY48" fmla="*/ 1222951 h 1694229"/>
                <a:gd name="connsiteX49" fmla="*/ 572613 w 1862617"/>
                <a:gd name="connsiteY49" fmla="*/ 1255945 h 1694229"/>
                <a:gd name="connsiteX50" fmla="*/ 553444 w 1862617"/>
                <a:gd name="connsiteY50" fmla="*/ 1315648 h 1694229"/>
                <a:gd name="connsiteX51" fmla="*/ 643931 w 1862617"/>
                <a:gd name="connsiteY51" fmla="*/ 1468048 h 1694229"/>
                <a:gd name="connsiteX52" fmla="*/ 736741 w 1862617"/>
                <a:gd name="connsiteY52" fmla="*/ 1541202 h 1694229"/>
                <a:gd name="connsiteX53" fmla="*/ 786806 w 1862617"/>
                <a:gd name="connsiteY53" fmla="*/ 1491860 h 1694229"/>
                <a:gd name="connsiteX54" fmla="*/ 851396 w 1862617"/>
                <a:gd name="connsiteY54" fmla="*/ 1519257 h 1694229"/>
                <a:gd name="connsiteX55" fmla="*/ 905869 w 1862617"/>
                <a:gd name="connsiteY55" fmla="*/ 1487098 h 1694229"/>
                <a:gd name="connsiteX56" fmla="*/ 922716 w 1862617"/>
                <a:gd name="connsiteY56" fmla="*/ 1444922 h 1694229"/>
                <a:gd name="connsiteX57" fmla="*/ 986593 w 1862617"/>
                <a:gd name="connsiteY57" fmla="*/ 1531334 h 1694229"/>
                <a:gd name="connsiteX58" fmla="*/ 1031660 w 1862617"/>
                <a:gd name="connsiteY58" fmla="*/ 1602428 h 1694229"/>
                <a:gd name="connsiteX59" fmla="*/ 1101606 w 1862617"/>
                <a:gd name="connsiteY59" fmla="*/ 1693947 h 1694229"/>
                <a:gd name="connsiteX60" fmla="*/ 1132504 w 1862617"/>
                <a:gd name="connsiteY60" fmla="*/ 1630856 h 1694229"/>
                <a:gd name="connsiteX61" fmla="*/ 1163163 w 1862617"/>
                <a:gd name="connsiteY61" fmla="*/ 1624376 h 1694229"/>
                <a:gd name="connsiteX62" fmla="*/ 1206262 w 1862617"/>
                <a:gd name="connsiteY62" fmla="*/ 1653639 h 1694229"/>
                <a:gd name="connsiteX63" fmla="*/ 1239837 w 1862617"/>
                <a:gd name="connsiteY63" fmla="*/ 1612985 h 1694229"/>
                <a:gd name="connsiteX64" fmla="*/ 1258658 w 1862617"/>
                <a:gd name="connsiteY64" fmla="*/ 1617602 h 1694229"/>
                <a:gd name="connsiteX65" fmla="*/ 1292700 w 1862617"/>
                <a:gd name="connsiteY65" fmla="*/ 1684079 h 1694229"/>
                <a:gd name="connsiteX66" fmla="*/ 1349256 w 1862617"/>
                <a:gd name="connsiteY66" fmla="*/ 1660610 h 1694229"/>
                <a:gd name="connsiteX67" fmla="*/ 1401288 w 1862617"/>
                <a:gd name="connsiteY67" fmla="*/ 1604489 h 1694229"/>
                <a:gd name="connsiteX68" fmla="*/ 1452065 w 1862617"/>
                <a:gd name="connsiteY68" fmla="*/ 1587946 h 1694229"/>
                <a:gd name="connsiteX69" fmla="*/ 1469744 w 1862617"/>
                <a:gd name="connsiteY69" fmla="*/ 1643768 h 1694229"/>
                <a:gd name="connsiteX70" fmla="*/ 1539639 w 1862617"/>
                <a:gd name="connsiteY70" fmla="*/ 1618090 h 1694229"/>
                <a:gd name="connsiteX71" fmla="*/ 1570417 w 1862617"/>
                <a:gd name="connsiteY71" fmla="*/ 1531334 h 1694229"/>
                <a:gd name="connsiteX72" fmla="*/ 1651853 w 1862617"/>
                <a:gd name="connsiteY72" fmla="*/ 1441192 h 1694229"/>
                <a:gd name="connsiteX73" fmla="*/ 1696444 w 1862617"/>
                <a:gd name="connsiteY73" fmla="*/ 1410062 h 1694229"/>
                <a:gd name="connsiteX74" fmla="*/ 1724813 w 1862617"/>
                <a:gd name="connsiteY74" fmla="*/ 1413357 h 1694229"/>
                <a:gd name="connsiteX75" fmla="*/ 1802405 w 1862617"/>
                <a:gd name="connsiteY75" fmla="*/ 1402749 h 1694229"/>
                <a:gd name="connsiteX76" fmla="*/ 1797524 w 1862617"/>
                <a:gd name="connsiteY76" fmla="*/ 1456313 h 1694229"/>
                <a:gd name="connsiteX77" fmla="*/ 1855691 w 1862617"/>
                <a:gd name="connsiteY77" fmla="*/ 1479634 h 1694229"/>
                <a:gd name="connsiteX78" fmla="*/ 1857299 w 1862617"/>
                <a:gd name="connsiteY78" fmla="*/ 1457000 h 1694229"/>
                <a:gd name="connsiteX79" fmla="*/ 1856521 w 1862617"/>
                <a:gd name="connsiteY79" fmla="*/ 1396266 h 1694229"/>
                <a:gd name="connsiteX80" fmla="*/ 1834556 w 1862617"/>
                <a:gd name="connsiteY80" fmla="*/ 1306123 h 1694229"/>
                <a:gd name="connsiteX81" fmla="*/ 1834556 w 1862617"/>
                <a:gd name="connsiteY81" fmla="*/ 1248973 h 1694229"/>
                <a:gd name="connsiteX82" fmla="*/ 1791694 w 1862617"/>
                <a:gd name="connsiteY82" fmla="*/ 1239448 h 1694229"/>
                <a:gd name="connsiteX83" fmla="*/ 1715494 w 1862617"/>
                <a:gd name="connsiteY83" fmla="*/ 1158485 h 1694229"/>
                <a:gd name="connsiteX84" fmla="*/ 1677394 w 1862617"/>
                <a:gd name="connsiteY84" fmla="*/ 977510 h 1694229"/>
                <a:gd name="connsiteX85" fmla="*/ 1625006 w 1862617"/>
                <a:gd name="connsiteY85" fmla="*/ 944173 h 1694229"/>
                <a:gd name="connsiteX86" fmla="*/ 1586906 w 1862617"/>
                <a:gd name="connsiteY86" fmla="*/ 887023 h 1694229"/>
                <a:gd name="connsiteX87" fmla="*/ 1539281 w 1862617"/>
                <a:gd name="connsiteY87" fmla="*/ 839398 h 1694229"/>
                <a:gd name="connsiteX88" fmla="*/ 1472251 w 1862617"/>
                <a:gd name="connsiteY88" fmla="*/ 845878 h 1694229"/>
                <a:gd name="connsiteX89" fmla="*/ 1434506 w 1862617"/>
                <a:gd name="connsiteY89" fmla="*/ 815585 h 1694229"/>
                <a:gd name="connsiteX90" fmla="*/ 1491656 w 1862617"/>
                <a:gd name="connsiteY90" fmla="*/ 782248 h 1694229"/>
                <a:gd name="connsiteX91" fmla="*/ 1458319 w 1862617"/>
                <a:gd name="connsiteY91" fmla="*/ 748910 h 1694229"/>
                <a:gd name="connsiteX92" fmla="*/ 1463081 w 1862617"/>
                <a:gd name="connsiteY92" fmla="*/ 725098 h 1694229"/>
                <a:gd name="connsiteX93" fmla="*/ 1488076 w 1862617"/>
                <a:gd name="connsiteY93" fmla="*/ 724035 h 1694229"/>
                <a:gd name="connsiteX94" fmla="*/ 1553569 w 1862617"/>
                <a:gd name="connsiteY94" fmla="*/ 763198 h 1694229"/>
                <a:gd name="connsiteX95" fmla="*/ 1605956 w 1862617"/>
                <a:gd name="connsiteY95" fmla="*/ 696523 h 1694229"/>
                <a:gd name="connsiteX96" fmla="*/ 1603753 w 1862617"/>
                <a:gd name="connsiteY96" fmla="*/ 553648 h 1694229"/>
                <a:gd name="connsiteX97" fmla="*/ 1620956 w 1862617"/>
                <a:gd name="connsiteY97" fmla="*/ 405322 h 1694229"/>
                <a:gd name="connsiteX0" fmla="*/ 1620956 w 1862617"/>
                <a:gd name="connsiteY0" fmla="*/ 405322 h 1694229"/>
                <a:gd name="connsiteX1" fmla="*/ 1548806 w 1862617"/>
                <a:gd name="connsiteY1" fmla="*/ 372673 h 1694229"/>
                <a:gd name="connsiteX2" fmla="*/ 1458557 w 1862617"/>
                <a:gd name="connsiteY2" fmla="*/ 348860 h 1694229"/>
                <a:gd name="connsiteX3" fmla="*/ 1405237 w 1862617"/>
                <a:gd name="connsiteY3" fmla="*/ 271776 h 1694229"/>
                <a:gd name="connsiteX4" fmla="*/ 1382136 w 1862617"/>
                <a:gd name="connsiteY4" fmla="*/ 169931 h 1694229"/>
                <a:gd name="connsiteX5" fmla="*/ 1346239 w 1862617"/>
                <a:gd name="connsiteY5" fmla="*/ 1869 h 1694229"/>
                <a:gd name="connsiteX6" fmla="*/ 1278870 w 1862617"/>
                <a:gd name="connsiteY6" fmla="*/ 43567 h 1694229"/>
                <a:gd name="connsiteX7" fmla="*/ 1273302 w 1862617"/>
                <a:gd name="connsiteY7" fmla="*/ 101090 h 1694229"/>
                <a:gd name="connsiteX8" fmla="*/ 1257397 w 1862617"/>
                <a:gd name="connsiteY8" fmla="*/ 152303 h 1694229"/>
                <a:gd name="connsiteX9" fmla="*/ 1237872 w 1862617"/>
                <a:gd name="connsiteY9" fmla="*/ 204316 h 1694229"/>
                <a:gd name="connsiteX10" fmla="*/ 1236143 w 1862617"/>
                <a:gd name="connsiteY10" fmla="*/ 273739 h 1694229"/>
                <a:gd name="connsiteX11" fmla="*/ 1163162 w 1862617"/>
                <a:gd name="connsiteY11" fmla="*/ 283903 h 1694229"/>
                <a:gd name="connsiteX12" fmla="*/ 1098809 w 1862617"/>
                <a:gd name="connsiteY12" fmla="*/ 285917 h 1694229"/>
                <a:gd name="connsiteX13" fmla="*/ 1051208 w 1862617"/>
                <a:gd name="connsiteY13" fmla="*/ 346183 h 1694229"/>
                <a:gd name="connsiteX14" fmla="*/ 996593 w 1862617"/>
                <a:gd name="connsiteY14" fmla="*/ 371690 h 1694229"/>
                <a:gd name="connsiteX15" fmla="*/ 943969 w 1862617"/>
                <a:gd name="connsiteY15" fmla="*/ 358385 h 1694229"/>
                <a:gd name="connsiteX16" fmla="*/ 837229 w 1862617"/>
                <a:gd name="connsiteY16" fmla="*/ 376257 h 1694229"/>
                <a:gd name="connsiteX17" fmla="*/ 814246 w 1862617"/>
                <a:gd name="connsiteY17" fmla="*/ 440035 h 1694229"/>
                <a:gd name="connsiteX18" fmla="*/ 797163 w 1862617"/>
                <a:gd name="connsiteY18" fmla="*/ 475926 h 1694229"/>
                <a:gd name="connsiteX19" fmla="*/ 715132 w 1862617"/>
                <a:gd name="connsiteY19" fmla="*/ 494632 h 1694229"/>
                <a:gd name="connsiteX20" fmla="*/ 697320 w 1862617"/>
                <a:gd name="connsiteY20" fmla="*/ 440647 h 1694229"/>
                <a:gd name="connsiteX21" fmla="*/ 653456 w 1862617"/>
                <a:gd name="connsiteY21" fmla="*/ 420298 h 1694229"/>
                <a:gd name="connsiteX22" fmla="*/ 518140 w 1862617"/>
                <a:gd name="connsiteY22" fmla="*/ 420641 h 1694229"/>
                <a:gd name="connsiteX23" fmla="*/ 434263 w 1862617"/>
                <a:gd name="connsiteY23" fmla="*/ 447350 h 1694229"/>
                <a:gd name="connsiteX24" fmla="*/ 401044 w 1862617"/>
                <a:gd name="connsiteY24" fmla="*/ 420298 h 1694229"/>
                <a:gd name="connsiteX25" fmla="*/ 381994 w 1862617"/>
                <a:gd name="connsiteY25" fmla="*/ 358385 h 1694229"/>
                <a:gd name="connsiteX26" fmla="*/ 315319 w 1862617"/>
                <a:gd name="connsiteY26" fmla="*/ 305998 h 1694229"/>
                <a:gd name="connsiteX27" fmla="*/ 270134 w 1862617"/>
                <a:gd name="connsiteY27" fmla="*/ 229110 h 1694229"/>
                <a:gd name="connsiteX28" fmla="*/ 146784 w 1862617"/>
                <a:gd name="connsiteY28" fmla="*/ 258373 h 1694229"/>
                <a:gd name="connsiteX29" fmla="*/ 127734 w 1862617"/>
                <a:gd name="connsiteY29" fmla="*/ 344785 h 1694229"/>
                <a:gd name="connsiteX30" fmla="*/ 145174 w 1862617"/>
                <a:gd name="connsiteY30" fmla="*/ 411312 h 1694229"/>
                <a:gd name="connsiteX31" fmla="*/ 117735 w 1862617"/>
                <a:gd name="connsiteY31" fmla="*/ 446172 h 1694229"/>
                <a:gd name="connsiteX32" fmla="*/ 65347 w 1862617"/>
                <a:gd name="connsiteY32" fmla="*/ 474059 h 1694229"/>
                <a:gd name="connsiteX33" fmla="*/ 37246 w 1862617"/>
                <a:gd name="connsiteY33" fmla="*/ 482063 h 1694229"/>
                <a:gd name="connsiteX34" fmla="*/ 15281 w 1862617"/>
                <a:gd name="connsiteY34" fmla="*/ 520310 h 1694229"/>
                <a:gd name="connsiteX35" fmla="*/ 1469 w 1862617"/>
                <a:gd name="connsiteY35" fmla="*/ 632745 h 1694229"/>
                <a:gd name="connsiteX36" fmla="*/ 51178 w 1862617"/>
                <a:gd name="connsiteY36" fmla="*/ 685967 h 1694229"/>
                <a:gd name="connsiteX37" fmla="*/ 108092 w 1862617"/>
                <a:gd name="connsiteY37" fmla="*/ 681547 h 1694229"/>
                <a:gd name="connsiteX38" fmla="*/ 93804 w 1862617"/>
                <a:gd name="connsiteY38" fmla="*/ 751806 h 1694229"/>
                <a:gd name="connsiteX39" fmla="*/ 148631 w 1862617"/>
                <a:gd name="connsiteY39" fmla="*/ 782248 h 1694229"/>
                <a:gd name="connsiteX40" fmla="*/ 217629 w 1862617"/>
                <a:gd name="connsiteY40" fmla="*/ 792460 h 1694229"/>
                <a:gd name="connsiteX41" fmla="*/ 252932 w 1862617"/>
                <a:gd name="connsiteY41" fmla="*/ 848431 h 1694229"/>
                <a:gd name="connsiteX42" fmla="*/ 252339 w 1862617"/>
                <a:gd name="connsiteY42" fmla="*/ 893503 h 1694229"/>
                <a:gd name="connsiteX43" fmla="*/ 276863 w 1862617"/>
                <a:gd name="connsiteY43" fmla="*/ 932978 h 1694229"/>
                <a:gd name="connsiteX44" fmla="*/ 322521 w 1862617"/>
                <a:gd name="connsiteY44" fmla="*/ 971570 h 1694229"/>
                <a:gd name="connsiteX45" fmla="*/ 407654 w 1862617"/>
                <a:gd name="connsiteY45" fmla="*/ 1025822 h 1694229"/>
                <a:gd name="connsiteX46" fmla="*/ 443431 w 1862617"/>
                <a:gd name="connsiteY46" fmla="*/ 1096915 h 1694229"/>
                <a:gd name="connsiteX47" fmla="*/ 422534 w 1862617"/>
                <a:gd name="connsiteY47" fmla="*/ 1166488 h 1694229"/>
                <a:gd name="connsiteX48" fmla="*/ 500581 w 1862617"/>
                <a:gd name="connsiteY48" fmla="*/ 1222951 h 1694229"/>
                <a:gd name="connsiteX49" fmla="*/ 572613 w 1862617"/>
                <a:gd name="connsiteY49" fmla="*/ 1255945 h 1694229"/>
                <a:gd name="connsiteX50" fmla="*/ 553444 w 1862617"/>
                <a:gd name="connsiteY50" fmla="*/ 1315648 h 1694229"/>
                <a:gd name="connsiteX51" fmla="*/ 643931 w 1862617"/>
                <a:gd name="connsiteY51" fmla="*/ 1468048 h 1694229"/>
                <a:gd name="connsiteX52" fmla="*/ 736741 w 1862617"/>
                <a:gd name="connsiteY52" fmla="*/ 1541202 h 1694229"/>
                <a:gd name="connsiteX53" fmla="*/ 786806 w 1862617"/>
                <a:gd name="connsiteY53" fmla="*/ 1491860 h 1694229"/>
                <a:gd name="connsiteX54" fmla="*/ 851396 w 1862617"/>
                <a:gd name="connsiteY54" fmla="*/ 1519257 h 1694229"/>
                <a:gd name="connsiteX55" fmla="*/ 905869 w 1862617"/>
                <a:gd name="connsiteY55" fmla="*/ 1487098 h 1694229"/>
                <a:gd name="connsiteX56" fmla="*/ 922716 w 1862617"/>
                <a:gd name="connsiteY56" fmla="*/ 1444922 h 1694229"/>
                <a:gd name="connsiteX57" fmla="*/ 986593 w 1862617"/>
                <a:gd name="connsiteY57" fmla="*/ 1531334 h 1694229"/>
                <a:gd name="connsiteX58" fmla="*/ 1031660 w 1862617"/>
                <a:gd name="connsiteY58" fmla="*/ 1602428 h 1694229"/>
                <a:gd name="connsiteX59" fmla="*/ 1101606 w 1862617"/>
                <a:gd name="connsiteY59" fmla="*/ 1693947 h 1694229"/>
                <a:gd name="connsiteX60" fmla="*/ 1132504 w 1862617"/>
                <a:gd name="connsiteY60" fmla="*/ 1630856 h 1694229"/>
                <a:gd name="connsiteX61" fmla="*/ 1163163 w 1862617"/>
                <a:gd name="connsiteY61" fmla="*/ 1624376 h 1694229"/>
                <a:gd name="connsiteX62" fmla="*/ 1206262 w 1862617"/>
                <a:gd name="connsiteY62" fmla="*/ 1653639 h 1694229"/>
                <a:gd name="connsiteX63" fmla="*/ 1239837 w 1862617"/>
                <a:gd name="connsiteY63" fmla="*/ 1612985 h 1694229"/>
                <a:gd name="connsiteX64" fmla="*/ 1258658 w 1862617"/>
                <a:gd name="connsiteY64" fmla="*/ 1617602 h 1694229"/>
                <a:gd name="connsiteX65" fmla="*/ 1292700 w 1862617"/>
                <a:gd name="connsiteY65" fmla="*/ 1684079 h 1694229"/>
                <a:gd name="connsiteX66" fmla="*/ 1349256 w 1862617"/>
                <a:gd name="connsiteY66" fmla="*/ 1660610 h 1694229"/>
                <a:gd name="connsiteX67" fmla="*/ 1401288 w 1862617"/>
                <a:gd name="connsiteY67" fmla="*/ 1604489 h 1694229"/>
                <a:gd name="connsiteX68" fmla="*/ 1452065 w 1862617"/>
                <a:gd name="connsiteY68" fmla="*/ 1587946 h 1694229"/>
                <a:gd name="connsiteX69" fmla="*/ 1469744 w 1862617"/>
                <a:gd name="connsiteY69" fmla="*/ 1643768 h 1694229"/>
                <a:gd name="connsiteX70" fmla="*/ 1539639 w 1862617"/>
                <a:gd name="connsiteY70" fmla="*/ 1618090 h 1694229"/>
                <a:gd name="connsiteX71" fmla="*/ 1570417 w 1862617"/>
                <a:gd name="connsiteY71" fmla="*/ 1531334 h 1694229"/>
                <a:gd name="connsiteX72" fmla="*/ 1651853 w 1862617"/>
                <a:gd name="connsiteY72" fmla="*/ 1441192 h 1694229"/>
                <a:gd name="connsiteX73" fmla="*/ 1696444 w 1862617"/>
                <a:gd name="connsiteY73" fmla="*/ 1410062 h 1694229"/>
                <a:gd name="connsiteX74" fmla="*/ 1724813 w 1862617"/>
                <a:gd name="connsiteY74" fmla="*/ 1413357 h 1694229"/>
                <a:gd name="connsiteX75" fmla="*/ 1802405 w 1862617"/>
                <a:gd name="connsiteY75" fmla="*/ 1402749 h 1694229"/>
                <a:gd name="connsiteX76" fmla="*/ 1797524 w 1862617"/>
                <a:gd name="connsiteY76" fmla="*/ 1456313 h 1694229"/>
                <a:gd name="connsiteX77" fmla="*/ 1855691 w 1862617"/>
                <a:gd name="connsiteY77" fmla="*/ 1479634 h 1694229"/>
                <a:gd name="connsiteX78" fmla="*/ 1857299 w 1862617"/>
                <a:gd name="connsiteY78" fmla="*/ 1457000 h 1694229"/>
                <a:gd name="connsiteX79" fmla="*/ 1856521 w 1862617"/>
                <a:gd name="connsiteY79" fmla="*/ 1396266 h 1694229"/>
                <a:gd name="connsiteX80" fmla="*/ 1834556 w 1862617"/>
                <a:gd name="connsiteY80" fmla="*/ 1306123 h 1694229"/>
                <a:gd name="connsiteX81" fmla="*/ 1834556 w 1862617"/>
                <a:gd name="connsiteY81" fmla="*/ 1248973 h 1694229"/>
                <a:gd name="connsiteX82" fmla="*/ 1791694 w 1862617"/>
                <a:gd name="connsiteY82" fmla="*/ 1239448 h 1694229"/>
                <a:gd name="connsiteX83" fmla="*/ 1715494 w 1862617"/>
                <a:gd name="connsiteY83" fmla="*/ 1158485 h 1694229"/>
                <a:gd name="connsiteX84" fmla="*/ 1677394 w 1862617"/>
                <a:gd name="connsiteY84" fmla="*/ 977510 h 1694229"/>
                <a:gd name="connsiteX85" fmla="*/ 1625006 w 1862617"/>
                <a:gd name="connsiteY85" fmla="*/ 944173 h 1694229"/>
                <a:gd name="connsiteX86" fmla="*/ 1586906 w 1862617"/>
                <a:gd name="connsiteY86" fmla="*/ 887023 h 1694229"/>
                <a:gd name="connsiteX87" fmla="*/ 1539281 w 1862617"/>
                <a:gd name="connsiteY87" fmla="*/ 839398 h 1694229"/>
                <a:gd name="connsiteX88" fmla="*/ 1472251 w 1862617"/>
                <a:gd name="connsiteY88" fmla="*/ 845878 h 1694229"/>
                <a:gd name="connsiteX89" fmla="*/ 1434506 w 1862617"/>
                <a:gd name="connsiteY89" fmla="*/ 815585 h 1694229"/>
                <a:gd name="connsiteX90" fmla="*/ 1491656 w 1862617"/>
                <a:gd name="connsiteY90" fmla="*/ 782248 h 1694229"/>
                <a:gd name="connsiteX91" fmla="*/ 1458319 w 1862617"/>
                <a:gd name="connsiteY91" fmla="*/ 748910 h 1694229"/>
                <a:gd name="connsiteX92" fmla="*/ 1463081 w 1862617"/>
                <a:gd name="connsiteY92" fmla="*/ 725098 h 1694229"/>
                <a:gd name="connsiteX93" fmla="*/ 1488076 w 1862617"/>
                <a:gd name="connsiteY93" fmla="*/ 724035 h 1694229"/>
                <a:gd name="connsiteX94" fmla="*/ 1580416 w 1862617"/>
                <a:gd name="connsiteY94" fmla="*/ 740220 h 1694229"/>
                <a:gd name="connsiteX95" fmla="*/ 1605956 w 1862617"/>
                <a:gd name="connsiteY95" fmla="*/ 696523 h 1694229"/>
                <a:gd name="connsiteX96" fmla="*/ 1603753 w 1862617"/>
                <a:gd name="connsiteY96" fmla="*/ 553648 h 1694229"/>
                <a:gd name="connsiteX97" fmla="*/ 1620956 w 1862617"/>
                <a:gd name="connsiteY97" fmla="*/ 405322 h 1694229"/>
                <a:gd name="connsiteX0" fmla="*/ 1620956 w 1862617"/>
                <a:gd name="connsiteY0" fmla="*/ 405322 h 1694229"/>
                <a:gd name="connsiteX1" fmla="*/ 1548806 w 1862617"/>
                <a:gd name="connsiteY1" fmla="*/ 372673 h 1694229"/>
                <a:gd name="connsiteX2" fmla="*/ 1458557 w 1862617"/>
                <a:gd name="connsiteY2" fmla="*/ 348860 h 1694229"/>
                <a:gd name="connsiteX3" fmla="*/ 1405237 w 1862617"/>
                <a:gd name="connsiteY3" fmla="*/ 271776 h 1694229"/>
                <a:gd name="connsiteX4" fmla="*/ 1382136 w 1862617"/>
                <a:gd name="connsiteY4" fmla="*/ 169931 h 1694229"/>
                <a:gd name="connsiteX5" fmla="*/ 1346239 w 1862617"/>
                <a:gd name="connsiteY5" fmla="*/ 1869 h 1694229"/>
                <a:gd name="connsiteX6" fmla="*/ 1278870 w 1862617"/>
                <a:gd name="connsiteY6" fmla="*/ 43567 h 1694229"/>
                <a:gd name="connsiteX7" fmla="*/ 1273302 w 1862617"/>
                <a:gd name="connsiteY7" fmla="*/ 101090 h 1694229"/>
                <a:gd name="connsiteX8" fmla="*/ 1257397 w 1862617"/>
                <a:gd name="connsiteY8" fmla="*/ 152303 h 1694229"/>
                <a:gd name="connsiteX9" fmla="*/ 1237872 w 1862617"/>
                <a:gd name="connsiteY9" fmla="*/ 204316 h 1694229"/>
                <a:gd name="connsiteX10" fmla="*/ 1236143 w 1862617"/>
                <a:gd name="connsiteY10" fmla="*/ 273739 h 1694229"/>
                <a:gd name="connsiteX11" fmla="*/ 1163162 w 1862617"/>
                <a:gd name="connsiteY11" fmla="*/ 283903 h 1694229"/>
                <a:gd name="connsiteX12" fmla="*/ 1098809 w 1862617"/>
                <a:gd name="connsiteY12" fmla="*/ 285917 h 1694229"/>
                <a:gd name="connsiteX13" fmla="*/ 1051208 w 1862617"/>
                <a:gd name="connsiteY13" fmla="*/ 346183 h 1694229"/>
                <a:gd name="connsiteX14" fmla="*/ 996593 w 1862617"/>
                <a:gd name="connsiteY14" fmla="*/ 371690 h 1694229"/>
                <a:gd name="connsiteX15" fmla="*/ 943969 w 1862617"/>
                <a:gd name="connsiteY15" fmla="*/ 358385 h 1694229"/>
                <a:gd name="connsiteX16" fmla="*/ 837229 w 1862617"/>
                <a:gd name="connsiteY16" fmla="*/ 376257 h 1694229"/>
                <a:gd name="connsiteX17" fmla="*/ 814246 w 1862617"/>
                <a:gd name="connsiteY17" fmla="*/ 440035 h 1694229"/>
                <a:gd name="connsiteX18" fmla="*/ 797163 w 1862617"/>
                <a:gd name="connsiteY18" fmla="*/ 475926 h 1694229"/>
                <a:gd name="connsiteX19" fmla="*/ 715132 w 1862617"/>
                <a:gd name="connsiteY19" fmla="*/ 494632 h 1694229"/>
                <a:gd name="connsiteX20" fmla="*/ 697320 w 1862617"/>
                <a:gd name="connsiteY20" fmla="*/ 440647 h 1694229"/>
                <a:gd name="connsiteX21" fmla="*/ 653456 w 1862617"/>
                <a:gd name="connsiteY21" fmla="*/ 420298 h 1694229"/>
                <a:gd name="connsiteX22" fmla="*/ 518140 w 1862617"/>
                <a:gd name="connsiteY22" fmla="*/ 420641 h 1694229"/>
                <a:gd name="connsiteX23" fmla="*/ 434263 w 1862617"/>
                <a:gd name="connsiteY23" fmla="*/ 447350 h 1694229"/>
                <a:gd name="connsiteX24" fmla="*/ 401044 w 1862617"/>
                <a:gd name="connsiteY24" fmla="*/ 420298 h 1694229"/>
                <a:gd name="connsiteX25" fmla="*/ 381994 w 1862617"/>
                <a:gd name="connsiteY25" fmla="*/ 358385 h 1694229"/>
                <a:gd name="connsiteX26" fmla="*/ 315319 w 1862617"/>
                <a:gd name="connsiteY26" fmla="*/ 305998 h 1694229"/>
                <a:gd name="connsiteX27" fmla="*/ 270134 w 1862617"/>
                <a:gd name="connsiteY27" fmla="*/ 229110 h 1694229"/>
                <a:gd name="connsiteX28" fmla="*/ 146784 w 1862617"/>
                <a:gd name="connsiteY28" fmla="*/ 258373 h 1694229"/>
                <a:gd name="connsiteX29" fmla="*/ 127734 w 1862617"/>
                <a:gd name="connsiteY29" fmla="*/ 344785 h 1694229"/>
                <a:gd name="connsiteX30" fmla="*/ 145174 w 1862617"/>
                <a:gd name="connsiteY30" fmla="*/ 411312 h 1694229"/>
                <a:gd name="connsiteX31" fmla="*/ 117735 w 1862617"/>
                <a:gd name="connsiteY31" fmla="*/ 446172 h 1694229"/>
                <a:gd name="connsiteX32" fmla="*/ 65347 w 1862617"/>
                <a:gd name="connsiteY32" fmla="*/ 474059 h 1694229"/>
                <a:gd name="connsiteX33" fmla="*/ 37246 w 1862617"/>
                <a:gd name="connsiteY33" fmla="*/ 482063 h 1694229"/>
                <a:gd name="connsiteX34" fmla="*/ 15281 w 1862617"/>
                <a:gd name="connsiteY34" fmla="*/ 520310 h 1694229"/>
                <a:gd name="connsiteX35" fmla="*/ 1469 w 1862617"/>
                <a:gd name="connsiteY35" fmla="*/ 632745 h 1694229"/>
                <a:gd name="connsiteX36" fmla="*/ 51178 w 1862617"/>
                <a:gd name="connsiteY36" fmla="*/ 685967 h 1694229"/>
                <a:gd name="connsiteX37" fmla="*/ 108092 w 1862617"/>
                <a:gd name="connsiteY37" fmla="*/ 681547 h 1694229"/>
                <a:gd name="connsiteX38" fmla="*/ 93804 w 1862617"/>
                <a:gd name="connsiteY38" fmla="*/ 751806 h 1694229"/>
                <a:gd name="connsiteX39" fmla="*/ 148631 w 1862617"/>
                <a:gd name="connsiteY39" fmla="*/ 782248 h 1694229"/>
                <a:gd name="connsiteX40" fmla="*/ 217629 w 1862617"/>
                <a:gd name="connsiteY40" fmla="*/ 792460 h 1694229"/>
                <a:gd name="connsiteX41" fmla="*/ 252932 w 1862617"/>
                <a:gd name="connsiteY41" fmla="*/ 848431 h 1694229"/>
                <a:gd name="connsiteX42" fmla="*/ 252339 w 1862617"/>
                <a:gd name="connsiteY42" fmla="*/ 893503 h 1694229"/>
                <a:gd name="connsiteX43" fmla="*/ 276863 w 1862617"/>
                <a:gd name="connsiteY43" fmla="*/ 932978 h 1694229"/>
                <a:gd name="connsiteX44" fmla="*/ 322521 w 1862617"/>
                <a:gd name="connsiteY44" fmla="*/ 971570 h 1694229"/>
                <a:gd name="connsiteX45" fmla="*/ 407654 w 1862617"/>
                <a:gd name="connsiteY45" fmla="*/ 1025822 h 1694229"/>
                <a:gd name="connsiteX46" fmla="*/ 443431 w 1862617"/>
                <a:gd name="connsiteY46" fmla="*/ 1096915 h 1694229"/>
                <a:gd name="connsiteX47" fmla="*/ 422534 w 1862617"/>
                <a:gd name="connsiteY47" fmla="*/ 1166488 h 1694229"/>
                <a:gd name="connsiteX48" fmla="*/ 500581 w 1862617"/>
                <a:gd name="connsiteY48" fmla="*/ 1222951 h 1694229"/>
                <a:gd name="connsiteX49" fmla="*/ 572613 w 1862617"/>
                <a:gd name="connsiteY49" fmla="*/ 1255945 h 1694229"/>
                <a:gd name="connsiteX50" fmla="*/ 553444 w 1862617"/>
                <a:gd name="connsiteY50" fmla="*/ 1315648 h 1694229"/>
                <a:gd name="connsiteX51" fmla="*/ 643931 w 1862617"/>
                <a:gd name="connsiteY51" fmla="*/ 1468048 h 1694229"/>
                <a:gd name="connsiteX52" fmla="*/ 736741 w 1862617"/>
                <a:gd name="connsiteY52" fmla="*/ 1541202 h 1694229"/>
                <a:gd name="connsiteX53" fmla="*/ 786806 w 1862617"/>
                <a:gd name="connsiteY53" fmla="*/ 1491860 h 1694229"/>
                <a:gd name="connsiteX54" fmla="*/ 851396 w 1862617"/>
                <a:gd name="connsiteY54" fmla="*/ 1519257 h 1694229"/>
                <a:gd name="connsiteX55" fmla="*/ 905869 w 1862617"/>
                <a:gd name="connsiteY55" fmla="*/ 1487098 h 1694229"/>
                <a:gd name="connsiteX56" fmla="*/ 922716 w 1862617"/>
                <a:gd name="connsiteY56" fmla="*/ 1444922 h 1694229"/>
                <a:gd name="connsiteX57" fmla="*/ 986593 w 1862617"/>
                <a:gd name="connsiteY57" fmla="*/ 1531334 h 1694229"/>
                <a:gd name="connsiteX58" fmla="*/ 1031660 w 1862617"/>
                <a:gd name="connsiteY58" fmla="*/ 1602428 h 1694229"/>
                <a:gd name="connsiteX59" fmla="*/ 1101606 w 1862617"/>
                <a:gd name="connsiteY59" fmla="*/ 1693947 h 1694229"/>
                <a:gd name="connsiteX60" fmla="*/ 1132504 w 1862617"/>
                <a:gd name="connsiteY60" fmla="*/ 1630856 h 1694229"/>
                <a:gd name="connsiteX61" fmla="*/ 1163163 w 1862617"/>
                <a:gd name="connsiteY61" fmla="*/ 1624376 h 1694229"/>
                <a:gd name="connsiteX62" fmla="*/ 1206262 w 1862617"/>
                <a:gd name="connsiteY62" fmla="*/ 1653639 h 1694229"/>
                <a:gd name="connsiteX63" fmla="*/ 1239837 w 1862617"/>
                <a:gd name="connsiteY63" fmla="*/ 1612985 h 1694229"/>
                <a:gd name="connsiteX64" fmla="*/ 1258658 w 1862617"/>
                <a:gd name="connsiteY64" fmla="*/ 1617602 h 1694229"/>
                <a:gd name="connsiteX65" fmla="*/ 1292700 w 1862617"/>
                <a:gd name="connsiteY65" fmla="*/ 1684079 h 1694229"/>
                <a:gd name="connsiteX66" fmla="*/ 1349256 w 1862617"/>
                <a:gd name="connsiteY66" fmla="*/ 1660610 h 1694229"/>
                <a:gd name="connsiteX67" fmla="*/ 1401288 w 1862617"/>
                <a:gd name="connsiteY67" fmla="*/ 1604489 h 1694229"/>
                <a:gd name="connsiteX68" fmla="*/ 1452065 w 1862617"/>
                <a:gd name="connsiteY68" fmla="*/ 1587946 h 1694229"/>
                <a:gd name="connsiteX69" fmla="*/ 1469744 w 1862617"/>
                <a:gd name="connsiteY69" fmla="*/ 1643768 h 1694229"/>
                <a:gd name="connsiteX70" fmla="*/ 1539639 w 1862617"/>
                <a:gd name="connsiteY70" fmla="*/ 1618090 h 1694229"/>
                <a:gd name="connsiteX71" fmla="*/ 1570417 w 1862617"/>
                <a:gd name="connsiteY71" fmla="*/ 1531334 h 1694229"/>
                <a:gd name="connsiteX72" fmla="*/ 1651853 w 1862617"/>
                <a:gd name="connsiteY72" fmla="*/ 1441192 h 1694229"/>
                <a:gd name="connsiteX73" fmla="*/ 1696444 w 1862617"/>
                <a:gd name="connsiteY73" fmla="*/ 1410062 h 1694229"/>
                <a:gd name="connsiteX74" fmla="*/ 1724813 w 1862617"/>
                <a:gd name="connsiteY74" fmla="*/ 1413357 h 1694229"/>
                <a:gd name="connsiteX75" fmla="*/ 1802405 w 1862617"/>
                <a:gd name="connsiteY75" fmla="*/ 1402749 h 1694229"/>
                <a:gd name="connsiteX76" fmla="*/ 1797524 w 1862617"/>
                <a:gd name="connsiteY76" fmla="*/ 1456313 h 1694229"/>
                <a:gd name="connsiteX77" fmla="*/ 1855691 w 1862617"/>
                <a:gd name="connsiteY77" fmla="*/ 1479634 h 1694229"/>
                <a:gd name="connsiteX78" fmla="*/ 1857299 w 1862617"/>
                <a:gd name="connsiteY78" fmla="*/ 1457000 h 1694229"/>
                <a:gd name="connsiteX79" fmla="*/ 1856521 w 1862617"/>
                <a:gd name="connsiteY79" fmla="*/ 1396266 h 1694229"/>
                <a:gd name="connsiteX80" fmla="*/ 1834556 w 1862617"/>
                <a:gd name="connsiteY80" fmla="*/ 1306123 h 1694229"/>
                <a:gd name="connsiteX81" fmla="*/ 1834556 w 1862617"/>
                <a:gd name="connsiteY81" fmla="*/ 1248973 h 1694229"/>
                <a:gd name="connsiteX82" fmla="*/ 1791694 w 1862617"/>
                <a:gd name="connsiteY82" fmla="*/ 1239448 h 1694229"/>
                <a:gd name="connsiteX83" fmla="*/ 1715494 w 1862617"/>
                <a:gd name="connsiteY83" fmla="*/ 1158485 h 1694229"/>
                <a:gd name="connsiteX84" fmla="*/ 1677394 w 1862617"/>
                <a:gd name="connsiteY84" fmla="*/ 977510 h 1694229"/>
                <a:gd name="connsiteX85" fmla="*/ 1625006 w 1862617"/>
                <a:gd name="connsiteY85" fmla="*/ 944173 h 1694229"/>
                <a:gd name="connsiteX86" fmla="*/ 1586906 w 1862617"/>
                <a:gd name="connsiteY86" fmla="*/ 887023 h 1694229"/>
                <a:gd name="connsiteX87" fmla="*/ 1539281 w 1862617"/>
                <a:gd name="connsiteY87" fmla="*/ 839398 h 1694229"/>
                <a:gd name="connsiteX88" fmla="*/ 1472251 w 1862617"/>
                <a:gd name="connsiteY88" fmla="*/ 845878 h 1694229"/>
                <a:gd name="connsiteX89" fmla="*/ 1434506 w 1862617"/>
                <a:gd name="connsiteY89" fmla="*/ 815585 h 1694229"/>
                <a:gd name="connsiteX90" fmla="*/ 1491656 w 1862617"/>
                <a:gd name="connsiteY90" fmla="*/ 782248 h 1694229"/>
                <a:gd name="connsiteX91" fmla="*/ 1458319 w 1862617"/>
                <a:gd name="connsiteY91" fmla="*/ 748910 h 1694229"/>
                <a:gd name="connsiteX92" fmla="*/ 1463081 w 1862617"/>
                <a:gd name="connsiteY92" fmla="*/ 725098 h 1694229"/>
                <a:gd name="connsiteX93" fmla="*/ 1488076 w 1862617"/>
                <a:gd name="connsiteY93" fmla="*/ 724035 h 1694229"/>
                <a:gd name="connsiteX94" fmla="*/ 1580416 w 1862617"/>
                <a:gd name="connsiteY94" fmla="*/ 740220 h 1694229"/>
                <a:gd name="connsiteX95" fmla="*/ 1615719 w 1862617"/>
                <a:gd name="connsiteY95" fmla="*/ 683758 h 1694229"/>
                <a:gd name="connsiteX96" fmla="*/ 1603753 w 1862617"/>
                <a:gd name="connsiteY96" fmla="*/ 553648 h 1694229"/>
                <a:gd name="connsiteX97" fmla="*/ 1620956 w 1862617"/>
                <a:gd name="connsiteY97" fmla="*/ 405322 h 1694229"/>
                <a:gd name="connsiteX0" fmla="*/ 1620956 w 1862617"/>
                <a:gd name="connsiteY0" fmla="*/ 405322 h 1694229"/>
                <a:gd name="connsiteX1" fmla="*/ 1548806 w 1862617"/>
                <a:gd name="connsiteY1" fmla="*/ 372673 h 1694229"/>
                <a:gd name="connsiteX2" fmla="*/ 1458557 w 1862617"/>
                <a:gd name="connsiteY2" fmla="*/ 348860 h 1694229"/>
                <a:gd name="connsiteX3" fmla="*/ 1405237 w 1862617"/>
                <a:gd name="connsiteY3" fmla="*/ 271776 h 1694229"/>
                <a:gd name="connsiteX4" fmla="*/ 1382136 w 1862617"/>
                <a:gd name="connsiteY4" fmla="*/ 169931 h 1694229"/>
                <a:gd name="connsiteX5" fmla="*/ 1346239 w 1862617"/>
                <a:gd name="connsiteY5" fmla="*/ 1869 h 1694229"/>
                <a:gd name="connsiteX6" fmla="*/ 1278870 w 1862617"/>
                <a:gd name="connsiteY6" fmla="*/ 43567 h 1694229"/>
                <a:gd name="connsiteX7" fmla="*/ 1273302 w 1862617"/>
                <a:gd name="connsiteY7" fmla="*/ 101090 h 1694229"/>
                <a:gd name="connsiteX8" fmla="*/ 1257397 w 1862617"/>
                <a:gd name="connsiteY8" fmla="*/ 152303 h 1694229"/>
                <a:gd name="connsiteX9" fmla="*/ 1237872 w 1862617"/>
                <a:gd name="connsiteY9" fmla="*/ 204316 h 1694229"/>
                <a:gd name="connsiteX10" fmla="*/ 1236143 w 1862617"/>
                <a:gd name="connsiteY10" fmla="*/ 273739 h 1694229"/>
                <a:gd name="connsiteX11" fmla="*/ 1163162 w 1862617"/>
                <a:gd name="connsiteY11" fmla="*/ 283903 h 1694229"/>
                <a:gd name="connsiteX12" fmla="*/ 1098809 w 1862617"/>
                <a:gd name="connsiteY12" fmla="*/ 285917 h 1694229"/>
                <a:gd name="connsiteX13" fmla="*/ 1051208 w 1862617"/>
                <a:gd name="connsiteY13" fmla="*/ 346183 h 1694229"/>
                <a:gd name="connsiteX14" fmla="*/ 996593 w 1862617"/>
                <a:gd name="connsiteY14" fmla="*/ 371690 h 1694229"/>
                <a:gd name="connsiteX15" fmla="*/ 943969 w 1862617"/>
                <a:gd name="connsiteY15" fmla="*/ 358385 h 1694229"/>
                <a:gd name="connsiteX16" fmla="*/ 837229 w 1862617"/>
                <a:gd name="connsiteY16" fmla="*/ 376257 h 1694229"/>
                <a:gd name="connsiteX17" fmla="*/ 814246 w 1862617"/>
                <a:gd name="connsiteY17" fmla="*/ 440035 h 1694229"/>
                <a:gd name="connsiteX18" fmla="*/ 797163 w 1862617"/>
                <a:gd name="connsiteY18" fmla="*/ 475926 h 1694229"/>
                <a:gd name="connsiteX19" fmla="*/ 715132 w 1862617"/>
                <a:gd name="connsiteY19" fmla="*/ 494632 h 1694229"/>
                <a:gd name="connsiteX20" fmla="*/ 697320 w 1862617"/>
                <a:gd name="connsiteY20" fmla="*/ 440647 h 1694229"/>
                <a:gd name="connsiteX21" fmla="*/ 653456 w 1862617"/>
                <a:gd name="connsiteY21" fmla="*/ 420298 h 1694229"/>
                <a:gd name="connsiteX22" fmla="*/ 518140 w 1862617"/>
                <a:gd name="connsiteY22" fmla="*/ 420641 h 1694229"/>
                <a:gd name="connsiteX23" fmla="*/ 434263 w 1862617"/>
                <a:gd name="connsiteY23" fmla="*/ 447350 h 1694229"/>
                <a:gd name="connsiteX24" fmla="*/ 401044 w 1862617"/>
                <a:gd name="connsiteY24" fmla="*/ 420298 h 1694229"/>
                <a:gd name="connsiteX25" fmla="*/ 381994 w 1862617"/>
                <a:gd name="connsiteY25" fmla="*/ 358385 h 1694229"/>
                <a:gd name="connsiteX26" fmla="*/ 315319 w 1862617"/>
                <a:gd name="connsiteY26" fmla="*/ 305998 h 1694229"/>
                <a:gd name="connsiteX27" fmla="*/ 270134 w 1862617"/>
                <a:gd name="connsiteY27" fmla="*/ 229110 h 1694229"/>
                <a:gd name="connsiteX28" fmla="*/ 146784 w 1862617"/>
                <a:gd name="connsiteY28" fmla="*/ 258373 h 1694229"/>
                <a:gd name="connsiteX29" fmla="*/ 127734 w 1862617"/>
                <a:gd name="connsiteY29" fmla="*/ 344785 h 1694229"/>
                <a:gd name="connsiteX30" fmla="*/ 145174 w 1862617"/>
                <a:gd name="connsiteY30" fmla="*/ 411312 h 1694229"/>
                <a:gd name="connsiteX31" fmla="*/ 117735 w 1862617"/>
                <a:gd name="connsiteY31" fmla="*/ 446172 h 1694229"/>
                <a:gd name="connsiteX32" fmla="*/ 65347 w 1862617"/>
                <a:gd name="connsiteY32" fmla="*/ 474059 h 1694229"/>
                <a:gd name="connsiteX33" fmla="*/ 37246 w 1862617"/>
                <a:gd name="connsiteY33" fmla="*/ 482063 h 1694229"/>
                <a:gd name="connsiteX34" fmla="*/ 15281 w 1862617"/>
                <a:gd name="connsiteY34" fmla="*/ 520310 h 1694229"/>
                <a:gd name="connsiteX35" fmla="*/ 1469 w 1862617"/>
                <a:gd name="connsiteY35" fmla="*/ 632745 h 1694229"/>
                <a:gd name="connsiteX36" fmla="*/ 51178 w 1862617"/>
                <a:gd name="connsiteY36" fmla="*/ 685967 h 1694229"/>
                <a:gd name="connsiteX37" fmla="*/ 108092 w 1862617"/>
                <a:gd name="connsiteY37" fmla="*/ 681547 h 1694229"/>
                <a:gd name="connsiteX38" fmla="*/ 93804 w 1862617"/>
                <a:gd name="connsiteY38" fmla="*/ 751806 h 1694229"/>
                <a:gd name="connsiteX39" fmla="*/ 148631 w 1862617"/>
                <a:gd name="connsiteY39" fmla="*/ 782248 h 1694229"/>
                <a:gd name="connsiteX40" fmla="*/ 217629 w 1862617"/>
                <a:gd name="connsiteY40" fmla="*/ 792460 h 1694229"/>
                <a:gd name="connsiteX41" fmla="*/ 252932 w 1862617"/>
                <a:gd name="connsiteY41" fmla="*/ 848431 h 1694229"/>
                <a:gd name="connsiteX42" fmla="*/ 252339 w 1862617"/>
                <a:gd name="connsiteY42" fmla="*/ 893503 h 1694229"/>
                <a:gd name="connsiteX43" fmla="*/ 276863 w 1862617"/>
                <a:gd name="connsiteY43" fmla="*/ 932978 h 1694229"/>
                <a:gd name="connsiteX44" fmla="*/ 322521 w 1862617"/>
                <a:gd name="connsiteY44" fmla="*/ 971570 h 1694229"/>
                <a:gd name="connsiteX45" fmla="*/ 407654 w 1862617"/>
                <a:gd name="connsiteY45" fmla="*/ 1025822 h 1694229"/>
                <a:gd name="connsiteX46" fmla="*/ 443431 w 1862617"/>
                <a:gd name="connsiteY46" fmla="*/ 1096915 h 1694229"/>
                <a:gd name="connsiteX47" fmla="*/ 422534 w 1862617"/>
                <a:gd name="connsiteY47" fmla="*/ 1166488 h 1694229"/>
                <a:gd name="connsiteX48" fmla="*/ 500581 w 1862617"/>
                <a:gd name="connsiteY48" fmla="*/ 1222951 h 1694229"/>
                <a:gd name="connsiteX49" fmla="*/ 572613 w 1862617"/>
                <a:gd name="connsiteY49" fmla="*/ 1255945 h 1694229"/>
                <a:gd name="connsiteX50" fmla="*/ 553444 w 1862617"/>
                <a:gd name="connsiteY50" fmla="*/ 1315648 h 1694229"/>
                <a:gd name="connsiteX51" fmla="*/ 643931 w 1862617"/>
                <a:gd name="connsiteY51" fmla="*/ 1468048 h 1694229"/>
                <a:gd name="connsiteX52" fmla="*/ 736741 w 1862617"/>
                <a:gd name="connsiteY52" fmla="*/ 1541202 h 1694229"/>
                <a:gd name="connsiteX53" fmla="*/ 786806 w 1862617"/>
                <a:gd name="connsiteY53" fmla="*/ 1491860 h 1694229"/>
                <a:gd name="connsiteX54" fmla="*/ 851396 w 1862617"/>
                <a:gd name="connsiteY54" fmla="*/ 1519257 h 1694229"/>
                <a:gd name="connsiteX55" fmla="*/ 905869 w 1862617"/>
                <a:gd name="connsiteY55" fmla="*/ 1487098 h 1694229"/>
                <a:gd name="connsiteX56" fmla="*/ 922716 w 1862617"/>
                <a:gd name="connsiteY56" fmla="*/ 1444922 h 1694229"/>
                <a:gd name="connsiteX57" fmla="*/ 986593 w 1862617"/>
                <a:gd name="connsiteY57" fmla="*/ 1531334 h 1694229"/>
                <a:gd name="connsiteX58" fmla="*/ 1031660 w 1862617"/>
                <a:gd name="connsiteY58" fmla="*/ 1602428 h 1694229"/>
                <a:gd name="connsiteX59" fmla="*/ 1101606 w 1862617"/>
                <a:gd name="connsiteY59" fmla="*/ 1693947 h 1694229"/>
                <a:gd name="connsiteX60" fmla="*/ 1132504 w 1862617"/>
                <a:gd name="connsiteY60" fmla="*/ 1630856 h 1694229"/>
                <a:gd name="connsiteX61" fmla="*/ 1163163 w 1862617"/>
                <a:gd name="connsiteY61" fmla="*/ 1624376 h 1694229"/>
                <a:gd name="connsiteX62" fmla="*/ 1206262 w 1862617"/>
                <a:gd name="connsiteY62" fmla="*/ 1653639 h 1694229"/>
                <a:gd name="connsiteX63" fmla="*/ 1239837 w 1862617"/>
                <a:gd name="connsiteY63" fmla="*/ 1612985 h 1694229"/>
                <a:gd name="connsiteX64" fmla="*/ 1258658 w 1862617"/>
                <a:gd name="connsiteY64" fmla="*/ 1617602 h 1694229"/>
                <a:gd name="connsiteX65" fmla="*/ 1292700 w 1862617"/>
                <a:gd name="connsiteY65" fmla="*/ 1684079 h 1694229"/>
                <a:gd name="connsiteX66" fmla="*/ 1349256 w 1862617"/>
                <a:gd name="connsiteY66" fmla="*/ 1660610 h 1694229"/>
                <a:gd name="connsiteX67" fmla="*/ 1401288 w 1862617"/>
                <a:gd name="connsiteY67" fmla="*/ 1604489 h 1694229"/>
                <a:gd name="connsiteX68" fmla="*/ 1452065 w 1862617"/>
                <a:gd name="connsiteY68" fmla="*/ 1587946 h 1694229"/>
                <a:gd name="connsiteX69" fmla="*/ 1469744 w 1862617"/>
                <a:gd name="connsiteY69" fmla="*/ 1643768 h 1694229"/>
                <a:gd name="connsiteX70" fmla="*/ 1539639 w 1862617"/>
                <a:gd name="connsiteY70" fmla="*/ 1618090 h 1694229"/>
                <a:gd name="connsiteX71" fmla="*/ 1570417 w 1862617"/>
                <a:gd name="connsiteY71" fmla="*/ 1531334 h 1694229"/>
                <a:gd name="connsiteX72" fmla="*/ 1651853 w 1862617"/>
                <a:gd name="connsiteY72" fmla="*/ 1441192 h 1694229"/>
                <a:gd name="connsiteX73" fmla="*/ 1696444 w 1862617"/>
                <a:gd name="connsiteY73" fmla="*/ 1410062 h 1694229"/>
                <a:gd name="connsiteX74" fmla="*/ 1724813 w 1862617"/>
                <a:gd name="connsiteY74" fmla="*/ 1413357 h 1694229"/>
                <a:gd name="connsiteX75" fmla="*/ 1802405 w 1862617"/>
                <a:gd name="connsiteY75" fmla="*/ 1402749 h 1694229"/>
                <a:gd name="connsiteX76" fmla="*/ 1797524 w 1862617"/>
                <a:gd name="connsiteY76" fmla="*/ 1456313 h 1694229"/>
                <a:gd name="connsiteX77" fmla="*/ 1855691 w 1862617"/>
                <a:gd name="connsiteY77" fmla="*/ 1479634 h 1694229"/>
                <a:gd name="connsiteX78" fmla="*/ 1857299 w 1862617"/>
                <a:gd name="connsiteY78" fmla="*/ 1457000 h 1694229"/>
                <a:gd name="connsiteX79" fmla="*/ 1856521 w 1862617"/>
                <a:gd name="connsiteY79" fmla="*/ 1396266 h 1694229"/>
                <a:gd name="connsiteX80" fmla="*/ 1834556 w 1862617"/>
                <a:gd name="connsiteY80" fmla="*/ 1306123 h 1694229"/>
                <a:gd name="connsiteX81" fmla="*/ 1834556 w 1862617"/>
                <a:gd name="connsiteY81" fmla="*/ 1248973 h 1694229"/>
                <a:gd name="connsiteX82" fmla="*/ 1791694 w 1862617"/>
                <a:gd name="connsiteY82" fmla="*/ 1239448 h 1694229"/>
                <a:gd name="connsiteX83" fmla="*/ 1715494 w 1862617"/>
                <a:gd name="connsiteY83" fmla="*/ 1158485 h 1694229"/>
                <a:gd name="connsiteX84" fmla="*/ 1677394 w 1862617"/>
                <a:gd name="connsiteY84" fmla="*/ 977510 h 1694229"/>
                <a:gd name="connsiteX85" fmla="*/ 1625006 w 1862617"/>
                <a:gd name="connsiteY85" fmla="*/ 944173 h 1694229"/>
                <a:gd name="connsiteX86" fmla="*/ 1586906 w 1862617"/>
                <a:gd name="connsiteY86" fmla="*/ 887023 h 1694229"/>
                <a:gd name="connsiteX87" fmla="*/ 1539281 w 1862617"/>
                <a:gd name="connsiteY87" fmla="*/ 839398 h 1694229"/>
                <a:gd name="connsiteX88" fmla="*/ 1472251 w 1862617"/>
                <a:gd name="connsiteY88" fmla="*/ 845878 h 1694229"/>
                <a:gd name="connsiteX89" fmla="*/ 1434506 w 1862617"/>
                <a:gd name="connsiteY89" fmla="*/ 815585 h 1694229"/>
                <a:gd name="connsiteX90" fmla="*/ 1477013 w 1862617"/>
                <a:gd name="connsiteY90" fmla="*/ 784801 h 1694229"/>
                <a:gd name="connsiteX91" fmla="*/ 1458319 w 1862617"/>
                <a:gd name="connsiteY91" fmla="*/ 748910 h 1694229"/>
                <a:gd name="connsiteX92" fmla="*/ 1463081 w 1862617"/>
                <a:gd name="connsiteY92" fmla="*/ 725098 h 1694229"/>
                <a:gd name="connsiteX93" fmla="*/ 1488076 w 1862617"/>
                <a:gd name="connsiteY93" fmla="*/ 724035 h 1694229"/>
                <a:gd name="connsiteX94" fmla="*/ 1580416 w 1862617"/>
                <a:gd name="connsiteY94" fmla="*/ 740220 h 1694229"/>
                <a:gd name="connsiteX95" fmla="*/ 1615719 w 1862617"/>
                <a:gd name="connsiteY95" fmla="*/ 683758 h 1694229"/>
                <a:gd name="connsiteX96" fmla="*/ 1603753 w 1862617"/>
                <a:gd name="connsiteY96" fmla="*/ 553648 h 1694229"/>
                <a:gd name="connsiteX97" fmla="*/ 1620956 w 1862617"/>
                <a:gd name="connsiteY97" fmla="*/ 405322 h 1694229"/>
                <a:gd name="connsiteX0" fmla="*/ 1620956 w 1862617"/>
                <a:gd name="connsiteY0" fmla="*/ 405322 h 1694229"/>
                <a:gd name="connsiteX1" fmla="*/ 1548806 w 1862617"/>
                <a:gd name="connsiteY1" fmla="*/ 372673 h 1694229"/>
                <a:gd name="connsiteX2" fmla="*/ 1458557 w 1862617"/>
                <a:gd name="connsiteY2" fmla="*/ 348860 h 1694229"/>
                <a:gd name="connsiteX3" fmla="*/ 1405237 w 1862617"/>
                <a:gd name="connsiteY3" fmla="*/ 271776 h 1694229"/>
                <a:gd name="connsiteX4" fmla="*/ 1382136 w 1862617"/>
                <a:gd name="connsiteY4" fmla="*/ 169931 h 1694229"/>
                <a:gd name="connsiteX5" fmla="*/ 1346239 w 1862617"/>
                <a:gd name="connsiteY5" fmla="*/ 1869 h 1694229"/>
                <a:gd name="connsiteX6" fmla="*/ 1278870 w 1862617"/>
                <a:gd name="connsiteY6" fmla="*/ 43567 h 1694229"/>
                <a:gd name="connsiteX7" fmla="*/ 1273302 w 1862617"/>
                <a:gd name="connsiteY7" fmla="*/ 101090 h 1694229"/>
                <a:gd name="connsiteX8" fmla="*/ 1257397 w 1862617"/>
                <a:gd name="connsiteY8" fmla="*/ 152303 h 1694229"/>
                <a:gd name="connsiteX9" fmla="*/ 1237872 w 1862617"/>
                <a:gd name="connsiteY9" fmla="*/ 204316 h 1694229"/>
                <a:gd name="connsiteX10" fmla="*/ 1236143 w 1862617"/>
                <a:gd name="connsiteY10" fmla="*/ 273739 h 1694229"/>
                <a:gd name="connsiteX11" fmla="*/ 1163162 w 1862617"/>
                <a:gd name="connsiteY11" fmla="*/ 283903 h 1694229"/>
                <a:gd name="connsiteX12" fmla="*/ 1098809 w 1862617"/>
                <a:gd name="connsiteY12" fmla="*/ 285917 h 1694229"/>
                <a:gd name="connsiteX13" fmla="*/ 1051208 w 1862617"/>
                <a:gd name="connsiteY13" fmla="*/ 346183 h 1694229"/>
                <a:gd name="connsiteX14" fmla="*/ 996593 w 1862617"/>
                <a:gd name="connsiteY14" fmla="*/ 371690 h 1694229"/>
                <a:gd name="connsiteX15" fmla="*/ 943969 w 1862617"/>
                <a:gd name="connsiteY15" fmla="*/ 358385 h 1694229"/>
                <a:gd name="connsiteX16" fmla="*/ 837229 w 1862617"/>
                <a:gd name="connsiteY16" fmla="*/ 376257 h 1694229"/>
                <a:gd name="connsiteX17" fmla="*/ 814246 w 1862617"/>
                <a:gd name="connsiteY17" fmla="*/ 440035 h 1694229"/>
                <a:gd name="connsiteX18" fmla="*/ 797163 w 1862617"/>
                <a:gd name="connsiteY18" fmla="*/ 475926 h 1694229"/>
                <a:gd name="connsiteX19" fmla="*/ 715132 w 1862617"/>
                <a:gd name="connsiteY19" fmla="*/ 494632 h 1694229"/>
                <a:gd name="connsiteX20" fmla="*/ 697320 w 1862617"/>
                <a:gd name="connsiteY20" fmla="*/ 440647 h 1694229"/>
                <a:gd name="connsiteX21" fmla="*/ 653456 w 1862617"/>
                <a:gd name="connsiteY21" fmla="*/ 420298 h 1694229"/>
                <a:gd name="connsiteX22" fmla="*/ 518140 w 1862617"/>
                <a:gd name="connsiteY22" fmla="*/ 420641 h 1694229"/>
                <a:gd name="connsiteX23" fmla="*/ 434263 w 1862617"/>
                <a:gd name="connsiteY23" fmla="*/ 447350 h 1694229"/>
                <a:gd name="connsiteX24" fmla="*/ 401044 w 1862617"/>
                <a:gd name="connsiteY24" fmla="*/ 420298 h 1694229"/>
                <a:gd name="connsiteX25" fmla="*/ 381994 w 1862617"/>
                <a:gd name="connsiteY25" fmla="*/ 358385 h 1694229"/>
                <a:gd name="connsiteX26" fmla="*/ 315319 w 1862617"/>
                <a:gd name="connsiteY26" fmla="*/ 305998 h 1694229"/>
                <a:gd name="connsiteX27" fmla="*/ 270134 w 1862617"/>
                <a:gd name="connsiteY27" fmla="*/ 229110 h 1694229"/>
                <a:gd name="connsiteX28" fmla="*/ 146784 w 1862617"/>
                <a:gd name="connsiteY28" fmla="*/ 258373 h 1694229"/>
                <a:gd name="connsiteX29" fmla="*/ 127734 w 1862617"/>
                <a:gd name="connsiteY29" fmla="*/ 344785 h 1694229"/>
                <a:gd name="connsiteX30" fmla="*/ 145174 w 1862617"/>
                <a:gd name="connsiteY30" fmla="*/ 411312 h 1694229"/>
                <a:gd name="connsiteX31" fmla="*/ 117735 w 1862617"/>
                <a:gd name="connsiteY31" fmla="*/ 446172 h 1694229"/>
                <a:gd name="connsiteX32" fmla="*/ 65347 w 1862617"/>
                <a:gd name="connsiteY32" fmla="*/ 474059 h 1694229"/>
                <a:gd name="connsiteX33" fmla="*/ 37246 w 1862617"/>
                <a:gd name="connsiteY33" fmla="*/ 482063 h 1694229"/>
                <a:gd name="connsiteX34" fmla="*/ 15281 w 1862617"/>
                <a:gd name="connsiteY34" fmla="*/ 520310 h 1694229"/>
                <a:gd name="connsiteX35" fmla="*/ 1469 w 1862617"/>
                <a:gd name="connsiteY35" fmla="*/ 632745 h 1694229"/>
                <a:gd name="connsiteX36" fmla="*/ 51178 w 1862617"/>
                <a:gd name="connsiteY36" fmla="*/ 685967 h 1694229"/>
                <a:gd name="connsiteX37" fmla="*/ 108092 w 1862617"/>
                <a:gd name="connsiteY37" fmla="*/ 681547 h 1694229"/>
                <a:gd name="connsiteX38" fmla="*/ 93804 w 1862617"/>
                <a:gd name="connsiteY38" fmla="*/ 751806 h 1694229"/>
                <a:gd name="connsiteX39" fmla="*/ 148631 w 1862617"/>
                <a:gd name="connsiteY39" fmla="*/ 782248 h 1694229"/>
                <a:gd name="connsiteX40" fmla="*/ 217629 w 1862617"/>
                <a:gd name="connsiteY40" fmla="*/ 792460 h 1694229"/>
                <a:gd name="connsiteX41" fmla="*/ 252932 w 1862617"/>
                <a:gd name="connsiteY41" fmla="*/ 848431 h 1694229"/>
                <a:gd name="connsiteX42" fmla="*/ 252339 w 1862617"/>
                <a:gd name="connsiteY42" fmla="*/ 893503 h 1694229"/>
                <a:gd name="connsiteX43" fmla="*/ 276863 w 1862617"/>
                <a:gd name="connsiteY43" fmla="*/ 932978 h 1694229"/>
                <a:gd name="connsiteX44" fmla="*/ 322521 w 1862617"/>
                <a:gd name="connsiteY44" fmla="*/ 971570 h 1694229"/>
                <a:gd name="connsiteX45" fmla="*/ 407654 w 1862617"/>
                <a:gd name="connsiteY45" fmla="*/ 1025822 h 1694229"/>
                <a:gd name="connsiteX46" fmla="*/ 443431 w 1862617"/>
                <a:gd name="connsiteY46" fmla="*/ 1096915 h 1694229"/>
                <a:gd name="connsiteX47" fmla="*/ 422534 w 1862617"/>
                <a:gd name="connsiteY47" fmla="*/ 1166488 h 1694229"/>
                <a:gd name="connsiteX48" fmla="*/ 500581 w 1862617"/>
                <a:gd name="connsiteY48" fmla="*/ 1222951 h 1694229"/>
                <a:gd name="connsiteX49" fmla="*/ 572613 w 1862617"/>
                <a:gd name="connsiteY49" fmla="*/ 1255945 h 1694229"/>
                <a:gd name="connsiteX50" fmla="*/ 553444 w 1862617"/>
                <a:gd name="connsiteY50" fmla="*/ 1315648 h 1694229"/>
                <a:gd name="connsiteX51" fmla="*/ 643931 w 1862617"/>
                <a:gd name="connsiteY51" fmla="*/ 1468048 h 1694229"/>
                <a:gd name="connsiteX52" fmla="*/ 736741 w 1862617"/>
                <a:gd name="connsiteY52" fmla="*/ 1541202 h 1694229"/>
                <a:gd name="connsiteX53" fmla="*/ 786806 w 1862617"/>
                <a:gd name="connsiteY53" fmla="*/ 1491860 h 1694229"/>
                <a:gd name="connsiteX54" fmla="*/ 851396 w 1862617"/>
                <a:gd name="connsiteY54" fmla="*/ 1519257 h 1694229"/>
                <a:gd name="connsiteX55" fmla="*/ 905869 w 1862617"/>
                <a:gd name="connsiteY55" fmla="*/ 1487098 h 1694229"/>
                <a:gd name="connsiteX56" fmla="*/ 922716 w 1862617"/>
                <a:gd name="connsiteY56" fmla="*/ 1444922 h 1694229"/>
                <a:gd name="connsiteX57" fmla="*/ 986593 w 1862617"/>
                <a:gd name="connsiteY57" fmla="*/ 1531334 h 1694229"/>
                <a:gd name="connsiteX58" fmla="*/ 1031660 w 1862617"/>
                <a:gd name="connsiteY58" fmla="*/ 1602428 h 1694229"/>
                <a:gd name="connsiteX59" fmla="*/ 1101606 w 1862617"/>
                <a:gd name="connsiteY59" fmla="*/ 1693947 h 1694229"/>
                <a:gd name="connsiteX60" fmla="*/ 1132504 w 1862617"/>
                <a:gd name="connsiteY60" fmla="*/ 1630856 h 1694229"/>
                <a:gd name="connsiteX61" fmla="*/ 1163163 w 1862617"/>
                <a:gd name="connsiteY61" fmla="*/ 1624376 h 1694229"/>
                <a:gd name="connsiteX62" fmla="*/ 1206262 w 1862617"/>
                <a:gd name="connsiteY62" fmla="*/ 1653639 h 1694229"/>
                <a:gd name="connsiteX63" fmla="*/ 1239837 w 1862617"/>
                <a:gd name="connsiteY63" fmla="*/ 1612985 h 1694229"/>
                <a:gd name="connsiteX64" fmla="*/ 1258658 w 1862617"/>
                <a:gd name="connsiteY64" fmla="*/ 1617602 h 1694229"/>
                <a:gd name="connsiteX65" fmla="*/ 1292700 w 1862617"/>
                <a:gd name="connsiteY65" fmla="*/ 1684079 h 1694229"/>
                <a:gd name="connsiteX66" fmla="*/ 1349256 w 1862617"/>
                <a:gd name="connsiteY66" fmla="*/ 1660610 h 1694229"/>
                <a:gd name="connsiteX67" fmla="*/ 1401288 w 1862617"/>
                <a:gd name="connsiteY67" fmla="*/ 1604489 h 1694229"/>
                <a:gd name="connsiteX68" fmla="*/ 1452065 w 1862617"/>
                <a:gd name="connsiteY68" fmla="*/ 1587946 h 1694229"/>
                <a:gd name="connsiteX69" fmla="*/ 1469744 w 1862617"/>
                <a:gd name="connsiteY69" fmla="*/ 1643768 h 1694229"/>
                <a:gd name="connsiteX70" fmla="*/ 1539639 w 1862617"/>
                <a:gd name="connsiteY70" fmla="*/ 1618090 h 1694229"/>
                <a:gd name="connsiteX71" fmla="*/ 1570417 w 1862617"/>
                <a:gd name="connsiteY71" fmla="*/ 1531334 h 1694229"/>
                <a:gd name="connsiteX72" fmla="*/ 1651853 w 1862617"/>
                <a:gd name="connsiteY72" fmla="*/ 1441192 h 1694229"/>
                <a:gd name="connsiteX73" fmla="*/ 1696444 w 1862617"/>
                <a:gd name="connsiteY73" fmla="*/ 1410062 h 1694229"/>
                <a:gd name="connsiteX74" fmla="*/ 1724813 w 1862617"/>
                <a:gd name="connsiteY74" fmla="*/ 1413357 h 1694229"/>
                <a:gd name="connsiteX75" fmla="*/ 1802405 w 1862617"/>
                <a:gd name="connsiteY75" fmla="*/ 1402749 h 1694229"/>
                <a:gd name="connsiteX76" fmla="*/ 1797524 w 1862617"/>
                <a:gd name="connsiteY76" fmla="*/ 1456313 h 1694229"/>
                <a:gd name="connsiteX77" fmla="*/ 1855691 w 1862617"/>
                <a:gd name="connsiteY77" fmla="*/ 1479634 h 1694229"/>
                <a:gd name="connsiteX78" fmla="*/ 1857299 w 1862617"/>
                <a:gd name="connsiteY78" fmla="*/ 1457000 h 1694229"/>
                <a:gd name="connsiteX79" fmla="*/ 1856521 w 1862617"/>
                <a:gd name="connsiteY79" fmla="*/ 1396266 h 1694229"/>
                <a:gd name="connsiteX80" fmla="*/ 1834556 w 1862617"/>
                <a:gd name="connsiteY80" fmla="*/ 1306123 h 1694229"/>
                <a:gd name="connsiteX81" fmla="*/ 1834556 w 1862617"/>
                <a:gd name="connsiteY81" fmla="*/ 1248973 h 1694229"/>
                <a:gd name="connsiteX82" fmla="*/ 1791694 w 1862617"/>
                <a:gd name="connsiteY82" fmla="*/ 1239448 h 1694229"/>
                <a:gd name="connsiteX83" fmla="*/ 1715494 w 1862617"/>
                <a:gd name="connsiteY83" fmla="*/ 1158485 h 1694229"/>
                <a:gd name="connsiteX84" fmla="*/ 1677394 w 1862617"/>
                <a:gd name="connsiteY84" fmla="*/ 977510 h 1694229"/>
                <a:gd name="connsiteX85" fmla="*/ 1625006 w 1862617"/>
                <a:gd name="connsiteY85" fmla="*/ 944173 h 1694229"/>
                <a:gd name="connsiteX86" fmla="*/ 1586906 w 1862617"/>
                <a:gd name="connsiteY86" fmla="*/ 887023 h 1694229"/>
                <a:gd name="connsiteX87" fmla="*/ 1539281 w 1862617"/>
                <a:gd name="connsiteY87" fmla="*/ 839398 h 1694229"/>
                <a:gd name="connsiteX88" fmla="*/ 1472251 w 1862617"/>
                <a:gd name="connsiteY88" fmla="*/ 845878 h 1694229"/>
                <a:gd name="connsiteX89" fmla="*/ 1449150 w 1862617"/>
                <a:gd name="connsiteY89" fmla="*/ 823245 h 1694229"/>
                <a:gd name="connsiteX90" fmla="*/ 1477013 w 1862617"/>
                <a:gd name="connsiteY90" fmla="*/ 784801 h 1694229"/>
                <a:gd name="connsiteX91" fmla="*/ 1458319 w 1862617"/>
                <a:gd name="connsiteY91" fmla="*/ 748910 h 1694229"/>
                <a:gd name="connsiteX92" fmla="*/ 1463081 w 1862617"/>
                <a:gd name="connsiteY92" fmla="*/ 725098 h 1694229"/>
                <a:gd name="connsiteX93" fmla="*/ 1488076 w 1862617"/>
                <a:gd name="connsiteY93" fmla="*/ 724035 h 1694229"/>
                <a:gd name="connsiteX94" fmla="*/ 1580416 w 1862617"/>
                <a:gd name="connsiteY94" fmla="*/ 740220 h 1694229"/>
                <a:gd name="connsiteX95" fmla="*/ 1615719 w 1862617"/>
                <a:gd name="connsiteY95" fmla="*/ 683758 h 1694229"/>
                <a:gd name="connsiteX96" fmla="*/ 1603753 w 1862617"/>
                <a:gd name="connsiteY96" fmla="*/ 553648 h 1694229"/>
                <a:gd name="connsiteX97" fmla="*/ 1620956 w 1862617"/>
                <a:gd name="connsiteY97" fmla="*/ 405322 h 1694229"/>
                <a:gd name="connsiteX0" fmla="*/ 1620956 w 1862617"/>
                <a:gd name="connsiteY0" fmla="*/ 405322 h 1694229"/>
                <a:gd name="connsiteX1" fmla="*/ 1548806 w 1862617"/>
                <a:gd name="connsiteY1" fmla="*/ 372673 h 1694229"/>
                <a:gd name="connsiteX2" fmla="*/ 1458557 w 1862617"/>
                <a:gd name="connsiteY2" fmla="*/ 348860 h 1694229"/>
                <a:gd name="connsiteX3" fmla="*/ 1405237 w 1862617"/>
                <a:gd name="connsiteY3" fmla="*/ 271776 h 1694229"/>
                <a:gd name="connsiteX4" fmla="*/ 1382136 w 1862617"/>
                <a:gd name="connsiteY4" fmla="*/ 169931 h 1694229"/>
                <a:gd name="connsiteX5" fmla="*/ 1346239 w 1862617"/>
                <a:gd name="connsiteY5" fmla="*/ 1869 h 1694229"/>
                <a:gd name="connsiteX6" fmla="*/ 1278870 w 1862617"/>
                <a:gd name="connsiteY6" fmla="*/ 43567 h 1694229"/>
                <a:gd name="connsiteX7" fmla="*/ 1273302 w 1862617"/>
                <a:gd name="connsiteY7" fmla="*/ 101090 h 1694229"/>
                <a:gd name="connsiteX8" fmla="*/ 1257397 w 1862617"/>
                <a:gd name="connsiteY8" fmla="*/ 152303 h 1694229"/>
                <a:gd name="connsiteX9" fmla="*/ 1237872 w 1862617"/>
                <a:gd name="connsiteY9" fmla="*/ 204316 h 1694229"/>
                <a:gd name="connsiteX10" fmla="*/ 1236143 w 1862617"/>
                <a:gd name="connsiteY10" fmla="*/ 273739 h 1694229"/>
                <a:gd name="connsiteX11" fmla="*/ 1163162 w 1862617"/>
                <a:gd name="connsiteY11" fmla="*/ 283903 h 1694229"/>
                <a:gd name="connsiteX12" fmla="*/ 1098809 w 1862617"/>
                <a:gd name="connsiteY12" fmla="*/ 285917 h 1694229"/>
                <a:gd name="connsiteX13" fmla="*/ 1051208 w 1862617"/>
                <a:gd name="connsiteY13" fmla="*/ 346183 h 1694229"/>
                <a:gd name="connsiteX14" fmla="*/ 996593 w 1862617"/>
                <a:gd name="connsiteY14" fmla="*/ 371690 h 1694229"/>
                <a:gd name="connsiteX15" fmla="*/ 943969 w 1862617"/>
                <a:gd name="connsiteY15" fmla="*/ 358385 h 1694229"/>
                <a:gd name="connsiteX16" fmla="*/ 837229 w 1862617"/>
                <a:gd name="connsiteY16" fmla="*/ 376257 h 1694229"/>
                <a:gd name="connsiteX17" fmla="*/ 814246 w 1862617"/>
                <a:gd name="connsiteY17" fmla="*/ 440035 h 1694229"/>
                <a:gd name="connsiteX18" fmla="*/ 797163 w 1862617"/>
                <a:gd name="connsiteY18" fmla="*/ 475926 h 1694229"/>
                <a:gd name="connsiteX19" fmla="*/ 715132 w 1862617"/>
                <a:gd name="connsiteY19" fmla="*/ 494632 h 1694229"/>
                <a:gd name="connsiteX20" fmla="*/ 697320 w 1862617"/>
                <a:gd name="connsiteY20" fmla="*/ 440647 h 1694229"/>
                <a:gd name="connsiteX21" fmla="*/ 653456 w 1862617"/>
                <a:gd name="connsiteY21" fmla="*/ 420298 h 1694229"/>
                <a:gd name="connsiteX22" fmla="*/ 518140 w 1862617"/>
                <a:gd name="connsiteY22" fmla="*/ 420641 h 1694229"/>
                <a:gd name="connsiteX23" fmla="*/ 434263 w 1862617"/>
                <a:gd name="connsiteY23" fmla="*/ 447350 h 1694229"/>
                <a:gd name="connsiteX24" fmla="*/ 401044 w 1862617"/>
                <a:gd name="connsiteY24" fmla="*/ 420298 h 1694229"/>
                <a:gd name="connsiteX25" fmla="*/ 381994 w 1862617"/>
                <a:gd name="connsiteY25" fmla="*/ 358385 h 1694229"/>
                <a:gd name="connsiteX26" fmla="*/ 315319 w 1862617"/>
                <a:gd name="connsiteY26" fmla="*/ 305998 h 1694229"/>
                <a:gd name="connsiteX27" fmla="*/ 270134 w 1862617"/>
                <a:gd name="connsiteY27" fmla="*/ 229110 h 1694229"/>
                <a:gd name="connsiteX28" fmla="*/ 146784 w 1862617"/>
                <a:gd name="connsiteY28" fmla="*/ 258373 h 1694229"/>
                <a:gd name="connsiteX29" fmla="*/ 127734 w 1862617"/>
                <a:gd name="connsiteY29" fmla="*/ 344785 h 1694229"/>
                <a:gd name="connsiteX30" fmla="*/ 145174 w 1862617"/>
                <a:gd name="connsiteY30" fmla="*/ 411312 h 1694229"/>
                <a:gd name="connsiteX31" fmla="*/ 117735 w 1862617"/>
                <a:gd name="connsiteY31" fmla="*/ 446172 h 1694229"/>
                <a:gd name="connsiteX32" fmla="*/ 65347 w 1862617"/>
                <a:gd name="connsiteY32" fmla="*/ 474059 h 1694229"/>
                <a:gd name="connsiteX33" fmla="*/ 37246 w 1862617"/>
                <a:gd name="connsiteY33" fmla="*/ 482063 h 1694229"/>
                <a:gd name="connsiteX34" fmla="*/ 15281 w 1862617"/>
                <a:gd name="connsiteY34" fmla="*/ 520310 h 1694229"/>
                <a:gd name="connsiteX35" fmla="*/ 1469 w 1862617"/>
                <a:gd name="connsiteY35" fmla="*/ 632745 h 1694229"/>
                <a:gd name="connsiteX36" fmla="*/ 51178 w 1862617"/>
                <a:gd name="connsiteY36" fmla="*/ 685967 h 1694229"/>
                <a:gd name="connsiteX37" fmla="*/ 108092 w 1862617"/>
                <a:gd name="connsiteY37" fmla="*/ 681547 h 1694229"/>
                <a:gd name="connsiteX38" fmla="*/ 93804 w 1862617"/>
                <a:gd name="connsiteY38" fmla="*/ 751806 h 1694229"/>
                <a:gd name="connsiteX39" fmla="*/ 148631 w 1862617"/>
                <a:gd name="connsiteY39" fmla="*/ 782248 h 1694229"/>
                <a:gd name="connsiteX40" fmla="*/ 217629 w 1862617"/>
                <a:gd name="connsiteY40" fmla="*/ 792460 h 1694229"/>
                <a:gd name="connsiteX41" fmla="*/ 252932 w 1862617"/>
                <a:gd name="connsiteY41" fmla="*/ 848431 h 1694229"/>
                <a:gd name="connsiteX42" fmla="*/ 252339 w 1862617"/>
                <a:gd name="connsiteY42" fmla="*/ 893503 h 1694229"/>
                <a:gd name="connsiteX43" fmla="*/ 276863 w 1862617"/>
                <a:gd name="connsiteY43" fmla="*/ 932978 h 1694229"/>
                <a:gd name="connsiteX44" fmla="*/ 322521 w 1862617"/>
                <a:gd name="connsiteY44" fmla="*/ 971570 h 1694229"/>
                <a:gd name="connsiteX45" fmla="*/ 407654 w 1862617"/>
                <a:gd name="connsiteY45" fmla="*/ 1025822 h 1694229"/>
                <a:gd name="connsiteX46" fmla="*/ 443431 w 1862617"/>
                <a:gd name="connsiteY46" fmla="*/ 1096915 h 1694229"/>
                <a:gd name="connsiteX47" fmla="*/ 422534 w 1862617"/>
                <a:gd name="connsiteY47" fmla="*/ 1166488 h 1694229"/>
                <a:gd name="connsiteX48" fmla="*/ 500581 w 1862617"/>
                <a:gd name="connsiteY48" fmla="*/ 1222951 h 1694229"/>
                <a:gd name="connsiteX49" fmla="*/ 572613 w 1862617"/>
                <a:gd name="connsiteY49" fmla="*/ 1255945 h 1694229"/>
                <a:gd name="connsiteX50" fmla="*/ 553444 w 1862617"/>
                <a:gd name="connsiteY50" fmla="*/ 1315648 h 1694229"/>
                <a:gd name="connsiteX51" fmla="*/ 643931 w 1862617"/>
                <a:gd name="connsiteY51" fmla="*/ 1468048 h 1694229"/>
                <a:gd name="connsiteX52" fmla="*/ 736741 w 1862617"/>
                <a:gd name="connsiteY52" fmla="*/ 1541202 h 1694229"/>
                <a:gd name="connsiteX53" fmla="*/ 786806 w 1862617"/>
                <a:gd name="connsiteY53" fmla="*/ 1491860 h 1694229"/>
                <a:gd name="connsiteX54" fmla="*/ 851396 w 1862617"/>
                <a:gd name="connsiteY54" fmla="*/ 1519257 h 1694229"/>
                <a:gd name="connsiteX55" fmla="*/ 905869 w 1862617"/>
                <a:gd name="connsiteY55" fmla="*/ 1487098 h 1694229"/>
                <a:gd name="connsiteX56" fmla="*/ 922716 w 1862617"/>
                <a:gd name="connsiteY56" fmla="*/ 1444922 h 1694229"/>
                <a:gd name="connsiteX57" fmla="*/ 986593 w 1862617"/>
                <a:gd name="connsiteY57" fmla="*/ 1531334 h 1694229"/>
                <a:gd name="connsiteX58" fmla="*/ 1031660 w 1862617"/>
                <a:gd name="connsiteY58" fmla="*/ 1602428 h 1694229"/>
                <a:gd name="connsiteX59" fmla="*/ 1101606 w 1862617"/>
                <a:gd name="connsiteY59" fmla="*/ 1693947 h 1694229"/>
                <a:gd name="connsiteX60" fmla="*/ 1132504 w 1862617"/>
                <a:gd name="connsiteY60" fmla="*/ 1630856 h 1694229"/>
                <a:gd name="connsiteX61" fmla="*/ 1163163 w 1862617"/>
                <a:gd name="connsiteY61" fmla="*/ 1624376 h 1694229"/>
                <a:gd name="connsiteX62" fmla="*/ 1206262 w 1862617"/>
                <a:gd name="connsiteY62" fmla="*/ 1653639 h 1694229"/>
                <a:gd name="connsiteX63" fmla="*/ 1239837 w 1862617"/>
                <a:gd name="connsiteY63" fmla="*/ 1612985 h 1694229"/>
                <a:gd name="connsiteX64" fmla="*/ 1258658 w 1862617"/>
                <a:gd name="connsiteY64" fmla="*/ 1617602 h 1694229"/>
                <a:gd name="connsiteX65" fmla="*/ 1292700 w 1862617"/>
                <a:gd name="connsiteY65" fmla="*/ 1684079 h 1694229"/>
                <a:gd name="connsiteX66" fmla="*/ 1349256 w 1862617"/>
                <a:gd name="connsiteY66" fmla="*/ 1660610 h 1694229"/>
                <a:gd name="connsiteX67" fmla="*/ 1401288 w 1862617"/>
                <a:gd name="connsiteY67" fmla="*/ 1604489 h 1694229"/>
                <a:gd name="connsiteX68" fmla="*/ 1452065 w 1862617"/>
                <a:gd name="connsiteY68" fmla="*/ 1587946 h 1694229"/>
                <a:gd name="connsiteX69" fmla="*/ 1469744 w 1862617"/>
                <a:gd name="connsiteY69" fmla="*/ 1643768 h 1694229"/>
                <a:gd name="connsiteX70" fmla="*/ 1539639 w 1862617"/>
                <a:gd name="connsiteY70" fmla="*/ 1618090 h 1694229"/>
                <a:gd name="connsiteX71" fmla="*/ 1570417 w 1862617"/>
                <a:gd name="connsiteY71" fmla="*/ 1531334 h 1694229"/>
                <a:gd name="connsiteX72" fmla="*/ 1651853 w 1862617"/>
                <a:gd name="connsiteY72" fmla="*/ 1441192 h 1694229"/>
                <a:gd name="connsiteX73" fmla="*/ 1696444 w 1862617"/>
                <a:gd name="connsiteY73" fmla="*/ 1410062 h 1694229"/>
                <a:gd name="connsiteX74" fmla="*/ 1724813 w 1862617"/>
                <a:gd name="connsiteY74" fmla="*/ 1413357 h 1694229"/>
                <a:gd name="connsiteX75" fmla="*/ 1802405 w 1862617"/>
                <a:gd name="connsiteY75" fmla="*/ 1402749 h 1694229"/>
                <a:gd name="connsiteX76" fmla="*/ 1797524 w 1862617"/>
                <a:gd name="connsiteY76" fmla="*/ 1456313 h 1694229"/>
                <a:gd name="connsiteX77" fmla="*/ 1855691 w 1862617"/>
                <a:gd name="connsiteY77" fmla="*/ 1479634 h 1694229"/>
                <a:gd name="connsiteX78" fmla="*/ 1857299 w 1862617"/>
                <a:gd name="connsiteY78" fmla="*/ 1457000 h 1694229"/>
                <a:gd name="connsiteX79" fmla="*/ 1856521 w 1862617"/>
                <a:gd name="connsiteY79" fmla="*/ 1396266 h 1694229"/>
                <a:gd name="connsiteX80" fmla="*/ 1834556 w 1862617"/>
                <a:gd name="connsiteY80" fmla="*/ 1306123 h 1694229"/>
                <a:gd name="connsiteX81" fmla="*/ 1834556 w 1862617"/>
                <a:gd name="connsiteY81" fmla="*/ 1248973 h 1694229"/>
                <a:gd name="connsiteX82" fmla="*/ 1791694 w 1862617"/>
                <a:gd name="connsiteY82" fmla="*/ 1239448 h 1694229"/>
                <a:gd name="connsiteX83" fmla="*/ 1715494 w 1862617"/>
                <a:gd name="connsiteY83" fmla="*/ 1158485 h 1694229"/>
                <a:gd name="connsiteX84" fmla="*/ 1677394 w 1862617"/>
                <a:gd name="connsiteY84" fmla="*/ 977510 h 1694229"/>
                <a:gd name="connsiteX85" fmla="*/ 1625006 w 1862617"/>
                <a:gd name="connsiteY85" fmla="*/ 944173 h 1694229"/>
                <a:gd name="connsiteX86" fmla="*/ 1586906 w 1862617"/>
                <a:gd name="connsiteY86" fmla="*/ 887023 h 1694229"/>
                <a:gd name="connsiteX87" fmla="*/ 1544162 w 1862617"/>
                <a:gd name="connsiteY87" fmla="*/ 872587 h 1694229"/>
                <a:gd name="connsiteX88" fmla="*/ 1472251 w 1862617"/>
                <a:gd name="connsiteY88" fmla="*/ 845878 h 1694229"/>
                <a:gd name="connsiteX89" fmla="*/ 1449150 w 1862617"/>
                <a:gd name="connsiteY89" fmla="*/ 823245 h 1694229"/>
                <a:gd name="connsiteX90" fmla="*/ 1477013 w 1862617"/>
                <a:gd name="connsiteY90" fmla="*/ 784801 h 1694229"/>
                <a:gd name="connsiteX91" fmla="*/ 1458319 w 1862617"/>
                <a:gd name="connsiteY91" fmla="*/ 748910 h 1694229"/>
                <a:gd name="connsiteX92" fmla="*/ 1463081 w 1862617"/>
                <a:gd name="connsiteY92" fmla="*/ 725098 h 1694229"/>
                <a:gd name="connsiteX93" fmla="*/ 1488076 w 1862617"/>
                <a:gd name="connsiteY93" fmla="*/ 724035 h 1694229"/>
                <a:gd name="connsiteX94" fmla="*/ 1580416 w 1862617"/>
                <a:gd name="connsiteY94" fmla="*/ 740220 h 1694229"/>
                <a:gd name="connsiteX95" fmla="*/ 1615719 w 1862617"/>
                <a:gd name="connsiteY95" fmla="*/ 683758 h 1694229"/>
                <a:gd name="connsiteX96" fmla="*/ 1603753 w 1862617"/>
                <a:gd name="connsiteY96" fmla="*/ 553648 h 1694229"/>
                <a:gd name="connsiteX97" fmla="*/ 1620956 w 1862617"/>
                <a:gd name="connsiteY97" fmla="*/ 405322 h 1694229"/>
                <a:gd name="connsiteX0" fmla="*/ 1620956 w 1862617"/>
                <a:gd name="connsiteY0" fmla="*/ 405322 h 1694229"/>
                <a:gd name="connsiteX1" fmla="*/ 1548806 w 1862617"/>
                <a:gd name="connsiteY1" fmla="*/ 372673 h 1694229"/>
                <a:gd name="connsiteX2" fmla="*/ 1458557 w 1862617"/>
                <a:gd name="connsiteY2" fmla="*/ 348860 h 1694229"/>
                <a:gd name="connsiteX3" fmla="*/ 1405237 w 1862617"/>
                <a:gd name="connsiteY3" fmla="*/ 271776 h 1694229"/>
                <a:gd name="connsiteX4" fmla="*/ 1382136 w 1862617"/>
                <a:gd name="connsiteY4" fmla="*/ 169931 h 1694229"/>
                <a:gd name="connsiteX5" fmla="*/ 1346239 w 1862617"/>
                <a:gd name="connsiteY5" fmla="*/ 1869 h 1694229"/>
                <a:gd name="connsiteX6" fmla="*/ 1278870 w 1862617"/>
                <a:gd name="connsiteY6" fmla="*/ 43567 h 1694229"/>
                <a:gd name="connsiteX7" fmla="*/ 1273302 w 1862617"/>
                <a:gd name="connsiteY7" fmla="*/ 101090 h 1694229"/>
                <a:gd name="connsiteX8" fmla="*/ 1257397 w 1862617"/>
                <a:gd name="connsiteY8" fmla="*/ 152303 h 1694229"/>
                <a:gd name="connsiteX9" fmla="*/ 1237872 w 1862617"/>
                <a:gd name="connsiteY9" fmla="*/ 204316 h 1694229"/>
                <a:gd name="connsiteX10" fmla="*/ 1236143 w 1862617"/>
                <a:gd name="connsiteY10" fmla="*/ 273739 h 1694229"/>
                <a:gd name="connsiteX11" fmla="*/ 1163162 w 1862617"/>
                <a:gd name="connsiteY11" fmla="*/ 283903 h 1694229"/>
                <a:gd name="connsiteX12" fmla="*/ 1098809 w 1862617"/>
                <a:gd name="connsiteY12" fmla="*/ 285917 h 1694229"/>
                <a:gd name="connsiteX13" fmla="*/ 1051208 w 1862617"/>
                <a:gd name="connsiteY13" fmla="*/ 346183 h 1694229"/>
                <a:gd name="connsiteX14" fmla="*/ 996593 w 1862617"/>
                <a:gd name="connsiteY14" fmla="*/ 371690 h 1694229"/>
                <a:gd name="connsiteX15" fmla="*/ 943969 w 1862617"/>
                <a:gd name="connsiteY15" fmla="*/ 358385 h 1694229"/>
                <a:gd name="connsiteX16" fmla="*/ 837229 w 1862617"/>
                <a:gd name="connsiteY16" fmla="*/ 376257 h 1694229"/>
                <a:gd name="connsiteX17" fmla="*/ 814246 w 1862617"/>
                <a:gd name="connsiteY17" fmla="*/ 440035 h 1694229"/>
                <a:gd name="connsiteX18" fmla="*/ 797163 w 1862617"/>
                <a:gd name="connsiteY18" fmla="*/ 475926 h 1694229"/>
                <a:gd name="connsiteX19" fmla="*/ 715132 w 1862617"/>
                <a:gd name="connsiteY19" fmla="*/ 494632 h 1694229"/>
                <a:gd name="connsiteX20" fmla="*/ 697320 w 1862617"/>
                <a:gd name="connsiteY20" fmla="*/ 440647 h 1694229"/>
                <a:gd name="connsiteX21" fmla="*/ 653456 w 1862617"/>
                <a:gd name="connsiteY21" fmla="*/ 420298 h 1694229"/>
                <a:gd name="connsiteX22" fmla="*/ 518140 w 1862617"/>
                <a:gd name="connsiteY22" fmla="*/ 420641 h 1694229"/>
                <a:gd name="connsiteX23" fmla="*/ 434263 w 1862617"/>
                <a:gd name="connsiteY23" fmla="*/ 447350 h 1694229"/>
                <a:gd name="connsiteX24" fmla="*/ 401044 w 1862617"/>
                <a:gd name="connsiteY24" fmla="*/ 420298 h 1694229"/>
                <a:gd name="connsiteX25" fmla="*/ 381994 w 1862617"/>
                <a:gd name="connsiteY25" fmla="*/ 358385 h 1694229"/>
                <a:gd name="connsiteX26" fmla="*/ 315319 w 1862617"/>
                <a:gd name="connsiteY26" fmla="*/ 305998 h 1694229"/>
                <a:gd name="connsiteX27" fmla="*/ 270134 w 1862617"/>
                <a:gd name="connsiteY27" fmla="*/ 229110 h 1694229"/>
                <a:gd name="connsiteX28" fmla="*/ 146784 w 1862617"/>
                <a:gd name="connsiteY28" fmla="*/ 258373 h 1694229"/>
                <a:gd name="connsiteX29" fmla="*/ 127734 w 1862617"/>
                <a:gd name="connsiteY29" fmla="*/ 344785 h 1694229"/>
                <a:gd name="connsiteX30" fmla="*/ 145174 w 1862617"/>
                <a:gd name="connsiteY30" fmla="*/ 411312 h 1694229"/>
                <a:gd name="connsiteX31" fmla="*/ 117735 w 1862617"/>
                <a:gd name="connsiteY31" fmla="*/ 446172 h 1694229"/>
                <a:gd name="connsiteX32" fmla="*/ 65347 w 1862617"/>
                <a:gd name="connsiteY32" fmla="*/ 474059 h 1694229"/>
                <a:gd name="connsiteX33" fmla="*/ 37246 w 1862617"/>
                <a:gd name="connsiteY33" fmla="*/ 482063 h 1694229"/>
                <a:gd name="connsiteX34" fmla="*/ 15281 w 1862617"/>
                <a:gd name="connsiteY34" fmla="*/ 520310 h 1694229"/>
                <a:gd name="connsiteX35" fmla="*/ 1469 w 1862617"/>
                <a:gd name="connsiteY35" fmla="*/ 632745 h 1694229"/>
                <a:gd name="connsiteX36" fmla="*/ 51178 w 1862617"/>
                <a:gd name="connsiteY36" fmla="*/ 685967 h 1694229"/>
                <a:gd name="connsiteX37" fmla="*/ 108092 w 1862617"/>
                <a:gd name="connsiteY37" fmla="*/ 681547 h 1694229"/>
                <a:gd name="connsiteX38" fmla="*/ 93804 w 1862617"/>
                <a:gd name="connsiteY38" fmla="*/ 751806 h 1694229"/>
                <a:gd name="connsiteX39" fmla="*/ 148631 w 1862617"/>
                <a:gd name="connsiteY39" fmla="*/ 782248 h 1694229"/>
                <a:gd name="connsiteX40" fmla="*/ 217629 w 1862617"/>
                <a:gd name="connsiteY40" fmla="*/ 792460 h 1694229"/>
                <a:gd name="connsiteX41" fmla="*/ 252932 w 1862617"/>
                <a:gd name="connsiteY41" fmla="*/ 848431 h 1694229"/>
                <a:gd name="connsiteX42" fmla="*/ 252339 w 1862617"/>
                <a:gd name="connsiteY42" fmla="*/ 893503 h 1694229"/>
                <a:gd name="connsiteX43" fmla="*/ 276863 w 1862617"/>
                <a:gd name="connsiteY43" fmla="*/ 932978 h 1694229"/>
                <a:gd name="connsiteX44" fmla="*/ 322521 w 1862617"/>
                <a:gd name="connsiteY44" fmla="*/ 971570 h 1694229"/>
                <a:gd name="connsiteX45" fmla="*/ 407654 w 1862617"/>
                <a:gd name="connsiteY45" fmla="*/ 1025822 h 1694229"/>
                <a:gd name="connsiteX46" fmla="*/ 443431 w 1862617"/>
                <a:gd name="connsiteY46" fmla="*/ 1096915 h 1694229"/>
                <a:gd name="connsiteX47" fmla="*/ 422534 w 1862617"/>
                <a:gd name="connsiteY47" fmla="*/ 1166488 h 1694229"/>
                <a:gd name="connsiteX48" fmla="*/ 500581 w 1862617"/>
                <a:gd name="connsiteY48" fmla="*/ 1222951 h 1694229"/>
                <a:gd name="connsiteX49" fmla="*/ 572613 w 1862617"/>
                <a:gd name="connsiteY49" fmla="*/ 1255945 h 1694229"/>
                <a:gd name="connsiteX50" fmla="*/ 553444 w 1862617"/>
                <a:gd name="connsiteY50" fmla="*/ 1315648 h 1694229"/>
                <a:gd name="connsiteX51" fmla="*/ 643931 w 1862617"/>
                <a:gd name="connsiteY51" fmla="*/ 1468048 h 1694229"/>
                <a:gd name="connsiteX52" fmla="*/ 736741 w 1862617"/>
                <a:gd name="connsiteY52" fmla="*/ 1541202 h 1694229"/>
                <a:gd name="connsiteX53" fmla="*/ 786806 w 1862617"/>
                <a:gd name="connsiteY53" fmla="*/ 1491860 h 1694229"/>
                <a:gd name="connsiteX54" fmla="*/ 851396 w 1862617"/>
                <a:gd name="connsiteY54" fmla="*/ 1519257 h 1694229"/>
                <a:gd name="connsiteX55" fmla="*/ 905869 w 1862617"/>
                <a:gd name="connsiteY55" fmla="*/ 1487098 h 1694229"/>
                <a:gd name="connsiteX56" fmla="*/ 922716 w 1862617"/>
                <a:gd name="connsiteY56" fmla="*/ 1444922 h 1694229"/>
                <a:gd name="connsiteX57" fmla="*/ 986593 w 1862617"/>
                <a:gd name="connsiteY57" fmla="*/ 1531334 h 1694229"/>
                <a:gd name="connsiteX58" fmla="*/ 1031660 w 1862617"/>
                <a:gd name="connsiteY58" fmla="*/ 1602428 h 1694229"/>
                <a:gd name="connsiteX59" fmla="*/ 1101606 w 1862617"/>
                <a:gd name="connsiteY59" fmla="*/ 1693947 h 1694229"/>
                <a:gd name="connsiteX60" fmla="*/ 1132504 w 1862617"/>
                <a:gd name="connsiteY60" fmla="*/ 1630856 h 1694229"/>
                <a:gd name="connsiteX61" fmla="*/ 1163163 w 1862617"/>
                <a:gd name="connsiteY61" fmla="*/ 1624376 h 1694229"/>
                <a:gd name="connsiteX62" fmla="*/ 1206262 w 1862617"/>
                <a:gd name="connsiteY62" fmla="*/ 1653639 h 1694229"/>
                <a:gd name="connsiteX63" fmla="*/ 1239837 w 1862617"/>
                <a:gd name="connsiteY63" fmla="*/ 1612985 h 1694229"/>
                <a:gd name="connsiteX64" fmla="*/ 1258658 w 1862617"/>
                <a:gd name="connsiteY64" fmla="*/ 1617602 h 1694229"/>
                <a:gd name="connsiteX65" fmla="*/ 1292700 w 1862617"/>
                <a:gd name="connsiteY65" fmla="*/ 1684079 h 1694229"/>
                <a:gd name="connsiteX66" fmla="*/ 1349256 w 1862617"/>
                <a:gd name="connsiteY66" fmla="*/ 1660610 h 1694229"/>
                <a:gd name="connsiteX67" fmla="*/ 1401288 w 1862617"/>
                <a:gd name="connsiteY67" fmla="*/ 1604489 h 1694229"/>
                <a:gd name="connsiteX68" fmla="*/ 1452065 w 1862617"/>
                <a:gd name="connsiteY68" fmla="*/ 1587946 h 1694229"/>
                <a:gd name="connsiteX69" fmla="*/ 1469744 w 1862617"/>
                <a:gd name="connsiteY69" fmla="*/ 1643768 h 1694229"/>
                <a:gd name="connsiteX70" fmla="*/ 1539639 w 1862617"/>
                <a:gd name="connsiteY70" fmla="*/ 1618090 h 1694229"/>
                <a:gd name="connsiteX71" fmla="*/ 1570417 w 1862617"/>
                <a:gd name="connsiteY71" fmla="*/ 1531334 h 1694229"/>
                <a:gd name="connsiteX72" fmla="*/ 1651853 w 1862617"/>
                <a:gd name="connsiteY72" fmla="*/ 1441192 h 1694229"/>
                <a:gd name="connsiteX73" fmla="*/ 1696444 w 1862617"/>
                <a:gd name="connsiteY73" fmla="*/ 1410062 h 1694229"/>
                <a:gd name="connsiteX74" fmla="*/ 1724813 w 1862617"/>
                <a:gd name="connsiteY74" fmla="*/ 1413357 h 1694229"/>
                <a:gd name="connsiteX75" fmla="*/ 1802405 w 1862617"/>
                <a:gd name="connsiteY75" fmla="*/ 1402749 h 1694229"/>
                <a:gd name="connsiteX76" fmla="*/ 1797524 w 1862617"/>
                <a:gd name="connsiteY76" fmla="*/ 1456313 h 1694229"/>
                <a:gd name="connsiteX77" fmla="*/ 1855691 w 1862617"/>
                <a:gd name="connsiteY77" fmla="*/ 1479634 h 1694229"/>
                <a:gd name="connsiteX78" fmla="*/ 1857299 w 1862617"/>
                <a:gd name="connsiteY78" fmla="*/ 1457000 h 1694229"/>
                <a:gd name="connsiteX79" fmla="*/ 1856521 w 1862617"/>
                <a:gd name="connsiteY79" fmla="*/ 1396266 h 1694229"/>
                <a:gd name="connsiteX80" fmla="*/ 1834556 w 1862617"/>
                <a:gd name="connsiteY80" fmla="*/ 1306123 h 1694229"/>
                <a:gd name="connsiteX81" fmla="*/ 1834556 w 1862617"/>
                <a:gd name="connsiteY81" fmla="*/ 1248973 h 1694229"/>
                <a:gd name="connsiteX82" fmla="*/ 1791694 w 1862617"/>
                <a:gd name="connsiteY82" fmla="*/ 1239448 h 1694229"/>
                <a:gd name="connsiteX83" fmla="*/ 1715494 w 1862617"/>
                <a:gd name="connsiteY83" fmla="*/ 1158485 h 1694229"/>
                <a:gd name="connsiteX84" fmla="*/ 1677394 w 1862617"/>
                <a:gd name="connsiteY84" fmla="*/ 977510 h 1694229"/>
                <a:gd name="connsiteX85" fmla="*/ 1625006 w 1862617"/>
                <a:gd name="connsiteY85" fmla="*/ 944173 h 1694229"/>
                <a:gd name="connsiteX86" fmla="*/ 1594228 w 1862617"/>
                <a:gd name="connsiteY86" fmla="*/ 917660 h 1694229"/>
                <a:gd name="connsiteX87" fmla="*/ 1544162 w 1862617"/>
                <a:gd name="connsiteY87" fmla="*/ 872587 h 1694229"/>
                <a:gd name="connsiteX88" fmla="*/ 1472251 w 1862617"/>
                <a:gd name="connsiteY88" fmla="*/ 845878 h 1694229"/>
                <a:gd name="connsiteX89" fmla="*/ 1449150 w 1862617"/>
                <a:gd name="connsiteY89" fmla="*/ 823245 h 1694229"/>
                <a:gd name="connsiteX90" fmla="*/ 1477013 w 1862617"/>
                <a:gd name="connsiteY90" fmla="*/ 784801 h 1694229"/>
                <a:gd name="connsiteX91" fmla="*/ 1458319 w 1862617"/>
                <a:gd name="connsiteY91" fmla="*/ 748910 h 1694229"/>
                <a:gd name="connsiteX92" fmla="*/ 1463081 w 1862617"/>
                <a:gd name="connsiteY92" fmla="*/ 725098 h 1694229"/>
                <a:gd name="connsiteX93" fmla="*/ 1488076 w 1862617"/>
                <a:gd name="connsiteY93" fmla="*/ 724035 h 1694229"/>
                <a:gd name="connsiteX94" fmla="*/ 1580416 w 1862617"/>
                <a:gd name="connsiteY94" fmla="*/ 740220 h 1694229"/>
                <a:gd name="connsiteX95" fmla="*/ 1615719 w 1862617"/>
                <a:gd name="connsiteY95" fmla="*/ 683758 h 1694229"/>
                <a:gd name="connsiteX96" fmla="*/ 1603753 w 1862617"/>
                <a:gd name="connsiteY96" fmla="*/ 553648 h 1694229"/>
                <a:gd name="connsiteX97" fmla="*/ 1620956 w 1862617"/>
                <a:gd name="connsiteY97" fmla="*/ 405322 h 1694229"/>
                <a:gd name="connsiteX0" fmla="*/ 1620956 w 1862617"/>
                <a:gd name="connsiteY0" fmla="*/ 405322 h 1694229"/>
                <a:gd name="connsiteX1" fmla="*/ 1548806 w 1862617"/>
                <a:gd name="connsiteY1" fmla="*/ 372673 h 1694229"/>
                <a:gd name="connsiteX2" fmla="*/ 1458557 w 1862617"/>
                <a:gd name="connsiteY2" fmla="*/ 348860 h 1694229"/>
                <a:gd name="connsiteX3" fmla="*/ 1405237 w 1862617"/>
                <a:gd name="connsiteY3" fmla="*/ 271776 h 1694229"/>
                <a:gd name="connsiteX4" fmla="*/ 1382136 w 1862617"/>
                <a:gd name="connsiteY4" fmla="*/ 169931 h 1694229"/>
                <a:gd name="connsiteX5" fmla="*/ 1346239 w 1862617"/>
                <a:gd name="connsiteY5" fmla="*/ 1869 h 1694229"/>
                <a:gd name="connsiteX6" fmla="*/ 1278870 w 1862617"/>
                <a:gd name="connsiteY6" fmla="*/ 43567 h 1694229"/>
                <a:gd name="connsiteX7" fmla="*/ 1273302 w 1862617"/>
                <a:gd name="connsiteY7" fmla="*/ 101090 h 1694229"/>
                <a:gd name="connsiteX8" fmla="*/ 1257397 w 1862617"/>
                <a:gd name="connsiteY8" fmla="*/ 152303 h 1694229"/>
                <a:gd name="connsiteX9" fmla="*/ 1237872 w 1862617"/>
                <a:gd name="connsiteY9" fmla="*/ 204316 h 1694229"/>
                <a:gd name="connsiteX10" fmla="*/ 1236143 w 1862617"/>
                <a:gd name="connsiteY10" fmla="*/ 273739 h 1694229"/>
                <a:gd name="connsiteX11" fmla="*/ 1163162 w 1862617"/>
                <a:gd name="connsiteY11" fmla="*/ 283903 h 1694229"/>
                <a:gd name="connsiteX12" fmla="*/ 1098809 w 1862617"/>
                <a:gd name="connsiteY12" fmla="*/ 285917 h 1694229"/>
                <a:gd name="connsiteX13" fmla="*/ 1051208 w 1862617"/>
                <a:gd name="connsiteY13" fmla="*/ 346183 h 1694229"/>
                <a:gd name="connsiteX14" fmla="*/ 996593 w 1862617"/>
                <a:gd name="connsiteY14" fmla="*/ 371690 h 1694229"/>
                <a:gd name="connsiteX15" fmla="*/ 943969 w 1862617"/>
                <a:gd name="connsiteY15" fmla="*/ 358385 h 1694229"/>
                <a:gd name="connsiteX16" fmla="*/ 837229 w 1862617"/>
                <a:gd name="connsiteY16" fmla="*/ 376257 h 1694229"/>
                <a:gd name="connsiteX17" fmla="*/ 814246 w 1862617"/>
                <a:gd name="connsiteY17" fmla="*/ 440035 h 1694229"/>
                <a:gd name="connsiteX18" fmla="*/ 797163 w 1862617"/>
                <a:gd name="connsiteY18" fmla="*/ 475926 h 1694229"/>
                <a:gd name="connsiteX19" fmla="*/ 715132 w 1862617"/>
                <a:gd name="connsiteY19" fmla="*/ 494632 h 1694229"/>
                <a:gd name="connsiteX20" fmla="*/ 697320 w 1862617"/>
                <a:gd name="connsiteY20" fmla="*/ 440647 h 1694229"/>
                <a:gd name="connsiteX21" fmla="*/ 653456 w 1862617"/>
                <a:gd name="connsiteY21" fmla="*/ 420298 h 1694229"/>
                <a:gd name="connsiteX22" fmla="*/ 518140 w 1862617"/>
                <a:gd name="connsiteY22" fmla="*/ 420641 h 1694229"/>
                <a:gd name="connsiteX23" fmla="*/ 434263 w 1862617"/>
                <a:gd name="connsiteY23" fmla="*/ 447350 h 1694229"/>
                <a:gd name="connsiteX24" fmla="*/ 401044 w 1862617"/>
                <a:gd name="connsiteY24" fmla="*/ 420298 h 1694229"/>
                <a:gd name="connsiteX25" fmla="*/ 381994 w 1862617"/>
                <a:gd name="connsiteY25" fmla="*/ 358385 h 1694229"/>
                <a:gd name="connsiteX26" fmla="*/ 315319 w 1862617"/>
                <a:gd name="connsiteY26" fmla="*/ 305998 h 1694229"/>
                <a:gd name="connsiteX27" fmla="*/ 270134 w 1862617"/>
                <a:gd name="connsiteY27" fmla="*/ 229110 h 1694229"/>
                <a:gd name="connsiteX28" fmla="*/ 146784 w 1862617"/>
                <a:gd name="connsiteY28" fmla="*/ 258373 h 1694229"/>
                <a:gd name="connsiteX29" fmla="*/ 127734 w 1862617"/>
                <a:gd name="connsiteY29" fmla="*/ 344785 h 1694229"/>
                <a:gd name="connsiteX30" fmla="*/ 145174 w 1862617"/>
                <a:gd name="connsiteY30" fmla="*/ 411312 h 1694229"/>
                <a:gd name="connsiteX31" fmla="*/ 117735 w 1862617"/>
                <a:gd name="connsiteY31" fmla="*/ 446172 h 1694229"/>
                <a:gd name="connsiteX32" fmla="*/ 65347 w 1862617"/>
                <a:gd name="connsiteY32" fmla="*/ 474059 h 1694229"/>
                <a:gd name="connsiteX33" fmla="*/ 37246 w 1862617"/>
                <a:gd name="connsiteY33" fmla="*/ 482063 h 1694229"/>
                <a:gd name="connsiteX34" fmla="*/ 15281 w 1862617"/>
                <a:gd name="connsiteY34" fmla="*/ 520310 h 1694229"/>
                <a:gd name="connsiteX35" fmla="*/ 1469 w 1862617"/>
                <a:gd name="connsiteY35" fmla="*/ 632745 h 1694229"/>
                <a:gd name="connsiteX36" fmla="*/ 51178 w 1862617"/>
                <a:gd name="connsiteY36" fmla="*/ 685967 h 1694229"/>
                <a:gd name="connsiteX37" fmla="*/ 108092 w 1862617"/>
                <a:gd name="connsiteY37" fmla="*/ 681547 h 1694229"/>
                <a:gd name="connsiteX38" fmla="*/ 93804 w 1862617"/>
                <a:gd name="connsiteY38" fmla="*/ 751806 h 1694229"/>
                <a:gd name="connsiteX39" fmla="*/ 148631 w 1862617"/>
                <a:gd name="connsiteY39" fmla="*/ 782248 h 1694229"/>
                <a:gd name="connsiteX40" fmla="*/ 217629 w 1862617"/>
                <a:gd name="connsiteY40" fmla="*/ 792460 h 1694229"/>
                <a:gd name="connsiteX41" fmla="*/ 252932 w 1862617"/>
                <a:gd name="connsiteY41" fmla="*/ 848431 h 1694229"/>
                <a:gd name="connsiteX42" fmla="*/ 252339 w 1862617"/>
                <a:gd name="connsiteY42" fmla="*/ 893503 h 1694229"/>
                <a:gd name="connsiteX43" fmla="*/ 276863 w 1862617"/>
                <a:gd name="connsiteY43" fmla="*/ 932978 h 1694229"/>
                <a:gd name="connsiteX44" fmla="*/ 322521 w 1862617"/>
                <a:gd name="connsiteY44" fmla="*/ 971570 h 1694229"/>
                <a:gd name="connsiteX45" fmla="*/ 407654 w 1862617"/>
                <a:gd name="connsiteY45" fmla="*/ 1025822 h 1694229"/>
                <a:gd name="connsiteX46" fmla="*/ 443431 w 1862617"/>
                <a:gd name="connsiteY46" fmla="*/ 1096915 h 1694229"/>
                <a:gd name="connsiteX47" fmla="*/ 422534 w 1862617"/>
                <a:gd name="connsiteY47" fmla="*/ 1166488 h 1694229"/>
                <a:gd name="connsiteX48" fmla="*/ 500581 w 1862617"/>
                <a:gd name="connsiteY48" fmla="*/ 1222951 h 1694229"/>
                <a:gd name="connsiteX49" fmla="*/ 572613 w 1862617"/>
                <a:gd name="connsiteY49" fmla="*/ 1255945 h 1694229"/>
                <a:gd name="connsiteX50" fmla="*/ 553444 w 1862617"/>
                <a:gd name="connsiteY50" fmla="*/ 1315648 h 1694229"/>
                <a:gd name="connsiteX51" fmla="*/ 643931 w 1862617"/>
                <a:gd name="connsiteY51" fmla="*/ 1468048 h 1694229"/>
                <a:gd name="connsiteX52" fmla="*/ 736741 w 1862617"/>
                <a:gd name="connsiteY52" fmla="*/ 1541202 h 1694229"/>
                <a:gd name="connsiteX53" fmla="*/ 786806 w 1862617"/>
                <a:gd name="connsiteY53" fmla="*/ 1491860 h 1694229"/>
                <a:gd name="connsiteX54" fmla="*/ 851396 w 1862617"/>
                <a:gd name="connsiteY54" fmla="*/ 1519257 h 1694229"/>
                <a:gd name="connsiteX55" fmla="*/ 905869 w 1862617"/>
                <a:gd name="connsiteY55" fmla="*/ 1487098 h 1694229"/>
                <a:gd name="connsiteX56" fmla="*/ 922716 w 1862617"/>
                <a:gd name="connsiteY56" fmla="*/ 1444922 h 1694229"/>
                <a:gd name="connsiteX57" fmla="*/ 986593 w 1862617"/>
                <a:gd name="connsiteY57" fmla="*/ 1531334 h 1694229"/>
                <a:gd name="connsiteX58" fmla="*/ 1031660 w 1862617"/>
                <a:gd name="connsiteY58" fmla="*/ 1602428 h 1694229"/>
                <a:gd name="connsiteX59" fmla="*/ 1101606 w 1862617"/>
                <a:gd name="connsiteY59" fmla="*/ 1693947 h 1694229"/>
                <a:gd name="connsiteX60" fmla="*/ 1132504 w 1862617"/>
                <a:gd name="connsiteY60" fmla="*/ 1630856 h 1694229"/>
                <a:gd name="connsiteX61" fmla="*/ 1163163 w 1862617"/>
                <a:gd name="connsiteY61" fmla="*/ 1624376 h 1694229"/>
                <a:gd name="connsiteX62" fmla="*/ 1206262 w 1862617"/>
                <a:gd name="connsiteY62" fmla="*/ 1653639 h 1694229"/>
                <a:gd name="connsiteX63" fmla="*/ 1239837 w 1862617"/>
                <a:gd name="connsiteY63" fmla="*/ 1612985 h 1694229"/>
                <a:gd name="connsiteX64" fmla="*/ 1258658 w 1862617"/>
                <a:gd name="connsiteY64" fmla="*/ 1617602 h 1694229"/>
                <a:gd name="connsiteX65" fmla="*/ 1292700 w 1862617"/>
                <a:gd name="connsiteY65" fmla="*/ 1684079 h 1694229"/>
                <a:gd name="connsiteX66" fmla="*/ 1349256 w 1862617"/>
                <a:gd name="connsiteY66" fmla="*/ 1660610 h 1694229"/>
                <a:gd name="connsiteX67" fmla="*/ 1401288 w 1862617"/>
                <a:gd name="connsiteY67" fmla="*/ 1604489 h 1694229"/>
                <a:gd name="connsiteX68" fmla="*/ 1452065 w 1862617"/>
                <a:gd name="connsiteY68" fmla="*/ 1587946 h 1694229"/>
                <a:gd name="connsiteX69" fmla="*/ 1469744 w 1862617"/>
                <a:gd name="connsiteY69" fmla="*/ 1643768 h 1694229"/>
                <a:gd name="connsiteX70" fmla="*/ 1539639 w 1862617"/>
                <a:gd name="connsiteY70" fmla="*/ 1618090 h 1694229"/>
                <a:gd name="connsiteX71" fmla="*/ 1570417 w 1862617"/>
                <a:gd name="connsiteY71" fmla="*/ 1531334 h 1694229"/>
                <a:gd name="connsiteX72" fmla="*/ 1651853 w 1862617"/>
                <a:gd name="connsiteY72" fmla="*/ 1441192 h 1694229"/>
                <a:gd name="connsiteX73" fmla="*/ 1696444 w 1862617"/>
                <a:gd name="connsiteY73" fmla="*/ 1410062 h 1694229"/>
                <a:gd name="connsiteX74" fmla="*/ 1724813 w 1862617"/>
                <a:gd name="connsiteY74" fmla="*/ 1413357 h 1694229"/>
                <a:gd name="connsiteX75" fmla="*/ 1802405 w 1862617"/>
                <a:gd name="connsiteY75" fmla="*/ 1402749 h 1694229"/>
                <a:gd name="connsiteX76" fmla="*/ 1797524 w 1862617"/>
                <a:gd name="connsiteY76" fmla="*/ 1456313 h 1694229"/>
                <a:gd name="connsiteX77" fmla="*/ 1855691 w 1862617"/>
                <a:gd name="connsiteY77" fmla="*/ 1479634 h 1694229"/>
                <a:gd name="connsiteX78" fmla="*/ 1857299 w 1862617"/>
                <a:gd name="connsiteY78" fmla="*/ 1457000 h 1694229"/>
                <a:gd name="connsiteX79" fmla="*/ 1856521 w 1862617"/>
                <a:gd name="connsiteY79" fmla="*/ 1396266 h 1694229"/>
                <a:gd name="connsiteX80" fmla="*/ 1834556 w 1862617"/>
                <a:gd name="connsiteY80" fmla="*/ 1306123 h 1694229"/>
                <a:gd name="connsiteX81" fmla="*/ 1834556 w 1862617"/>
                <a:gd name="connsiteY81" fmla="*/ 1248973 h 1694229"/>
                <a:gd name="connsiteX82" fmla="*/ 1791694 w 1862617"/>
                <a:gd name="connsiteY82" fmla="*/ 1239448 h 1694229"/>
                <a:gd name="connsiteX83" fmla="*/ 1715494 w 1862617"/>
                <a:gd name="connsiteY83" fmla="*/ 1158485 h 1694229"/>
                <a:gd name="connsiteX84" fmla="*/ 1677394 w 1862617"/>
                <a:gd name="connsiteY84" fmla="*/ 977510 h 1694229"/>
                <a:gd name="connsiteX85" fmla="*/ 1627446 w 1862617"/>
                <a:gd name="connsiteY85" fmla="*/ 972257 h 1694229"/>
                <a:gd name="connsiteX86" fmla="*/ 1594228 w 1862617"/>
                <a:gd name="connsiteY86" fmla="*/ 917660 h 1694229"/>
                <a:gd name="connsiteX87" fmla="*/ 1544162 w 1862617"/>
                <a:gd name="connsiteY87" fmla="*/ 872587 h 1694229"/>
                <a:gd name="connsiteX88" fmla="*/ 1472251 w 1862617"/>
                <a:gd name="connsiteY88" fmla="*/ 845878 h 1694229"/>
                <a:gd name="connsiteX89" fmla="*/ 1449150 w 1862617"/>
                <a:gd name="connsiteY89" fmla="*/ 823245 h 1694229"/>
                <a:gd name="connsiteX90" fmla="*/ 1477013 w 1862617"/>
                <a:gd name="connsiteY90" fmla="*/ 784801 h 1694229"/>
                <a:gd name="connsiteX91" fmla="*/ 1458319 w 1862617"/>
                <a:gd name="connsiteY91" fmla="*/ 748910 h 1694229"/>
                <a:gd name="connsiteX92" fmla="*/ 1463081 w 1862617"/>
                <a:gd name="connsiteY92" fmla="*/ 725098 h 1694229"/>
                <a:gd name="connsiteX93" fmla="*/ 1488076 w 1862617"/>
                <a:gd name="connsiteY93" fmla="*/ 724035 h 1694229"/>
                <a:gd name="connsiteX94" fmla="*/ 1580416 w 1862617"/>
                <a:gd name="connsiteY94" fmla="*/ 740220 h 1694229"/>
                <a:gd name="connsiteX95" fmla="*/ 1615719 w 1862617"/>
                <a:gd name="connsiteY95" fmla="*/ 683758 h 1694229"/>
                <a:gd name="connsiteX96" fmla="*/ 1603753 w 1862617"/>
                <a:gd name="connsiteY96" fmla="*/ 553648 h 1694229"/>
                <a:gd name="connsiteX97" fmla="*/ 1620956 w 1862617"/>
                <a:gd name="connsiteY97" fmla="*/ 405322 h 1694229"/>
                <a:gd name="connsiteX0" fmla="*/ 1620956 w 1862617"/>
                <a:gd name="connsiteY0" fmla="*/ 405322 h 1694229"/>
                <a:gd name="connsiteX1" fmla="*/ 1548806 w 1862617"/>
                <a:gd name="connsiteY1" fmla="*/ 372673 h 1694229"/>
                <a:gd name="connsiteX2" fmla="*/ 1458557 w 1862617"/>
                <a:gd name="connsiteY2" fmla="*/ 348860 h 1694229"/>
                <a:gd name="connsiteX3" fmla="*/ 1405237 w 1862617"/>
                <a:gd name="connsiteY3" fmla="*/ 271776 h 1694229"/>
                <a:gd name="connsiteX4" fmla="*/ 1382136 w 1862617"/>
                <a:gd name="connsiteY4" fmla="*/ 169931 h 1694229"/>
                <a:gd name="connsiteX5" fmla="*/ 1346239 w 1862617"/>
                <a:gd name="connsiteY5" fmla="*/ 1869 h 1694229"/>
                <a:gd name="connsiteX6" fmla="*/ 1278870 w 1862617"/>
                <a:gd name="connsiteY6" fmla="*/ 43567 h 1694229"/>
                <a:gd name="connsiteX7" fmla="*/ 1273302 w 1862617"/>
                <a:gd name="connsiteY7" fmla="*/ 101090 h 1694229"/>
                <a:gd name="connsiteX8" fmla="*/ 1257397 w 1862617"/>
                <a:gd name="connsiteY8" fmla="*/ 152303 h 1694229"/>
                <a:gd name="connsiteX9" fmla="*/ 1237872 w 1862617"/>
                <a:gd name="connsiteY9" fmla="*/ 204316 h 1694229"/>
                <a:gd name="connsiteX10" fmla="*/ 1236143 w 1862617"/>
                <a:gd name="connsiteY10" fmla="*/ 273739 h 1694229"/>
                <a:gd name="connsiteX11" fmla="*/ 1163162 w 1862617"/>
                <a:gd name="connsiteY11" fmla="*/ 283903 h 1694229"/>
                <a:gd name="connsiteX12" fmla="*/ 1098809 w 1862617"/>
                <a:gd name="connsiteY12" fmla="*/ 285917 h 1694229"/>
                <a:gd name="connsiteX13" fmla="*/ 1051208 w 1862617"/>
                <a:gd name="connsiteY13" fmla="*/ 346183 h 1694229"/>
                <a:gd name="connsiteX14" fmla="*/ 996593 w 1862617"/>
                <a:gd name="connsiteY14" fmla="*/ 371690 h 1694229"/>
                <a:gd name="connsiteX15" fmla="*/ 943969 w 1862617"/>
                <a:gd name="connsiteY15" fmla="*/ 358385 h 1694229"/>
                <a:gd name="connsiteX16" fmla="*/ 837229 w 1862617"/>
                <a:gd name="connsiteY16" fmla="*/ 376257 h 1694229"/>
                <a:gd name="connsiteX17" fmla="*/ 814246 w 1862617"/>
                <a:gd name="connsiteY17" fmla="*/ 440035 h 1694229"/>
                <a:gd name="connsiteX18" fmla="*/ 797163 w 1862617"/>
                <a:gd name="connsiteY18" fmla="*/ 475926 h 1694229"/>
                <a:gd name="connsiteX19" fmla="*/ 715132 w 1862617"/>
                <a:gd name="connsiteY19" fmla="*/ 494632 h 1694229"/>
                <a:gd name="connsiteX20" fmla="*/ 697320 w 1862617"/>
                <a:gd name="connsiteY20" fmla="*/ 440647 h 1694229"/>
                <a:gd name="connsiteX21" fmla="*/ 653456 w 1862617"/>
                <a:gd name="connsiteY21" fmla="*/ 420298 h 1694229"/>
                <a:gd name="connsiteX22" fmla="*/ 518140 w 1862617"/>
                <a:gd name="connsiteY22" fmla="*/ 420641 h 1694229"/>
                <a:gd name="connsiteX23" fmla="*/ 434263 w 1862617"/>
                <a:gd name="connsiteY23" fmla="*/ 447350 h 1694229"/>
                <a:gd name="connsiteX24" fmla="*/ 401044 w 1862617"/>
                <a:gd name="connsiteY24" fmla="*/ 420298 h 1694229"/>
                <a:gd name="connsiteX25" fmla="*/ 381994 w 1862617"/>
                <a:gd name="connsiteY25" fmla="*/ 358385 h 1694229"/>
                <a:gd name="connsiteX26" fmla="*/ 315319 w 1862617"/>
                <a:gd name="connsiteY26" fmla="*/ 305998 h 1694229"/>
                <a:gd name="connsiteX27" fmla="*/ 270134 w 1862617"/>
                <a:gd name="connsiteY27" fmla="*/ 229110 h 1694229"/>
                <a:gd name="connsiteX28" fmla="*/ 146784 w 1862617"/>
                <a:gd name="connsiteY28" fmla="*/ 258373 h 1694229"/>
                <a:gd name="connsiteX29" fmla="*/ 127734 w 1862617"/>
                <a:gd name="connsiteY29" fmla="*/ 344785 h 1694229"/>
                <a:gd name="connsiteX30" fmla="*/ 145174 w 1862617"/>
                <a:gd name="connsiteY30" fmla="*/ 411312 h 1694229"/>
                <a:gd name="connsiteX31" fmla="*/ 117735 w 1862617"/>
                <a:gd name="connsiteY31" fmla="*/ 446172 h 1694229"/>
                <a:gd name="connsiteX32" fmla="*/ 65347 w 1862617"/>
                <a:gd name="connsiteY32" fmla="*/ 474059 h 1694229"/>
                <a:gd name="connsiteX33" fmla="*/ 37246 w 1862617"/>
                <a:gd name="connsiteY33" fmla="*/ 482063 h 1694229"/>
                <a:gd name="connsiteX34" fmla="*/ 15281 w 1862617"/>
                <a:gd name="connsiteY34" fmla="*/ 520310 h 1694229"/>
                <a:gd name="connsiteX35" fmla="*/ 1469 w 1862617"/>
                <a:gd name="connsiteY35" fmla="*/ 632745 h 1694229"/>
                <a:gd name="connsiteX36" fmla="*/ 51178 w 1862617"/>
                <a:gd name="connsiteY36" fmla="*/ 685967 h 1694229"/>
                <a:gd name="connsiteX37" fmla="*/ 108092 w 1862617"/>
                <a:gd name="connsiteY37" fmla="*/ 681547 h 1694229"/>
                <a:gd name="connsiteX38" fmla="*/ 93804 w 1862617"/>
                <a:gd name="connsiteY38" fmla="*/ 751806 h 1694229"/>
                <a:gd name="connsiteX39" fmla="*/ 148631 w 1862617"/>
                <a:gd name="connsiteY39" fmla="*/ 782248 h 1694229"/>
                <a:gd name="connsiteX40" fmla="*/ 217629 w 1862617"/>
                <a:gd name="connsiteY40" fmla="*/ 792460 h 1694229"/>
                <a:gd name="connsiteX41" fmla="*/ 252932 w 1862617"/>
                <a:gd name="connsiteY41" fmla="*/ 848431 h 1694229"/>
                <a:gd name="connsiteX42" fmla="*/ 252339 w 1862617"/>
                <a:gd name="connsiteY42" fmla="*/ 893503 h 1694229"/>
                <a:gd name="connsiteX43" fmla="*/ 276863 w 1862617"/>
                <a:gd name="connsiteY43" fmla="*/ 932978 h 1694229"/>
                <a:gd name="connsiteX44" fmla="*/ 322521 w 1862617"/>
                <a:gd name="connsiteY44" fmla="*/ 971570 h 1694229"/>
                <a:gd name="connsiteX45" fmla="*/ 407654 w 1862617"/>
                <a:gd name="connsiteY45" fmla="*/ 1025822 h 1694229"/>
                <a:gd name="connsiteX46" fmla="*/ 443431 w 1862617"/>
                <a:gd name="connsiteY46" fmla="*/ 1096915 h 1694229"/>
                <a:gd name="connsiteX47" fmla="*/ 422534 w 1862617"/>
                <a:gd name="connsiteY47" fmla="*/ 1166488 h 1694229"/>
                <a:gd name="connsiteX48" fmla="*/ 500581 w 1862617"/>
                <a:gd name="connsiteY48" fmla="*/ 1222951 h 1694229"/>
                <a:gd name="connsiteX49" fmla="*/ 572613 w 1862617"/>
                <a:gd name="connsiteY49" fmla="*/ 1255945 h 1694229"/>
                <a:gd name="connsiteX50" fmla="*/ 553444 w 1862617"/>
                <a:gd name="connsiteY50" fmla="*/ 1315648 h 1694229"/>
                <a:gd name="connsiteX51" fmla="*/ 643931 w 1862617"/>
                <a:gd name="connsiteY51" fmla="*/ 1468048 h 1694229"/>
                <a:gd name="connsiteX52" fmla="*/ 736741 w 1862617"/>
                <a:gd name="connsiteY52" fmla="*/ 1541202 h 1694229"/>
                <a:gd name="connsiteX53" fmla="*/ 786806 w 1862617"/>
                <a:gd name="connsiteY53" fmla="*/ 1491860 h 1694229"/>
                <a:gd name="connsiteX54" fmla="*/ 851396 w 1862617"/>
                <a:gd name="connsiteY54" fmla="*/ 1519257 h 1694229"/>
                <a:gd name="connsiteX55" fmla="*/ 905869 w 1862617"/>
                <a:gd name="connsiteY55" fmla="*/ 1487098 h 1694229"/>
                <a:gd name="connsiteX56" fmla="*/ 922716 w 1862617"/>
                <a:gd name="connsiteY56" fmla="*/ 1444922 h 1694229"/>
                <a:gd name="connsiteX57" fmla="*/ 986593 w 1862617"/>
                <a:gd name="connsiteY57" fmla="*/ 1531334 h 1694229"/>
                <a:gd name="connsiteX58" fmla="*/ 1031660 w 1862617"/>
                <a:gd name="connsiteY58" fmla="*/ 1602428 h 1694229"/>
                <a:gd name="connsiteX59" fmla="*/ 1101606 w 1862617"/>
                <a:gd name="connsiteY59" fmla="*/ 1693947 h 1694229"/>
                <a:gd name="connsiteX60" fmla="*/ 1132504 w 1862617"/>
                <a:gd name="connsiteY60" fmla="*/ 1630856 h 1694229"/>
                <a:gd name="connsiteX61" fmla="*/ 1163163 w 1862617"/>
                <a:gd name="connsiteY61" fmla="*/ 1624376 h 1694229"/>
                <a:gd name="connsiteX62" fmla="*/ 1206262 w 1862617"/>
                <a:gd name="connsiteY62" fmla="*/ 1653639 h 1694229"/>
                <a:gd name="connsiteX63" fmla="*/ 1239837 w 1862617"/>
                <a:gd name="connsiteY63" fmla="*/ 1612985 h 1694229"/>
                <a:gd name="connsiteX64" fmla="*/ 1258658 w 1862617"/>
                <a:gd name="connsiteY64" fmla="*/ 1617602 h 1694229"/>
                <a:gd name="connsiteX65" fmla="*/ 1292700 w 1862617"/>
                <a:gd name="connsiteY65" fmla="*/ 1684079 h 1694229"/>
                <a:gd name="connsiteX66" fmla="*/ 1349256 w 1862617"/>
                <a:gd name="connsiteY66" fmla="*/ 1660610 h 1694229"/>
                <a:gd name="connsiteX67" fmla="*/ 1401288 w 1862617"/>
                <a:gd name="connsiteY67" fmla="*/ 1604489 h 1694229"/>
                <a:gd name="connsiteX68" fmla="*/ 1452065 w 1862617"/>
                <a:gd name="connsiteY68" fmla="*/ 1587946 h 1694229"/>
                <a:gd name="connsiteX69" fmla="*/ 1469744 w 1862617"/>
                <a:gd name="connsiteY69" fmla="*/ 1643768 h 1694229"/>
                <a:gd name="connsiteX70" fmla="*/ 1539639 w 1862617"/>
                <a:gd name="connsiteY70" fmla="*/ 1618090 h 1694229"/>
                <a:gd name="connsiteX71" fmla="*/ 1570417 w 1862617"/>
                <a:gd name="connsiteY71" fmla="*/ 1531334 h 1694229"/>
                <a:gd name="connsiteX72" fmla="*/ 1651853 w 1862617"/>
                <a:gd name="connsiteY72" fmla="*/ 1441192 h 1694229"/>
                <a:gd name="connsiteX73" fmla="*/ 1696444 w 1862617"/>
                <a:gd name="connsiteY73" fmla="*/ 1410062 h 1694229"/>
                <a:gd name="connsiteX74" fmla="*/ 1724813 w 1862617"/>
                <a:gd name="connsiteY74" fmla="*/ 1413357 h 1694229"/>
                <a:gd name="connsiteX75" fmla="*/ 1802405 w 1862617"/>
                <a:gd name="connsiteY75" fmla="*/ 1402749 h 1694229"/>
                <a:gd name="connsiteX76" fmla="*/ 1797524 w 1862617"/>
                <a:gd name="connsiteY76" fmla="*/ 1456313 h 1694229"/>
                <a:gd name="connsiteX77" fmla="*/ 1855691 w 1862617"/>
                <a:gd name="connsiteY77" fmla="*/ 1479634 h 1694229"/>
                <a:gd name="connsiteX78" fmla="*/ 1857299 w 1862617"/>
                <a:gd name="connsiteY78" fmla="*/ 1457000 h 1694229"/>
                <a:gd name="connsiteX79" fmla="*/ 1856521 w 1862617"/>
                <a:gd name="connsiteY79" fmla="*/ 1396266 h 1694229"/>
                <a:gd name="connsiteX80" fmla="*/ 1834556 w 1862617"/>
                <a:gd name="connsiteY80" fmla="*/ 1306123 h 1694229"/>
                <a:gd name="connsiteX81" fmla="*/ 1834556 w 1862617"/>
                <a:gd name="connsiteY81" fmla="*/ 1248973 h 1694229"/>
                <a:gd name="connsiteX82" fmla="*/ 1791694 w 1862617"/>
                <a:gd name="connsiteY82" fmla="*/ 1239448 h 1694229"/>
                <a:gd name="connsiteX83" fmla="*/ 1715494 w 1862617"/>
                <a:gd name="connsiteY83" fmla="*/ 1158485 h 1694229"/>
                <a:gd name="connsiteX84" fmla="*/ 1704241 w 1862617"/>
                <a:gd name="connsiteY84" fmla="*/ 1038783 h 1694229"/>
                <a:gd name="connsiteX85" fmla="*/ 1627446 w 1862617"/>
                <a:gd name="connsiteY85" fmla="*/ 972257 h 1694229"/>
                <a:gd name="connsiteX86" fmla="*/ 1594228 w 1862617"/>
                <a:gd name="connsiteY86" fmla="*/ 917660 h 1694229"/>
                <a:gd name="connsiteX87" fmla="*/ 1544162 w 1862617"/>
                <a:gd name="connsiteY87" fmla="*/ 872587 h 1694229"/>
                <a:gd name="connsiteX88" fmla="*/ 1472251 w 1862617"/>
                <a:gd name="connsiteY88" fmla="*/ 845878 h 1694229"/>
                <a:gd name="connsiteX89" fmla="*/ 1449150 w 1862617"/>
                <a:gd name="connsiteY89" fmla="*/ 823245 h 1694229"/>
                <a:gd name="connsiteX90" fmla="*/ 1477013 w 1862617"/>
                <a:gd name="connsiteY90" fmla="*/ 784801 h 1694229"/>
                <a:gd name="connsiteX91" fmla="*/ 1458319 w 1862617"/>
                <a:gd name="connsiteY91" fmla="*/ 748910 h 1694229"/>
                <a:gd name="connsiteX92" fmla="*/ 1463081 w 1862617"/>
                <a:gd name="connsiteY92" fmla="*/ 725098 h 1694229"/>
                <a:gd name="connsiteX93" fmla="*/ 1488076 w 1862617"/>
                <a:gd name="connsiteY93" fmla="*/ 724035 h 1694229"/>
                <a:gd name="connsiteX94" fmla="*/ 1580416 w 1862617"/>
                <a:gd name="connsiteY94" fmla="*/ 740220 h 1694229"/>
                <a:gd name="connsiteX95" fmla="*/ 1615719 w 1862617"/>
                <a:gd name="connsiteY95" fmla="*/ 683758 h 1694229"/>
                <a:gd name="connsiteX96" fmla="*/ 1603753 w 1862617"/>
                <a:gd name="connsiteY96" fmla="*/ 553648 h 1694229"/>
                <a:gd name="connsiteX97" fmla="*/ 1620956 w 1862617"/>
                <a:gd name="connsiteY97" fmla="*/ 405322 h 1694229"/>
                <a:gd name="connsiteX0" fmla="*/ 1620956 w 1862617"/>
                <a:gd name="connsiteY0" fmla="*/ 405322 h 1694229"/>
                <a:gd name="connsiteX1" fmla="*/ 1548806 w 1862617"/>
                <a:gd name="connsiteY1" fmla="*/ 372673 h 1694229"/>
                <a:gd name="connsiteX2" fmla="*/ 1458557 w 1862617"/>
                <a:gd name="connsiteY2" fmla="*/ 348860 h 1694229"/>
                <a:gd name="connsiteX3" fmla="*/ 1405237 w 1862617"/>
                <a:gd name="connsiteY3" fmla="*/ 271776 h 1694229"/>
                <a:gd name="connsiteX4" fmla="*/ 1382136 w 1862617"/>
                <a:gd name="connsiteY4" fmla="*/ 169931 h 1694229"/>
                <a:gd name="connsiteX5" fmla="*/ 1346239 w 1862617"/>
                <a:gd name="connsiteY5" fmla="*/ 1869 h 1694229"/>
                <a:gd name="connsiteX6" fmla="*/ 1278870 w 1862617"/>
                <a:gd name="connsiteY6" fmla="*/ 43567 h 1694229"/>
                <a:gd name="connsiteX7" fmla="*/ 1273302 w 1862617"/>
                <a:gd name="connsiteY7" fmla="*/ 101090 h 1694229"/>
                <a:gd name="connsiteX8" fmla="*/ 1257397 w 1862617"/>
                <a:gd name="connsiteY8" fmla="*/ 152303 h 1694229"/>
                <a:gd name="connsiteX9" fmla="*/ 1237872 w 1862617"/>
                <a:gd name="connsiteY9" fmla="*/ 204316 h 1694229"/>
                <a:gd name="connsiteX10" fmla="*/ 1236143 w 1862617"/>
                <a:gd name="connsiteY10" fmla="*/ 273739 h 1694229"/>
                <a:gd name="connsiteX11" fmla="*/ 1163162 w 1862617"/>
                <a:gd name="connsiteY11" fmla="*/ 283903 h 1694229"/>
                <a:gd name="connsiteX12" fmla="*/ 1098809 w 1862617"/>
                <a:gd name="connsiteY12" fmla="*/ 285917 h 1694229"/>
                <a:gd name="connsiteX13" fmla="*/ 1051208 w 1862617"/>
                <a:gd name="connsiteY13" fmla="*/ 346183 h 1694229"/>
                <a:gd name="connsiteX14" fmla="*/ 996593 w 1862617"/>
                <a:gd name="connsiteY14" fmla="*/ 371690 h 1694229"/>
                <a:gd name="connsiteX15" fmla="*/ 943969 w 1862617"/>
                <a:gd name="connsiteY15" fmla="*/ 358385 h 1694229"/>
                <a:gd name="connsiteX16" fmla="*/ 837229 w 1862617"/>
                <a:gd name="connsiteY16" fmla="*/ 376257 h 1694229"/>
                <a:gd name="connsiteX17" fmla="*/ 814246 w 1862617"/>
                <a:gd name="connsiteY17" fmla="*/ 440035 h 1694229"/>
                <a:gd name="connsiteX18" fmla="*/ 797163 w 1862617"/>
                <a:gd name="connsiteY18" fmla="*/ 475926 h 1694229"/>
                <a:gd name="connsiteX19" fmla="*/ 715132 w 1862617"/>
                <a:gd name="connsiteY19" fmla="*/ 494632 h 1694229"/>
                <a:gd name="connsiteX20" fmla="*/ 697320 w 1862617"/>
                <a:gd name="connsiteY20" fmla="*/ 440647 h 1694229"/>
                <a:gd name="connsiteX21" fmla="*/ 653456 w 1862617"/>
                <a:gd name="connsiteY21" fmla="*/ 420298 h 1694229"/>
                <a:gd name="connsiteX22" fmla="*/ 518140 w 1862617"/>
                <a:gd name="connsiteY22" fmla="*/ 420641 h 1694229"/>
                <a:gd name="connsiteX23" fmla="*/ 434263 w 1862617"/>
                <a:gd name="connsiteY23" fmla="*/ 447350 h 1694229"/>
                <a:gd name="connsiteX24" fmla="*/ 401044 w 1862617"/>
                <a:gd name="connsiteY24" fmla="*/ 420298 h 1694229"/>
                <a:gd name="connsiteX25" fmla="*/ 381994 w 1862617"/>
                <a:gd name="connsiteY25" fmla="*/ 358385 h 1694229"/>
                <a:gd name="connsiteX26" fmla="*/ 315319 w 1862617"/>
                <a:gd name="connsiteY26" fmla="*/ 305998 h 1694229"/>
                <a:gd name="connsiteX27" fmla="*/ 270134 w 1862617"/>
                <a:gd name="connsiteY27" fmla="*/ 229110 h 1694229"/>
                <a:gd name="connsiteX28" fmla="*/ 146784 w 1862617"/>
                <a:gd name="connsiteY28" fmla="*/ 258373 h 1694229"/>
                <a:gd name="connsiteX29" fmla="*/ 127734 w 1862617"/>
                <a:gd name="connsiteY29" fmla="*/ 344785 h 1694229"/>
                <a:gd name="connsiteX30" fmla="*/ 145174 w 1862617"/>
                <a:gd name="connsiteY30" fmla="*/ 411312 h 1694229"/>
                <a:gd name="connsiteX31" fmla="*/ 117735 w 1862617"/>
                <a:gd name="connsiteY31" fmla="*/ 446172 h 1694229"/>
                <a:gd name="connsiteX32" fmla="*/ 65347 w 1862617"/>
                <a:gd name="connsiteY32" fmla="*/ 474059 h 1694229"/>
                <a:gd name="connsiteX33" fmla="*/ 37246 w 1862617"/>
                <a:gd name="connsiteY33" fmla="*/ 482063 h 1694229"/>
                <a:gd name="connsiteX34" fmla="*/ 15281 w 1862617"/>
                <a:gd name="connsiteY34" fmla="*/ 520310 h 1694229"/>
                <a:gd name="connsiteX35" fmla="*/ 1469 w 1862617"/>
                <a:gd name="connsiteY35" fmla="*/ 632745 h 1694229"/>
                <a:gd name="connsiteX36" fmla="*/ 51178 w 1862617"/>
                <a:gd name="connsiteY36" fmla="*/ 685967 h 1694229"/>
                <a:gd name="connsiteX37" fmla="*/ 108092 w 1862617"/>
                <a:gd name="connsiteY37" fmla="*/ 681547 h 1694229"/>
                <a:gd name="connsiteX38" fmla="*/ 93804 w 1862617"/>
                <a:gd name="connsiteY38" fmla="*/ 751806 h 1694229"/>
                <a:gd name="connsiteX39" fmla="*/ 148631 w 1862617"/>
                <a:gd name="connsiteY39" fmla="*/ 782248 h 1694229"/>
                <a:gd name="connsiteX40" fmla="*/ 217629 w 1862617"/>
                <a:gd name="connsiteY40" fmla="*/ 792460 h 1694229"/>
                <a:gd name="connsiteX41" fmla="*/ 252932 w 1862617"/>
                <a:gd name="connsiteY41" fmla="*/ 848431 h 1694229"/>
                <a:gd name="connsiteX42" fmla="*/ 252339 w 1862617"/>
                <a:gd name="connsiteY42" fmla="*/ 893503 h 1694229"/>
                <a:gd name="connsiteX43" fmla="*/ 276863 w 1862617"/>
                <a:gd name="connsiteY43" fmla="*/ 932978 h 1694229"/>
                <a:gd name="connsiteX44" fmla="*/ 322521 w 1862617"/>
                <a:gd name="connsiteY44" fmla="*/ 971570 h 1694229"/>
                <a:gd name="connsiteX45" fmla="*/ 407654 w 1862617"/>
                <a:gd name="connsiteY45" fmla="*/ 1025822 h 1694229"/>
                <a:gd name="connsiteX46" fmla="*/ 443431 w 1862617"/>
                <a:gd name="connsiteY46" fmla="*/ 1096915 h 1694229"/>
                <a:gd name="connsiteX47" fmla="*/ 422534 w 1862617"/>
                <a:gd name="connsiteY47" fmla="*/ 1166488 h 1694229"/>
                <a:gd name="connsiteX48" fmla="*/ 500581 w 1862617"/>
                <a:gd name="connsiteY48" fmla="*/ 1222951 h 1694229"/>
                <a:gd name="connsiteX49" fmla="*/ 572613 w 1862617"/>
                <a:gd name="connsiteY49" fmla="*/ 1255945 h 1694229"/>
                <a:gd name="connsiteX50" fmla="*/ 553444 w 1862617"/>
                <a:gd name="connsiteY50" fmla="*/ 1315648 h 1694229"/>
                <a:gd name="connsiteX51" fmla="*/ 643931 w 1862617"/>
                <a:gd name="connsiteY51" fmla="*/ 1468048 h 1694229"/>
                <a:gd name="connsiteX52" fmla="*/ 736741 w 1862617"/>
                <a:gd name="connsiteY52" fmla="*/ 1541202 h 1694229"/>
                <a:gd name="connsiteX53" fmla="*/ 786806 w 1862617"/>
                <a:gd name="connsiteY53" fmla="*/ 1491860 h 1694229"/>
                <a:gd name="connsiteX54" fmla="*/ 851396 w 1862617"/>
                <a:gd name="connsiteY54" fmla="*/ 1519257 h 1694229"/>
                <a:gd name="connsiteX55" fmla="*/ 905869 w 1862617"/>
                <a:gd name="connsiteY55" fmla="*/ 1487098 h 1694229"/>
                <a:gd name="connsiteX56" fmla="*/ 922716 w 1862617"/>
                <a:gd name="connsiteY56" fmla="*/ 1444922 h 1694229"/>
                <a:gd name="connsiteX57" fmla="*/ 986593 w 1862617"/>
                <a:gd name="connsiteY57" fmla="*/ 1531334 h 1694229"/>
                <a:gd name="connsiteX58" fmla="*/ 1031660 w 1862617"/>
                <a:gd name="connsiteY58" fmla="*/ 1602428 h 1694229"/>
                <a:gd name="connsiteX59" fmla="*/ 1101606 w 1862617"/>
                <a:gd name="connsiteY59" fmla="*/ 1693947 h 1694229"/>
                <a:gd name="connsiteX60" fmla="*/ 1132504 w 1862617"/>
                <a:gd name="connsiteY60" fmla="*/ 1630856 h 1694229"/>
                <a:gd name="connsiteX61" fmla="*/ 1163163 w 1862617"/>
                <a:gd name="connsiteY61" fmla="*/ 1624376 h 1694229"/>
                <a:gd name="connsiteX62" fmla="*/ 1206262 w 1862617"/>
                <a:gd name="connsiteY62" fmla="*/ 1653639 h 1694229"/>
                <a:gd name="connsiteX63" fmla="*/ 1239837 w 1862617"/>
                <a:gd name="connsiteY63" fmla="*/ 1612985 h 1694229"/>
                <a:gd name="connsiteX64" fmla="*/ 1258658 w 1862617"/>
                <a:gd name="connsiteY64" fmla="*/ 1617602 h 1694229"/>
                <a:gd name="connsiteX65" fmla="*/ 1292700 w 1862617"/>
                <a:gd name="connsiteY65" fmla="*/ 1684079 h 1694229"/>
                <a:gd name="connsiteX66" fmla="*/ 1349256 w 1862617"/>
                <a:gd name="connsiteY66" fmla="*/ 1660610 h 1694229"/>
                <a:gd name="connsiteX67" fmla="*/ 1401288 w 1862617"/>
                <a:gd name="connsiteY67" fmla="*/ 1604489 h 1694229"/>
                <a:gd name="connsiteX68" fmla="*/ 1452065 w 1862617"/>
                <a:gd name="connsiteY68" fmla="*/ 1587946 h 1694229"/>
                <a:gd name="connsiteX69" fmla="*/ 1469744 w 1862617"/>
                <a:gd name="connsiteY69" fmla="*/ 1643768 h 1694229"/>
                <a:gd name="connsiteX70" fmla="*/ 1539639 w 1862617"/>
                <a:gd name="connsiteY70" fmla="*/ 1618090 h 1694229"/>
                <a:gd name="connsiteX71" fmla="*/ 1570417 w 1862617"/>
                <a:gd name="connsiteY71" fmla="*/ 1531334 h 1694229"/>
                <a:gd name="connsiteX72" fmla="*/ 1651853 w 1862617"/>
                <a:gd name="connsiteY72" fmla="*/ 1441192 h 1694229"/>
                <a:gd name="connsiteX73" fmla="*/ 1696444 w 1862617"/>
                <a:gd name="connsiteY73" fmla="*/ 1410062 h 1694229"/>
                <a:gd name="connsiteX74" fmla="*/ 1724813 w 1862617"/>
                <a:gd name="connsiteY74" fmla="*/ 1413357 h 1694229"/>
                <a:gd name="connsiteX75" fmla="*/ 1802405 w 1862617"/>
                <a:gd name="connsiteY75" fmla="*/ 1402749 h 1694229"/>
                <a:gd name="connsiteX76" fmla="*/ 1797524 w 1862617"/>
                <a:gd name="connsiteY76" fmla="*/ 1456313 h 1694229"/>
                <a:gd name="connsiteX77" fmla="*/ 1855691 w 1862617"/>
                <a:gd name="connsiteY77" fmla="*/ 1479634 h 1694229"/>
                <a:gd name="connsiteX78" fmla="*/ 1857299 w 1862617"/>
                <a:gd name="connsiteY78" fmla="*/ 1457000 h 1694229"/>
                <a:gd name="connsiteX79" fmla="*/ 1856521 w 1862617"/>
                <a:gd name="connsiteY79" fmla="*/ 1396266 h 1694229"/>
                <a:gd name="connsiteX80" fmla="*/ 1834556 w 1862617"/>
                <a:gd name="connsiteY80" fmla="*/ 1306123 h 1694229"/>
                <a:gd name="connsiteX81" fmla="*/ 1834556 w 1862617"/>
                <a:gd name="connsiteY81" fmla="*/ 1248973 h 1694229"/>
                <a:gd name="connsiteX82" fmla="*/ 1791694 w 1862617"/>
                <a:gd name="connsiteY82" fmla="*/ 1239448 h 1694229"/>
                <a:gd name="connsiteX83" fmla="*/ 1737459 w 1862617"/>
                <a:gd name="connsiteY83" fmla="*/ 1176356 h 1694229"/>
                <a:gd name="connsiteX84" fmla="*/ 1704241 w 1862617"/>
                <a:gd name="connsiteY84" fmla="*/ 1038783 h 1694229"/>
                <a:gd name="connsiteX85" fmla="*/ 1627446 w 1862617"/>
                <a:gd name="connsiteY85" fmla="*/ 972257 h 1694229"/>
                <a:gd name="connsiteX86" fmla="*/ 1594228 w 1862617"/>
                <a:gd name="connsiteY86" fmla="*/ 917660 h 1694229"/>
                <a:gd name="connsiteX87" fmla="*/ 1544162 w 1862617"/>
                <a:gd name="connsiteY87" fmla="*/ 872587 h 1694229"/>
                <a:gd name="connsiteX88" fmla="*/ 1472251 w 1862617"/>
                <a:gd name="connsiteY88" fmla="*/ 845878 h 1694229"/>
                <a:gd name="connsiteX89" fmla="*/ 1449150 w 1862617"/>
                <a:gd name="connsiteY89" fmla="*/ 823245 h 1694229"/>
                <a:gd name="connsiteX90" fmla="*/ 1477013 w 1862617"/>
                <a:gd name="connsiteY90" fmla="*/ 784801 h 1694229"/>
                <a:gd name="connsiteX91" fmla="*/ 1458319 w 1862617"/>
                <a:gd name="connsiteY91" fmla="*/ 748910 h 1694229"/>
                <a:gd name="connsiteX92" fmla="*/ 1463081 w 1862617"/>
                <a:gd name="connsiteY92" fmla="*/ 725098 h 1694229"/>
                <a:gd name="connsiteX93" fmla="*/ 1488076 w 1862617"/>
                <a:gd name="connsiteY93" fmla="*/ 724035 h 1694229"/>
                <a:gd name="connsiteX94" fmla="*/ 1580416 w 1862617"/>
                <a:gd name="connsiteY94" fmla="*/ 740220 h 1694229"/>
                <a:gd name="connsiteX95" fmla="*/ 1615719 w 1862617"/>
                <a:gd name="connsiteY95" fmla="*/ 683758 h 1694229"/>
                <a:gd name="connsiteX96" fmla="*/ 1603753 w 1862617"/>
                <a:gd name="connsiteY96" fmla="*/ 553648 h 1694229"/>
                <a:gd name="connsiteX97" fmla="*/ 1620956 w 1862617"/>
                <a:gd name="connsiteY97" fmla="*/ 405322 h 1694229"/>
                <a:gd name="connsiteX0" fmla="*/ 1620956 w 1862617"/>
                <a:gd name="connsiteY0" fmla="*/ 405322 h 1694229"/>
                <a:gd name="connsiteX1" fmla="*/ 1548806 w 1862617"/>
                <a:gd name="connsiteY1" fmla="*/ 372673 h 1694229"/>
                <a:gd name="connsiteX2" fmla="*/ 1458557 w 1862617"/>
                <a:gd name="connsiteY2" fmla="*/ 348860 h 1694229"/>
                <a:gd name="connsiteX3" fmla="*/ 1405237 w 1862617"/>
                <a:gd name="connsiteY3" fmla="*/ 271776 h 1694229"/>
                <a:gd name="connsiteX4" fmla="*/ 1382136 w 1862617"/>
                <a:gd name="connsiteY4" fmla="*/ 169931 h 1694229"/>
                <a:gd name="connsiteX5" fmla="*/ 1346239 w 1862617"/>
                <a:gd name="connsiteY5" fmla="*/ 1869 h 1694229"/>
                <a:gd name="connsiteX6" fmla="*/ 1278870 w 1862617"/>
                <a:gd name="connsiteY6" fmla="*/ 43567 h 1694229"/>
                <a:gd name="connsiteX7" fmla="*/ 1273302 w 1862617"/>
                <a:gd name="connsiteY7" fmla="*/ 101090 h 1694229"/>
                <a:gd name="connsiteX8" fmla="*/ 1257397 w 1862617"/>
                <a:gd name="connsiteY8" fmla="*/ 152303 h 1694229"/>
                <a:gd name="connsiteX9" fmla="*/ 1237872 w 1862617"/>
                <a:gd name="connsiteY9" fmla="*/ 204316 h 1694229"/>
                <a:gd name="connsiteX10" fmla="*/ 1236143 w 1862617"/>
                <a:gd name="connsiteY10" fmla="*/ 273739 h 1694229"/>
                <a:gd name="connsiteX11" fmla="*/ 1163162 w 1862617"/>
                <a:gd name="connsiteY11" fmla="*/ 283903 h 1694229"/>
                <a:gd name="connsiteX12" fmla="*/ 1098809 w 1862617"/>
                <a:gd name="connsiteY12" fmla="*/ 285917 h 1694229"/>
                <a:gd name="connsiteX13" fmla="*/ 1051208 w 1862617"/>
                <a:gd name="connsiteY13" fmla="*/ 346183 h 1694229"/>
                <a:gd name="connsiteX14" fmla="*/ 996593 w 1862617"/>
                <a:gd name="connsiteY14" fmla="*/ 371690 h 1694229"/>
                <a:gd name="connsiteX15" fmla="*/ 943969 w 1862617"/>
                <a:gd name="connsiteY15" fmla="*/ 358385 h 1694229"/>
                <a:gd name="connsiteX16" fmla="*/ 837229 w 1862617"/>
                <a:gd name="connsiteY16" fmla="*/ 376257 h 1694229"/>
                <a:gd name="connsiteX17" fmla="*/ 814246 w 1862617"/>
                <a:gd name="connsiteY17" fmla="*/ 440035 h 1694229"/>
                <a:gd name="connsiteX18" fmla="*/ 797163 w 1862617"/>
                <a:gd name="connsiteY18" fmla="*/ 475926 h 1694229"/>
                <a:gd name="connsiteX19" fmla="*/ 715132 w 1862617"/>
                <a:gd name="connsiteY19" fmla="*/ 494632 h 1694229"/>
                <a:gd name="connsiteX20" fmla="*/ 697320 w 1862617"/>
                <a:gd name="connsiteY20" fmla="*/ 440647 h 1694229"/>
                <a:gd name="connsiteX21" fmla="*/ 653456 w 1862617"/>
                <a:gd name="connsiteY21" fmla="*/ 420298 h 1694229"/>
                <a:gd name="connsiteX22" fmla="*/ 518140 w 1862617"/>
                <a:gd name="connsiteY22" fmla="*/ 420641 h 1694229"/>
                <a:gd name="connsiteX23" fmla="*/ 434263 w 1862617"/>
                <a:gd name="connsiteY23" fmla="*/ 447350 h 1694229"/>
                <a:gd name="connsiteX24" fmla="*/ 401044 w 1862617"/>
                <a:gd name="connsiteY24" fmla="*/ 420298 h 1694229"/>
                <a:gd name="connsiteX25" fmla="*/ 381994 w 1862617"/>
                <a:gd name="connsiteY25" fmla="*/ 358385 h 1694229"/>
                <a:gd name="connsiteX26" fmla="*/ 315319 w 1862617"/>
                <a:gd name="connsiteY26" fmla="*/ 305998 h 1694229"/>
                <a:gd name="connsiteX27" fmla="*/ 270134 w 1862617"/>
                <a:gd name="connsiteY27" fmla="*/ 229110 h 1694229"/>
                <a:gd name="connsiteX28" fmla="*/ 146784 w 1862617"/>
                <a:gd name="connsiteY28" fmla="*/ 258373 h 1694229"/>
                <a:gd name="connsiteX29" fmla="*/ 127734 w 1862617"/>
                <a:gd name="connsiteY29" fmla="*/ 344785 h 1694229"/>
                <a:gd name="connsiteX30" fmla="*/ 145174 w 1862617"/>
                <a:gd name="connsiteY30" fmla="*/ 411312 h 1694229"/>
                <a:gd name="connsiteX31" fmla="*/ 117735 w 1862617"/>
                <a:gd name="connsiteY31" fmla="*/ 446172 h 1694229"/>
                <a:gd name="connsiteX32" fmla="*/ 65347 w 1862617"/>
                <a:gd name="connsiteY32" fmla="*/ 474059 h 1694229"/>
                <a:gd name="connsiteX33" fmla="*/ 37246 w 1862617"/>
                <a:gd name="connsiteY33" fmla="*/ 482063 h 1694229"/>
                <a:gd name="connsiteX34" fmla="*/ 15281 w 1862617"/>
                <a:gd name="connsiteY34" fmla="*/ 520310 h 1694229"/>
                <a:gd name="connsiteX35" fmla="*/ 1469 w 1862617"/>
                <a:gd name="connsiteY35" fmla="*/ 632745 h 1694229"/>
                <a:gd name="connsiteX36" fmla="*/ 51178 w 1862617"/>
                <a:gd name="connsiteY36" fmla="*/ 685967 h 1694229"/>
                <a:gd name="connsiteX37" fmla="*/ 108092 w 1862617"/>
                <a:gd name="connsiteY37" fmla="*/ 681547 h 1694229"/>
                <a:gd name="connsiteX38" fmla="*/ 93804 w 1862617"/>
                <a:gd name="connsiteY38" fmla="*/ 751806 h 1694229"/>
                <a:gd name="connsiteX39" fmla="*/ 148631 w 1862617"/>
                <a:gd name="connsiteY39" fmla="*/ 782248 h 1694229"/>
                <a:gd name="connsiteX40" fmla="*/ 217629 w 1862617"/>
                <a:gd name="connsiteY40" fmla="*/ 792460 h 1694229"/>
                <a:gd name="connsiteX41" fmla="*/ 252932 w 1862617"/>
                <a:gd name="connsiteY41" fmla="*/ 848431 h 1694229"/>
                <a:gd name="connsiteX42" fmla="*/ 252339 w 1862617"/>
                <a:gd name="connsiteY42" fmla="*/ 893503 h 1694229"/>
                <a:gd name="connsiteX43" fmla="*/ 276863 w 1862617"/>
                <a:gd name="connsiteY43" fmla="*/ 932978 h 1694229"/>
                <a:gd name="connsiteX44" fmla="*/ 322521 w 1862617"/>
                <a:gd name="connsiteY44" fmla="*/ 971570 h 1694229"/>
                <a:gd name="connsiteX45" fmla="*/ 407654 w 1862617"/>
                <a:gd name="connsiteY45" fmla="*/ 1025822 h 1694229"/>
                <a:gd name="connsiteX46" fmla="*/ 443431 w 1862617"/>
                <a:gd name="connsiteY46" fmla="*/ 1096915 h 1694229"/>
                <a:gd name="connsiteX47" fmla="*/ 422534 w 1862617"/>
                <a:gd name="connsiteY47" fmla="*/ 1166488 h 1694229"/>
                <a:gd name="connsiteX48" fmla="*/ 500581 w 1862617"/>
                <a:gd name="connsiteY48" fmla="*/ 1222951 h 1694229"/>
                <a:gd name="connsiteX49" fmla="*/ 572613 w 1862617"/>
                <a:gd name="connsiteY49" fmla="*/ 1255945 h 1694229"/>
                <a:gd name="connsiteX50" fmla="*/ 553444 w 1862617"/>
                <a:gd name="connsiteY50" fmla="*/ 1315648 h 1694229"/>
                <a:gd name="connsiteX51" fmla="*/ 643931 w 1862617"/>
                <a:gd name="connsiteY51" fmla="*/ 1468048 h 1694229"/>
                <a:gd name="connsiteX52" fmla="*/ 736741 w 1862617"/>
                <a:gd name="connsiteY52" fmla="*/ 1541202 h 1694229"/>
                <a:gd name="connsiteX53" fmla="*/ 786806 w 1862617"/>
                <a:gd name="connsiteY53" fmla="*/ 1491860 h 1694229"/>
                <a:gd name="connsiteX54" fmla="*/ 851396 w 1862617"/>
                <a:gd name="connsiteY54" fmla="*/ 1519257 h 1694229"/>
                <a:gd name="connsiteX55" fmla="*/ 905869 w 1862617"/>
                <a:gd name="connsiteY55" fmla="*/ 1487098 h 1694229"/>
                <a:gd name="connsiteX56" fmla="*/ 922716 w 1862617"/>
                <a:gd name="connsiteY56" fmla="*/ 1444922 h 1694229"/>
                <a:gd name="connsiteX57" fmla="*/ 986593 w 1862617"/>
                <a:gd name="connsiteY57" fmla="*/ 1531334 h 1694229"/>
                <a:gd name="connsiteX58" fmla="*/ 1031660 w 1862617"/>
                <a:gd name="connsiteY58" fmla="*/ 1602428 h 1694229"/>
                <a:gd name="connsiteX59" fmla="*/ 1101606 w 1862617"/>
                <a:gd name="connsiteY59" fmla="*/ 1693947 h 1694229"/>
                <a:gd name="connsiteX60" fmla="*/ 1132504 w 1862617"/>
                <a:gd name="connsiteY60" fmla="*/ 1630856 h 1694229"/>
                <a:gd name="connsiteX61" fmla="*/ 1163163 w 1862617"/>
                <a:gd name="connsiteY61" fmla="*/ 1624376 h 1694229"/>
                <a:gd name="connsiteX62" fmla="*/ 1206262 w 1862617"/>
                <a:gd name="connsiteY62" fmla="*/ 1653639 h 1694229"/>
                <a:gd name="connsiteX63" fmla="*/ 1239837 w 1862617"/>
                <a:gd name="connsiteY63" fmla="*/ 1612985 h 1694229"/>
                <a:gd name="connsiteX64" fmla="*/ 1258658 w 1862617"/>
                <a:gd name="connsiteY64" fmla="*/ 1617602 h 1694229"/>
                <a:gd name="connsiteX65" fmla="*/ 1292700 w 1862617"/>
                <a:gd name="connsiteY65" fmla="*/ 1684079 h 1694229"/>
                <a:gd name="connsiteX66" fmla="*/ 1349256 w 1862617"/>
                <a:gd name="connsiteY66" fmla="*/ 1660610 h 1694229"/>
                <a:gd name="connsiteX67" fmla="*/ 1401288 w 1862617"/>
                <a:gd name="connsiteY67" fmla="*/ 1604489 h 1694229"/>
                <a:gd name="connsiteX68" fmla="*/ 1452065 w 1862617"/>
                <a:gd name="connsiteY68" fmla="*/ 1587946 h 1694229"/>
                <a:gd name="connsiteX69" fmla="*/ 1469744 w 1862617"/>
                <a:gd name="connsiteY69" fmla="*/ 1643768 h 1694229"/>
                <a:gd name="connsiteX70" fmla="*/ 1539639 w 1862617"/>
                <a:gd name="connsiteY70" fmla="*/ 1618090 h 1694229"/>
                <a:gd name="connsiteX71" fmla="*/ 1570417 w 1862617"/>
                <a:gd name="connsiteY71" fmla="*/ 1531334 h 1694229"/>
                <a:gd name="connsiteX72" fmla="*/ 1651853 w 1862617"/>
                <a:gd name="connsiteY72" fmla="*/ 1441192 h 1694229"/>
                <a:gd name="connsiteX73" fmla="*/ 1696444 w 1862617"/>
                <a:gd name="connsiteY73" fmla="*/ 1410062 h 1694229"/>
                <a:gd name="connsiteX74" fmla="*/ 1724813 w 1862617"/>
                <a:gd name="connsiteY74" fmla="*/ 1413357 h 1694229"/>
                <a:gd name="connsiteX75" fmla="*/ 1802405 w 1862617"/>
                <a:gd name="connsiteY75" fmla="*/ 1402749 h 1694229"/>
                <a:gd name="connsiteX76" fmla="*/ 1797524 w 1862617"/>
                <a:gd name="connsiteY76" fmla="*/ 1456313 h 1694229"/>
                <a:gd name="connsiteX77" fmla="*/ 1855691 w 1862617"/>
                <a:gd name="connsiteY77" fmla="*/ 1479634 h 1694229"/>
                <a:gd name="connsiteX78" fmla="*/ 1857299 w 1862617"/>
                <a:gd name="connsiteY78" fmla="*/ 1457000 h 1694229"/>
                <a:gd name="connsiteX79" fmla="*/ 1856521 w 1862617"/>
                <a:gd name="connsiteY79" fmla="*/ 1396266 h 1694229"/>
                <a:gd name="connsiteX80" fmla="*/ 1834556 w 1862617"/>
                <a:gd name="connsiteY80" fmla="*/ 1306123 h 1694229"/>
                <a:gd name="connsiteX81" fmla="*/ 1834556 w 1862617"/>
                <a:gd name="connsiteY81" fmla="*/ 1248973 h 1694229"/>
                <a:gd name="connsiteX82" fmla="*/ 1747763 w 1862617"/>
                <a:gd name="connsiteY82" fmla="*/ 1264979 h 1694229"/>
                <a:gd name="connsiteX83" fmla="*/ 1737459 w 1862617"/>
                <a:gd name="connsiteY83" fmla="*/ 1176356 h 1694229"/>
                <a:gd name="connsiteX84" fmla="*/ 1704241 w 1862617"/>
                <a:gd name="connsiteY84" fmla="*/ 1038783 h 1694229"/>
                <a:gd name="connsiteX85" fmla="*/ 1627446 w 1862617"/>
                <a:gd name="connsiteY85" fmla="*/ 972257 h 1694229"/>
                <a:gd name="connsiteX86" fmla="*/ 1594228 w 1862617"/>
                <a:gd name="connsiteY86" fmla="*/ 917660 h 1694229"/>
                <a:gd name="connsiteX87" fmla="*/ 1544162 w 1862617"/>
                <a:gd name="connsiteY87" fmla="*/ 872587 h 1694229"/>
                <a:gd name="connsiteX88" fmla="*/ 1472251 w 1862617"/>
                <a:gd name="connsiteY88" fmla="*/ 845878 h 1694229"/>
                <a:gd name="connsiteX89" fmla="*/ 1449150 w 1862617"/>
                <a:gd name="connsiteY89" fmla="*/ 823245 h 1694229"/>
                <a:gd name="connsiteX90" fmla="*/ 1477013 w 1862617"/>
                <a:gd name="connsiteY90" fmla="*/ 784801 h 1694229"/>
                <a:gd name="connsiteX91" fmla="*/ 1458319 w 1862617"/>
                <a:gd name="connsiteY91" fmla="*/ 748910 h 1694229"/>
                <a:gd name="connsiteX92" fmla="*/ 1463081 w 1862617"/>
                <a:gd name="connsiteY92" fmla="*/ 725098 h 1694229"/>
                <a:gd name="connsiteX93" fmla="*/ 1488076 w 1862617"/>
                <a:gd name="connsiteY93" fmla="*/ 724035 h 1694229"/>
                <a:gd name="connsiteX94" fmla="*/ 1580416 w 1862617"/>
                <a:gd name="connsiteY94" fmla="*/ 740220 h 1694229"/>
                <a:gd name="connsiteX95" fmla="*/ 1615719 w 1862617"/>
                <a:gd name="connsiteY95" fmla="*/ 683758 h 1694229"/>
                <a:gd name="connsiteX96" fmla="*/ 1603753 w 1862617"/>
                <a:gd name="connsiteY96" fmla="*/ 553648 h 1694229"/>
                <a:gd name="connsiteX97" fmla="*/ 1620956 w 1862617"/>
                <a:gd name="connsiteY97" fmla="*/ 405322 h 1694229"/>
                <a:gd name="connsiteX0" fmla="*/ 1620956 w 1878075"/>
                <a:gd name="connsiteY0" fmla="*/ 405322 h 1694229"/>
                <a:gd name="connsiteX1" fmla="*/ 1548806 w 1878075"/>
                <a:gd name="connsiteY1" fmla="*/ 372673 h 1694229"/>
                <a:gd name="connsiteX2" fmla="*/ 1458557 w 1878075"/>
                <a:gd name="connsiteY2" fmla="*/ 348860 h 1694229"/>
                <a:gd name="connsiteX3" fmla="*/ 1405237 w 1878075"/>
                <a:gd name="connsiteY3" fmla="*/ 271776 h 1694229"/>
                <a:gd name="connsiteX4" fmla="*/ 1382136 w 1878075"/>
                <a:gd name="connsiteY4" fmla="*/ 169931 h 1694229"/>
                <a:gd name="connsiteX5" fmla="*/ 1346239 w 1878075"/>
                <a:gd name="connsiteY5" fmla="*/ 1869 h 1694229"/>
                <a:gd name="connsiteX6" fmla="*/ 1278870 w 1878075"/>
                <a:gd name="connsiteY6" fmla="*/ 43567 h 1694229"/>
                <a:gd name="connsiteX7" fmla="*/ 1273302 w 1878075"/>
                <a:gd name="connsiteY7" fmla="*/ 101090 h 1694229"/>
                <a:gd name="connsiteX8" fmla="*/ 1257397 w 1878075"/>
                <a:gd name="connsiteY8" fmla="*/ 152303 h 1694229"/>
                <a:gd name="connsiteX9" fmla="*/ 1237872 w 1878075"/>
                <a:gd name="connsiteY9" fmla="*/ 204316 h 1694229"/>
                <a:gd name="connsiteX10" fmla="*/ 1236143 w 1878075"/>
                <a:gd name="connsiteY10" fmla="*/ 273739 h 1694229"/>
                <a:gd name="connsiteX11" fmla="*/ 1163162 w 1878075"/>
                <a:gd name="connsiteY11" fmla="*/ 283903 h 1694229"/>
                <a:gd name="connsiteX12" fmla="*/ 1098809 w 1878075"/>
                <a:gd name="connsiteY12" fmla="*/ 285917 h 1694229"/>
                <a:gd name="connsiteX13" fmla="*/ 1051208 w 1878075"/>
                <a:gd name="connsiteY13" fmla="*/ 346183 h 1694229"/>
                <a:gd name="connsiteX14" fmla="*/ 996593 w 1878075"/>
                <a:gd name="connsiteY14" fmla="*/ 371690 h 1694229"/>
                <a:gd name="connsiteX15" fmla="*/ 943969 w 1878075"/>
                <a:gd name="connsiteY15" fmla="*/ 358385 h 1694229"/>
                <a:gd name="connsiteX16" fmla="*/ 837229 w 1878075"/>
                <a:gd name="connsiteY16" fmla="*/ 376257 h 1694229"/>
                <a:gd name="connsiteX17" fmla="*/ 814246 w 1878075"/>
                <a:gd name="connsiteY17" fmla="*/ 440035 h 1694229"/>
                <a:gd name="connsiteX18" fmla="*/ 797163 w 1878075"/>
                <a:gd name="connsiteY18" fmla="*/ 475926 h 1694229"/>
                <a:gd name="connsiteX19" fmla="*/ 715132 w 1878075"/>
                <a:gd name="connsiteY19" fmla="*/ 494632 h 1694229"/>
                <a:gd name="connsiteX20" fmla="*/ 697320 w 1878075"/>
                <a:gd name="connsiteY20" fmla="*/ 440647 h 1694229"/>
                <a:gd name="connsiteX21" fmla="*/ 653456 w 1878075"/>
                <a:gd name="connsiteY21" fmla="*/ 420298 h 1694229"/>
                <a:gd name="connsiteX22" fmla="*/ 518140 w 1878075"/>
                <a:gd name="connsiteY22" fmla="*/ 420641 h 1694229"/>
                <a:gd name="connsiteX23" fmla="*/ 434263 w 1878075"/>
                <a:gd name="connsiteY23" fmla="*/ 447350 h 1694229"/>
                <a:gd name="connsiteX24" fmla="*/ 401044 w 1878075"/>
                <a:gd name="connsiteY24" fmla="*/ 420298 h 1694229"/>
                <a:gd name="connsiteX25" fmla="*/ 381994 w 1878075"/>
                <a:gd name="connsiteY25" fmla="*/ 358385 h 1694229"/>
                <a:gd name="connsiteX26" fmla="*/ 315319 w 1878075"/>
                <a:gd name="connsiteY26" fmla="*/ 305998 h 1694229"/>
                <a:gd name="connsiteX27" fmla="*/ 270134 w 1878075"/>
                <a:gd name="connsiteY27" fmla="*/ 229110 h 1694229"/>
                <a:gd name="connsiteX28" fmla="*/ 146784 w 1878075"/>
                <a:gd name="connsiteY28" fmla="*/ 258373 h 1694229"/>
                <a:gd name="connsiteX29" fmla="*/ 127734 w 1878075"/>
                <a:gd name="connsiteY29" fmla="*/ 344785 h 1694229"/>
                <a:gd name="connsiteX30" fmla="*/ 145174 w 1878075"/>
                <a:gd name="connsiteY30" fmla="*/ 411312 h 1694229"/>
                <a:gd name="connsiteX31" fmla="*/ 117735 w 1878075"/>
                <a:gd name="connsiteY31" fmla="*/ 446172 h 1694229"/>
                <a:gd name="connsiteX32" fmla="*/ 65347 w 1878075"/>
                <a:gd name="connsiteY32" fmla="*/ 474059 h 1694229"/>
                <a:gd name="connsiteX33" fmla="*/ 37246 w 1878075"/>
                <a:gd name="connsiteY33" fmla="*/ 482063 h 1694229"/>
                <a:gd name="connsiteX34" fmla="*/ 15281 w 1878075"/>
                <a:gd name="connsiteY34" fmla="*/ 520310 h 1694229"/>
                <a:gd name="connsiteX35" fmla="*/ 1469 w 1878075"/>
                <a:gd name="connsiteY35" fmla="*/ 632745 h 1694229"/>
                <a:gd name="connsiteX36" fmla="*/ 51178 w 1878075"/>
                <a:gd name="connsiteY36" fmla="*/ 685967 h 1694229"/>
                <a:gd name="connsiteX37" fmla="*/ 108092 w 1878075"/>
                <a:gd name="connsiteY37" fmla="*/ 681547 h 1694229"/>
                <a:gd name="connsiteX38" fmla="*/ 93804 w 1878075"/>
                <a:gd name="connsiteY38" fmla="*/ 751806 h 1694229"/>
                <a:gd name="connsiteX39" fmla="*/ 148631 w 1878075"/>
                <a:gd name="connsiteY39" fmla="*/ 782248 h 1694229"/>
                <a:gd name="connsiteX40" fmla="*/ 217629 w 1878075"/>
                <a:gd name="connsiteY40" fmla="*/ 792460 h 1694229"/>
                <a:gd name="connsiteX41" fmla="*/ 252932 w 1878075"/>
                <a:gd name="connsiteY41" fmla="*/ 848431 h 1694229"/>
                <a:gd name="connsiteX42" fmla="*/ 252339 w 1878075"/>
                <a:gd name="connsiteY42" fmla="*/ 893503 h 1694229"/>
                <a:gd name="connsiteX43" fmla="*/ 276863 w 1878075"/>
                <a:gd name="connsiteY43" fmla="*/ 932978 h 1694229"/>
                <a:gd name="connsiteX44" fmla="*/ 322521 w 1878075"/>
                <a:gd name="connsiteY44" fmla="*/ 971570 h 1694229"/>
                <a:gd name="connsiteX45" fmla="*/ 407654 w 1878075"/>
                <a:gd name="connsiteY45" fmla="*/ 1025822 h 1694229"/>
                <a:gd name="connsiteX46" fmla="*/ 443431 w 1878075"/>
                <a:gd name="connsiteY46" fmla="*/ 1096915 h 1694229"/>
                <a:gd name="connsiteX47" fmla="*/ 422534 w 1878075"/>
                <a:gd name="connsiteY47" fmla="*/ 1166488 h 1694229"/>
                <a:gd name="connsiteX48" fmla="*/ 500581 w 1878075"/>
                <a:gd name="connsiteY48" fmla="*/ 1222951 h 1694229"/>
                <a:gd name="connsiteX49" fmla="*/ 572613 w 1878075"/>
                <a:gd name="connsiteY49" fmla="*/ 1255945 h 1694229"/>
                <a:gd name="connsiteX50" fmla="*/ 553444 w 1878075"/>
                <a:gd name="connsiteY50" fmla="*/ 1315648 h 1694229"/>
                <a:gd name="connsiteX51" fmla="*/ 643931 w 1878075"/>
                <a:gd name="connsiteY51" fmla="*/ 1468048 h 1694229"/>
                <a:gd name="connsiteX52" fmla="*/ 736741 w 1878075"/>
                <a:gd name="connsiteY52" fmla="*/ 1541202 h 1694229"/>
                <a:gd name="connsiteX53" fmla="*/ 786806 w 1878075"/>
                <a:gd name="connsiteY53" fmla="*/ 1491860 h 1694229"/>
                <a:gd name="connsiteX54" fmla="*/ 851396 w 1878075"/>
                <a:gd name="connsiteY54" fmla="*/ 1519257 h 1694229"/>
                <a:gd name="connsiteX55" fmla="*/ 905869 w 1878075"/>
                <a:gd name="connsiteY55" fmla="*/ 1487098 h 1694229"/>
                <a:gd name="connsiteX56" fmla="*/ 922716 w 1878075"/>
                <a:gd name="connsiteY56" fmla="*/ 1444922 h 1694229"/>
                <a:gd name="connsiteX57" fmla="*/ 986593 w 1878075"/>
                <a:gd name="connsiteY57" fmla="*/ 1531334 h 1694229"/>
                <a:gd name="connsiteX58" fmla="*/ 1031660 w 1878075"/>
                <a:gd name="connsiteY58" fmla="*/ 1602428 h 1694229"/>
                <a:gd name="connsiteX59" fmla="*/ 1101606 w 1878075"/>
                <a:gd name="connsiteY59" fmla="*/ 1693947 h 1694229"/>
                <a:gd name="connsiteX60" fmla="*/ 1132504 w 1878075"/>
                <a:gd name="connsiteY60" fmla="*/ 1630856 h 1694229"/>
                <a:gd name="connsiteX61" fmla="*/ 1163163 w 1878075"/>
                <a:gd name="connsiteY61" fmla="*/ 1624376 h 1694229"/>
                <a:gd name="connsiteX62" fmla="*/ 1206262 w 1878075"/>
                <a:gd name="connsiteY62" fmla="*/ 1653639 h 1694229"/>
                <a:gd name="connsiteX63" fmla="*/ 1239837 w 1878075"/>
                <a:gd name="connsiteY63" fmla="*/ 1612985 h 1694229"/>
                <a:gd name="connsiteX64" fmla="*/ 1258658 w 1878075"/>
                <a:gd name="connsiteY64" fmla="*/ 1617602 h 1694229"/>
                <a:gd name="connsiteX65" fmla="*/ 1292700 w 1878075"/>
                <a:gd name="connsiteY65" fmla="*/ 1684079 h 1694229"/>
                <a:gd name="connsiteX66" fmla="*/ 1349256 w 1878075"/>
                <a:gd name="connsiteY66" fmla="*/ 1660610 h 1694229"/>
                <a:gd name="connsiteX67" fmla="*/ 1401288 w 1878075"/>
                <a:gd name="connsiteY67" fmla="*/ 1604489 h 1694229"/>
                <a:gd name="connsiteX68" fmla="*/ 1452065 w 1878075"/>
                <a:gd name="connsiteY68" fmla="*/ 1587946 h 1694229"/>
                <a:gd name="connsiteX69" fmla="*/ 1469744 w 1878075"/>
                <a:gd name="connsiteY69" fmla="*/ 1643768 h 1694229"/>
                <a:gd name="connsiteX70" fmla="*/ 1539639 w 1878075"/>
                <a:gd name="connsiteY70" fmla="*/ 1618090 h 1694229"/>
                <a:gd name="connsiteX71" fmla="*/ 1570417 w 1878075"/>
                <a:gd name="connsiteY71" fmla="*/ 1531334 h 1694229"/>
                <a:gd name="connsiteX72" fmla="*/ 1651853 w 1878075"/>
                <a:gd name="connsiteY72" fmla="*/ 1441192 h 1694229"/>
                <a:gd name="connsiteX73" fmla="*/ 1696444 w 1878075"/>
                <a:gd name="connsiteY73" fmla="*/ 1410062 h 1694229"/>
                <a:gd name="connsiteX74" fmla="*/ 1724813 w 1878075"/>
                <a:gd name="connsiteY74" fmla="*/ 1413357 h 1694229"/>
                <a:gd name="connsiteX75" fmla="*/ 1802405 w 1878075"/>
                <a:gd name="connsiteY75" fmla="*/ 1402749 h 1694229"/>
                <a:gd name="connsiteX76" fmla="*/ 1797524 w 1878075"/>
                <a:gd name="connsiteY76" fmla="*/ 1456313 h 1694229"/>
                <a:gd name="connsiteX77" fmla="*/ 1855691 w 1878075"/>
                <a:gd name="connsiteY77" fmla="*/ 1479634 h 1694229"/>
                <a:gd name="connsiteX78" fmla="*/ 1857299 w 1878075"/>
                <a:gd name="connsiteY78" fmla="*/ 1457000 h 1694229"/>
                <a:gd name="connsiteX79" fmla="*/ 1856521 w 1878075"/>
                <a:gd name="connsiteY79" fmla="*/ 1396266 h 1694229"/>
                <a:gd name="connsiteX80" fmla="*/ 1863843 w 1878075"/>
                <a:gd name="connsiteY80" fmla="*/ 1323993 h 1694229"/>
                <a:gd name="connsiteX81" fmla="*/ 1834556 w 1878075"/>
                <a:gd name="connsiteY81" fmla="*/ 1248973 h 1694229"/>
                <a:gd name="connsiteX82" fmla="*/ 1747763 w 1878075"/>
                <a:gd name="connsiteY82" fmla="*/ 1264979 h 1694229"/>
                <a:gd name="connsiteX83" fmla="*/ 1737459 w 1878075"/>
                <a:gd name="connsiteY83" fmla="*/ 1176356 h 1694229"/>
                <a:gd name="connsiteX84" fmla="*/ 1704241 w 1878075"/>
                <a:gd name="connsiteY84" fmla="*/ 1038783 h 1694229"/>
                <a:gd name="connsiteX85" fmla="*/ 1627446 w 1878075"/>
                <a:gd name="connsiteY85" fmla="*/ 972257 h 1694229"/>
                <a:gd name="connsiteX86" fmla="*/ 1594228 w 1878075"/>
                <a:gd name="connsiteY86" fmla="*/ 917660 h 1694229"/>
                <a:gd name="connsiteX87" fmla="*/ 1544162 w 1878075"/>
                <a:gd name="connsiteY87" fmla="*/ 872587 h 1694229"/>
                <a:gd name="connsiteX88" fmla="*/ 1472251 w 1878075"/>
                <a:gd name="connsiteY88" fmla="*/ 845878 h 1694229"/>
                <a:gd name="connsiteX89" fmla="*/ 1449150 w 1878075"/>
                <a:gd name="connsiteY89" fmla="*/ 823245 h 1694229"/>
                <a:gd name="connsiteX90" fmla="*/ 1477013 w 1878075"/>
                <a:gd name="connsiteY90" fmla="*/ 784801 h 1694229"/>
                <a:gd name="connsiteX91" fmla="*/ 1458319 w 1878075"/>
                <a:gd name="connsiteY91" fmla="*/ 748910 h 1694229"/>
                <a:gd name="connsiteX92" fmla="*/ 1463081 w 1878075"/>
                <a:gd name="connsiteY92" fmla="*/ 725098 h 1694229"/>
                <a:gd name="connsiteX93" fmla="*/ 1488076 w 1878075"/>
                <a:gd name="connsiteY93" fmla="*/ 724035 h 1694229"/>
                <a:gd name="connsiteX94" fmla="*/ 1580416 w 1878075"/>
                <a:gd name="connsiteY94" fmla="*/ 740220 h 1694229"/>
                <a:gd name="connsiteX95" fmla="*/ 1615719 w 1878075"/>
                <a:gd name="connsiteY95" fmla="*/ 683758 h 1694229"/>
                <a:gd name="connsiteX96" fmla="*/ 1603753 w 1878075"/>
                <a:gd name="connsiteY96" fmla="*/ 553648 h 1694229"/>
                <a:gd name="connsiteX97" fmla="*/ 1620956 w 1878075"/>
                <a:gd name="connsiteY97" fmla="*/ 405322 h 1694229"/>
                <a:gd name="connsiteX0" fmla="*/ 1620956 w 1866986"/>
                <a:gd name="connsiteY0" fmla="*/ 405322 h 1694229"/>
                <a:gd name="connsiteX1" fmla="*/ 1548806 w 1866986"/>
                <a:gd name="connsiteY1" fmla="*/ 372673 h 1694229"/>
                <a:gd name="connsiteX2" fmla="*/ 1458557 w 1866986"/>
                <a:gd name="connsiteY2" fmla="*/ 348860 h 1694229"/>
                <a:gd name="connsiteX3" fmla="*/ 1405237 w 1866986"/>
                <a:gd name="connsiteY3" fmla="*/ 271776 h 1694229"/>
                <a:gd name="connsiteX4" fmla="*/ 1382136 w 1866986"/>
                <a:gd name="connsiteY4" fmla="*/ 169931 h 1694229"/>
                <a:gd name="connsiteX5" fmla="*/ 1346239 w 1866986"/>
                <a:gd name="connsiteY5" fmla="*/ 1869 h 1694229"/>
                <a:gd name="connsiteX6" fmla="*/ 1278870 w 1866986"/>
                <a:gd name="connsiteY6" fmla="*/ 43567 h 1694229"/>
                <a:gd name="connsiteX7" fmla="*/ 1273302 w 1866986"/>
                <a:gd name="connsiteY7" fmla="*/ 101090 h 1694229"/>
                <a:gd name="connsiteX8" fmla="*/ 1257397 w 1866986"/>
                <a:gd name="connsiteY8" fmla="*/ 152303 h 1694229"/>
                <a:gd name="connsiteX9" fmla="*/ 1237872 w 1866986"/>
                <a:gd name="connsiteY9" fmla="*/ 204316 h 1694229"/>
                <a:gd name="connsiteX10" fmla="*/ 1236143 w 1866986"/>
                <a:gd name="connsiteY10" fmla="*/ 273739 h 1694229"/>
                <a:gd name="connsiteX11" fmla="*/ 1163162 w 1866986"/>
                <a:gd name="connsiteY11" fmla="*/ 283903 h 1694229"/>
                <a:gd name="connsiteX12" fmla="*/ 1098809 w 1866986"/>
                <a:gd name="connsiteY12" fmla="*/ 285917 h 1694229"/>
                <a:gd name="connsiteX13" fmla="*/ 1051208 w 1866986"/>
                <a:gd name="connsiteY13" fmla="*/ 346183 h 1694229"/>
                <a:gd name="connsiteX14" fmla="*/ 996593 w 1866986"/>
                <a:gd name="connsiteY14" fmla="*/ 371690 h 1694229"/>
                <a:gd name="connsiteX15" fmla="*/ 943969 w 1866986"/>
                <a:gd name="connsiteY15" fmla="*/ 358385 h 1694229"/>
                <a:gd name="connsiteX16" fmla="*/ 837229 w 1866986"/>
                <a:gd name="connsiteY16" fmla="*/ 376257 h 1694229"/>
                <a:gd name="connsiteX17" fmla="*/ 814246 w 1866986"/>
                <a:gd name="connsiteY17" fmla="*/ 440035 h 1694229"/>
                <a:gd name="connsiteX18" fmla="*/ 797163 w 1866986"/>
                <a:gd name="connsiteY18" fmla="*/ 475926 h 1694229"/>
                <a:gd name="connsiteX19" fmla="*/ 715132 w 1866986"/>
                <a:gd name="connsiteY19" fmla="*/ 494632 h 1694229"/>
                <a:gd name="connsiteX20" fmla="*/ 697320 w 1866986"/>
                <a:gd name="connsiteY20" fmla="*/ 440647 h 1694229"/>
                <a:gd name="connsiteX21" fmla="*/ 653456 w 1866986"/>
                <a:gd name="connsiteY21" fmla="*/ 420298 h 1694229"/>
                <a:gd name="connsiteX22" fmla="*/ 518140 w 1866986"/>
                <a:gd name="connsiteY22" fmla="*/ 420641 h 1694229"/>
                <a:gd name="connsiteX23" fmla="*/ 434263 w 1866986"/>
                <a:gd name="connsiteY23" fmla="*/ 447350 h 1694229"/>
                <a:gd name="connsiteX24" fmla="*/ 401044 w 1866986"/>
                <a:gd name="connsiteY24" fmla="*/ 420298 h 1694229"/>
                <a:gd name="connsiteX25" fmla="*/ 381994 w 1866986"/>
                <a:gd name="connsiteY25" fmla="*/ 358385 h 1694229"/>
                <a:gd name="connsiteX26" fmla="*/ 315319 w 1866986"/>
                <a:gd name="connsiteY26" fmla="*/ 305998 h 1694229"/>
                <a:gd name="connsiteX27" fmla="*/ 270134 w 1866986"/>
                <a:gd name="connsiteY27" fmla="*/ 229110 h 1694229"/>
                <a:gd name="connsiteX28" fmla="*/ 146784 w 1866986"/>
                <a:gd name="connsiteY28" fmla="*/ 258373 h 1694229"/>
                <a:gd name="connsiteX29" fmla="*/ 127734 w 1866986"/>
                <a:gd name="connsiteY29" fmla="*/ 344785 h 1694229"/>
                <a:gd name="connsiteX30" fmla="*/ 145174 w 1866986"/>
                <a:gd name="connsiteY30" fmla="*/ 411312 h 1694229"/>
                <a:gd name="connsiteX31" fmla="*/ 117735 w 1866986"/>
                <a:gd name="connsiteY31" fmla="*/ 446172 h 1694229"/>
                <a:gd name="connsiteX32" fmla="*/ 65347 w 1866986"/>
                <a:gd name="connsiteY32" fmla="*/ 474059 h 1694229"/>
                <a:gd name="connsiteX33" fmla="*/ 37246 w 1866986"/>
                <a:gd name="connsiteY33" fmla="*/ 482063 h 1694229"/>
                <a:gd name="connsiteX34" fmla="*/ 15281 w 1866986"/>
                <a:gd name="connsiteY34" fmla="*/ 520310 h 1694229"/>
                <a:gd name="connsiteX35" fmla="*/ 1469 w 1866986"/>
                <a:gd name="connsiteY35" fmla="*/ 632745 h 1694229"/>
                <a:gd name="connsiteX36" fmla="*/ 51178 w 1866986"/>
                <a:gd name="connsiteY36" fmla="*/ 685967 h 1694229"/>
                <a:gd name="connsiteX37" fmla="*/ 108092 w 1866986"/>
                <a:gd name="connsiteY37" fmla="*/ 681547 h 1694229"/>
                <a:gd name="connsiteX38" fmla="*/ 93804 w 1866986"/>
                <a:gd name="connsiteY38" fmla="*/ 751806 h 1694229"/>
                <a:gd name="connsiteX39" fmla="*/ 148631 w 1866986"/>
                <a:gd name="connsiteY39" fmla="*/ 782248 h 1694229"/>
                <a:gd name="connsiteX40" fmla="*/ 217629 w 1866986"/>
                <a:gd name="connsiteY40" fmla="*/ 792460 h 1694229"/>
                <a:gd name="connsiteX41" fmla="*/ 252932 w 1866986"/>
                <a:gd name="connsiteY41" fmla="*/ 848431 h 1694229"/>
                <a:gd name="connsiteX42" fmla="*/ 252339 w 1866986"/>
                <a:gd name="connsiteY42" fmla="*/ 893503 h 1694229"/>
                <a:gd name="connsiteX43" fmla="*/ 276863 w 1866986"/>
                <a:gd name="connsiteY43" fmla="*/ 932978 h 1694229"/>
                <a:gd name="connsiteX44" fmla="*/ 322521 w 1866986"/>
                <a:gd name="connsiteY44" fmla="*/ 971570 h 1694229"/>
                <a:gd name="connsiteX45" fmla="*/ 407654 w 1866986"/>
                <a:gd name="connsiteY45" fmla="*/ 1025822 h 1694229"/>
                <a:gd name="connsiteX46" fmla="*/ 443431 w 1866986"/>
                <a:gd name="connsiteY46" fmla="*/ 1096915 h 1694229"/>
                <a:gd name="connsiteX47" fmla="*/ 422534 w 1866986"/>
                <a:gd name="connsiteY47" fmla="*/ 1166488 h 1694229"/>
                <a:gd name="connsiteX48" fmla="*/ 500581 w 1866986"/>
                <a:gd name="connsiteY48" fmla="*/ 1222951 h 1694229"/>
                <a:gd name="connsiteX49" fmla="*/ 572613 w 1866986"/>
                <a:gd name="connsiteY49" fmla="*/ 1255945 h 1694229"/>
                <a:gd name="connsiteX50" fmla="*/ 553444 w 1866986"/>
                <a:gd name="connsiteY50" fmla="*/ 1315648 h 1694229"/>
                <a:gd name="connsiteX51" fmla="*/ 643931 w 1866986"/>
                <a:gd name="connsiteY51" fmla="*/ 1468048 h 1694229"/>
                <a:gd name="connsiteX52" fmla="*/ 736741 w 1866986"/>
                <a:gd name="connsiteY52" fmla="*/ 1541202 h 1694229"/>
                <a:gd name="connsiteX53" fmla="*/ 786806 w 1866986"/>
                <a:gd name="connsiteY53" fmla="*/ 1491860 h 1694229"/>
                <a:gd name="connsiteX54" fmla="*/ 851396 w 1866986"/>
                <a:gd name="connsiteY54" fmla="*/ 1519257 h 1694229"/>
                <a:gd name="connsiteX55" fmla="*/ 905869 w 1866986"/>
                <a:gd name="connsiteY55" fmla="*/ 1487098 h 1694229"/>
                <a:gd name="connsiteX56" fmla="*/ 922716 w 1866986"/>
                <a:gd name="connsiteY56" fmla="*/ 1444922 h 1694229"/>
                <a:gd name="connsiteX57" fmla="*/ 986593 w 1866986"/>
                <a:gd name="connsiteY57" fmla="*/ 1531334 h 1694229"/>
                <a:gd name="connsiteX58" fmla="*/ 1031660 w 1866986"/>
                <a:gd name="connsiteY58" fmla="*/ 1602428 h 1694229"/>
                <a:gd name="connsiteX59" fmla="*/ 1101606 w 1866986"/>
                <a:gd name="connsiteY59" fmla="*/ 1693947 h 1694229"/>
                <a:gd name="connsiteX60" fmla="*/ 1132504 w 1866986"/>
                <a:gd name="connsiteY60" fmla="*/ 1630856 h 1694229"/>
                <a:gd name="connsiteX61" fmla="*/ 1163163 w 1866986"/>
                <a:gd name="connsiteY61" fmla="*/ 1624376 h 1694229"/>
                <a:gd name="connsiteX62" fmla="*/ 1206262 w 1866986"/>
                <a:gd name="connsiteY62" fmla="*/ 1653639 h 1694229"/>
                <a:gd name="connsiteX63" fmla="*/ 1239837 w 1866986"/>
                <a:gd name="connsiteY63" fmla="*/ 1612985 h 1694229"/>
                <a:gd name="connsiteX64" fmla="*/ 1258658 w 1866986"/>
                <a:gd name="connsiteY64" fmla="*/ 1617602 h 1694229"/>
                <a:gd name="connsiteX65" fmla="*/ 1292700 w 1866986"/>
                <a:gd name="connsiteY65" fmla="*/ 1684079 h 1694229"/>
                <a:gd name="connsiteX66" fmla="*/ 1349256 w 1866986"/>
                <a:gd name="connsiteY66" fmla="*/ 1660610 h 1694229"/>
                <a:gd name="connsiteX67" fmla="*/ 1401288 w 1866986"/>
                <a:gd name="connsiteY67" fmla="*/ 1604489 h 1694229"/>
                <a:gd name="connsiteX68" fmla="*/ 1452065 w 1866986"/>
                <a:gd name="connsiteY68" fmla="*/ 1587946 h 1694229"/>
                <a:gd name="connsiteX69" fmla="*/ 1469744 w 1866986"/>
                <a:gd name="connsiteY69" fmla="*/ 1643768 h 1694229"/>
                <a:gd name="connsiteX70" fmla="*/ 1539639 w 1866986"/>
                <a:gd name="connsiteY70" fmla="*/ 1618090 h 1694229"/>
                <a:gd name="connsiteX71" fmla="*/ 1570417 w 1866986"/>
                <a:gd name="connsiteY71" fmla="*/ 1531334 h 1694229"/>
                <a:gd name="connsiteX72" fmla="*/ 1651853 w 1866986"/>
                <a:gd name="connsiteY72" fmla="*/ 1441192 h 1694229"/>
                <a:gd name="connsiteX73" fmla="*/ 1696444 w 1866986"/>
                <a:gd name="connsiteY73" fmla="*/ 1410062 h 1694229"/>
                <a:gd name="connsiteX74" fmla="*/ 1724813 w 1866986"/>
                <a:gd name="connsiteY74" fmla="*/ 1413357 h 1694229"/>
                <a:gd name="connsiteX75" fmla="*/ 1802405 w 1866986"/>
                <a:gd name="connsiteY75" fmla="*/ 1402749 h 1694229"/>
                <a:gd name="connsiteX76" fmla="*/ 1797524 w 1866986"/>
                <a:gd name="connsiteY76" fmla="*/ 1456313 h 1694229"/>
                <a:gd name="connsiteX77" fmla="*/ 1855691 w 1866986"/>
                <a:gd name="connsiteY77" fmla="*/ 1479634 h 1694229"/>
                <a:gd name="connsiteX78" fmla="*/ 1857299 w 1866986"/>
                <a:gd name="connsiteY78" fmla="*/ 1457000 h 1694229"/>
                <a:gd name="connsiteX79" fmla="*/ 1856521 w 1866986"/>
                <a:gd name="connsiteY79" fmla="*/ 1396266 h 1694229"/>
                <a:gd name="connsiteX80" fmla="*/ 1863843 w 1866986"/>
                <a:gd name="connsiteY80" fmla="*/ 1323993 h 1694229"/>
                <a:gd name="connsiteX81" fmla="*/ 1797946 w 1866986"/>
                <a:gd name="connsiteY81" fmla="*/ 1305140 h 1694229"/>
                <a:gd name="connsiteX82" fmla="*/ 1747763 w 1866986"/>
                <a:gd name="connsiteY82" fmla="*/ 1264979 h 1694229"/>
                <a:gd name="connsiteX83" fmla="*/ 1737459 w 1866986"/>
                <a:gd name="connsiteY83" fmla="*/ 1176356 h 1694229"/>
                <a:gd name="connsiteX84" fmla="*/ 1704241 w 1866986"/>
                <a:gd name="connsiteY84" fmla="*/ 1038783 h 1694229"/>
                <a:gd name="connsiteX85" fmla="*/ 1627446 w 1866986"/>
                <a:gd name="connsiteY85" fmla="*/ 972257 h 1694229"/>
                <a:gd name="connsiteX86" fmla="*/ 1594228 w 1866986"/>
                <a:gd name="connsiteY86" fmla="*/ 917660 h 1694229"/>
                <a:gd name="connsiteX87" fmla="*/ 1544162 w 1866986"/>
                <a:gd name="connsiteY87" fmla="*/ 872587 h 1694229"/>
                <a:gd name="connsiteX88" fmla="*/ 1472251 w 1866986"/>
                <a:gd name="connsiteY88" fmla="*/ 845878 h 1694229"/>
                <a:gd name="connsiteX89" fmla="*/ 1449150 w 1866986"/>
                <a:gd name="connsiteY89" fmla="*/ 823245 h 1694229"/>
                <a:gd name="connsiteX90" fmla="*/ 1477013 w 1866986"/>
                <a:gd name="connsiteY90" fmla="*/ 784801 h 1694229"/>
                <a:gd name="connsiteX91" fmla="*/ 1458319 w 1866986"/>
                <a:gd name="connsiteY91" fmla="*/ 748910 h 1694229"/>
                <a:gd name="connsiteX92" fmla="*/ 1463081 w 1866986"/>
                <a:gd name="connsiteY92" fmla="*/ 725098 h 1694229"/>
                <a:gd name="connsiteX93" fmla="*/ 1488076 w 1866986"/>
                <a:gd name="connsiteY93" fmla="*/ 724035 h 1694229"/>
                <a:gd name="connsiteX94" fmla="*/ 1580416 w 1866986"/>
                <a:gd name="connsiteY94" fmla="*/ 740220 h 1694229"/>
                <a:gd name="connsiteX95" fmla="*/ 1615719 w 1866986"/>
                <a:gd name="connsiteY95" fmla="*/ 683758 h 1694229"/>
                <a:gd name="connsiteX96" fmla="*/ 1603753 w 1866986"/>
                <a:gd name="connsiteY96" fmla="*/ 553648 h 1694229"/>
                <a:gd name="connsiteX97" fmla="*/ 1620956 w 1866986"/>
                <a:gd name="connsiteY97" fmla="*/ 405322 h 1694229"/>
                <a:gd name="connsiteX0" fmla="*/ 1620956 w 1880530"/>
                <a:gd name="connsiteY0" fmla="*/ 405322 h 1694229"/>
                <a:gd name="connsiteX1" fmla="*/ 1548806 w 1880530"/>
                <a:gd name="connsiteY1" fmla="*/ 372673 h 1694229"/>
                <a:gd name="connsiteX2" fmla="*/ 1458557 w 1880530"/>
                <a:gd name="connsiteY2" fmla="*/ 348860 h 1694229"/>
                <a:gd name="connsiteX3" fmla="*/ 1405237 w 1880530"/>
                <a:gd name="connsiteY3" fmla="*/ 271776 h 1694229"/>
                <a:gd name="connsiteX4" fmla="*/ 1382136 w 1880530"/>
                <a:gd name="connsiteY4" fmla="*/ 169931 h 1694229"/>
                <a:gd name="connsiteX5" fmla="*/ 1346239 w 1880530"/>
                <a:gd name="connsiteY5" fmla="*/ 1869 h 1694229"/>
                <a:gd name="connsiteX6" fmla="*/ 1278870 w 1880530"/>
                <a:gd name="connsiteY6" fmla="*/ 43567 h 1694229"/>
                <a:gd name="connsiteX7" fmla="*/ 1273302 w 1880530"/>
                <a:gd name="connsiteY7" fmla="*/ 101090 h 1694229"/>
                <a:gd name="connsiteX8" fmla="*/ 1257397 w 1880530"/>
                <a:gd name="connsiteY8" fmla="*/ 152303 h 1694229"/>
                <a:gd name="connsiteX9" fmla="*/ 1237872 w 1880530"/>
                <a:gd name="connsiteY9" fmla="*/ 204316 h 1694229"/>
                <a:gd name="connsiteX10" fmla="*/ 1236143 w 1880530"/>
                <a:gd name="connsiteY10" fmla="*/ 273739 h 1694229"/>
                <a:gd name="connsiteX11" fmla="*/ 1163162 w 1880530"/>
                <a:gd name="connsiteY11" fmla="*/ 283903 h 1694229"/>
                <a:gd name="connsiteX12" fmla="*/ 1098809 w 1880530"/>
                <a:gd name="connsiteY12" fmla="*/ 285917 h 1694229"/>
                <a:gd name="connsiteX13" fmla="*/ 1051208 w 1880530"/>
                <a:gd name="connsiteY13" fmla="*/ 346183 h 1694229"/>
                <a:gd name="connsiteX14" fmla="*/ 996593 w 1880530"/>
                <a:gd name="connsiteY14" fmla="*/ 371690 h 1694229"/>
                <a:gd name="connsiteX15" fmla="*/ 943969 w 1880530"/>
                <a:gd name="connsiteY15" fmla="*/ 358385 h 1694229"/>
                <a:gd name="connsiteX16" fmla="*/ 837229 w 1880530"/>
                <a:gd name="connsiteY16" fmla="*/ 376257 h 1694229"/>
                <a:gd name="connsiteX17" fmla="*/ 814246 w 1880530"/>
                <a:gd name="connsiteY17" fmla="*/ 440035 h 1694229"/>
                <a:gd name="connsiteX18" fmla="*/ 797163 w 1880530"/>
                <a:gd name="connsiteY18" fmla="*/ 475926 h 1694229"/>
                <a:gd name="connsiteX19" fmla="*/ 715132 w 1880530"/>
                <a:gd name="connsiteY19" fmla="*/ 494632 h 1694229"/>
                <a:gd name="connsiteX20" fmla="*/ 697320 w 1880530"/>
                <a:gd name="connsiteY20" fmla="*/ 440647 h 1694229"/>
                <a:gd name="connsiteX21" fmla="*/ 653456 w 1880530"/>
                <a:gd name="connsiteY21" fmla="*/ 420298 h 1694229"/>
                <a:gd name="connsiteX22" fmla="*/ 518140 w 1880530"/>
                <a:gd name="connsiteY22" fmla="*/ 420641 h 1694229"/>
                <a:gd name="connsiteX23" fmla="*/ 434263 w 1880530"/>
                <a:gd name="connsiteY23" fmla="*/ 447350 h 1694229"/>
                <a:gd name="connsiteX24" fmla="*/ 401044 w 1880530"/>
                <a:gd name="connsiteY24" fmla="*/ 420298 h 1694229"/>
                <a:gd name="connsiteX25" fmla="*/ 381994 w 1880530"/>
                <a:gd name="connsiteY25" fmla="*/ 358385 h 1694229"/>
                <a:gd name="connsiteX26" fmla="*/ 315319 w 1880530"/>
                <a:gd name="connsiteY26" fmla="*/ 305998 h 1694229"/>
                <a:gd name="connsiteX27" fmla="*/ 270134 w 1880530"/>
                <a:gd name="connsiteY27" fmla="*/ 229110 h 1694229"/>
                <a:gd name="connsiteX28" fmla="*/ 146784 w 1880530"/>
                <a:gd name="connsiteY28" fmla="*/ 258373 h 1694229"/>
                <a:gd name="connsiteX29" fmla="*/ 127734 w 1880530"/>
                <a:gd name="connsiteY29" fmla="*/ 344785 h 1694229"/>
                <a:gd name="connsiteX30" fmla="*/ 145174 w 1880530"/>
                <a:gd name="connsiteY30" fmla="*/ 411312 h 1694229"/>
                <a:gd name="connsiteX31" fmla="*/ 117735 w 1880530"/>
                <a:gd name="connsiteY31" fmla="*/ 446172 h 1694229"/>
                <a:gd name="connsiteX32" fmla="*/ 65347 w 1880530"/>
                <a:gd name="connsiteY32" fmla="*/ 474059 h 1694229"/>
                <a:gd name="connsiteX33" fmla="*/ 37246 w 1880530"/>
                <a:gd name="connsiteY33" fmla="*/ 482063 h 1694229"/>
                <a:gd name="connsiteX34" fmla="*/ 15281 w 1880530"/>
                <a:gd name="connsiteY34" fmla="*/ 520310 h 1694229"/>
                <a:gd name="connsiteX35" fmla="*/ 1469 w 1880530"/>
                <a:gd name="connsiteY35" fmla="*/ 632745 h 1694229"/>
                <a:gd name="connsiteX36" fmla="*/ 51178 w 1880530"/>
                <a:gd name="connsiteY36" fmla="*/ 685967 h 1694229"/>
                <a:gd name="connsiteX37" fmla="*/ 108092 w 1880530"/>
                <a:gd name="connsiteY37" fmla="*/ 681547 h 1694229"/>
                <a:gd name="connsiteX38" fmla="*/ 93804 w 1880530"/>
                <a:gd name="connsiteY38" fmla="*/ 751806 h 1694229"/>
                <a:gd name="connsiteX39" fmla="*/ 148631 w 1880530"/>
                <a:gd name="connsiteY39" fmla="*/ 782248 h 1694229"/>
                <a:gd name="connsiteX40" fmla="*/ 217629 w 1880530"/>
                <a:gd name="connsiteY40" fmla="*/ 792460 h 1694229"/>
                <a:gd name="connsiteX41" fmla="*/ 252932 w 1880530"/>
                <a:gd name="connsiteY41" fmla="*/ 848431 h 1694229"/>
                <a:gd name="connsiteX42" fmla="*/ 252339 w 1880530"/>
                <a:gd name="connsiteY42" fmla="*/ 893503 h 1694229"/>
                <a:gd name="connsiteX43" fmla="*/ 276863 w 1880530"/>
                <a:gd name="connsiteY43" fmla="*/ 932978 h 1694229"/>
                <a:gd name="connsiteX44" fmla="*/ 322521 w 1880530"/>
                <a:gd name="connsiteY44" fmla="*/ 971570 h 1694229"/>
                <a:gd name="connsiteX45" fmla="*/ 407654 w 1880530"/>
                <a:gd name="connsiteY45" fmla="*/ 1025822 h 1694229"/>
                <a:gd name="connsiteX46" fmla="*/ 443431 w 1880530"/>
                <a:gd name="connsiteY46" fmla="*/ 1096915 h 1694229"/>
                <a:gd name="connsiteX47" fmla="*/ 422534 w 1880530"/>
                <a:gd name="connsiteY47" fmla="*/ 1166488 h 1694229"/>
                <a:gd name="connsiteX48" fmla="*/ 500581 w 1880530"/>
                <a:gd name="connsiteY48" fmla="*/ 1222951 h 1694229"/>
                <a:gd name="connsiteX49" fmla="*/ 572613 w 1880530"/>
                <a:gd name="connsiteY49" fmla="*/ 1255945 h 1694229"/>
                <a:gd name="connsiteX50" fmla="*/ 553444 w 1880530"/>
                <a:gd name="connsiteY50" fmla="*/ 1315648 h 1694229"/>
                <a:gd name="connsiteX51" fmla="*/ 643931 w 1880530"/>
                <a:gd name="connsiteY51" fmla="*/ 1468048 h 1694229"/>
                <a:gd name="connsiteX52" fmla="*/ 736741 w 1880530"/>
                <a:gd name="connsiteY52" fmla="*/ 1541202 h 1694229"/>
                <a:gd name="connsiteX53" fmla="*/ 786806 w 1880530"/>
                <a:gd name="connsiteY53" fmla="*/ 1491860 h 1694229"/>
                <a:gd name="connsiteX54" fmla="*/ 851396 w 1880530"/>
                <a:gd name="connsiteY54" fmla="*/ 1519257 h 1694229"/>
                <a:gd name="connsiteX55" fmla="*/ 905869 w 1880530"/>
                <a:gd name="connsiteY55" fmla="*/ 1487098 h 1694229"/>
                <a:gd name="connsiteX56" fmla="*/ 922716 w 1880530"/>
                <a:gd name="connsiteY56" fmla="*/ 1444922 h 1694229"/>
                <a:gd name="connsiteX57" fmla="*/ 986593 w 1880530"/>
                <a:gd name="connsiteY57" fmla="*/ 1531334 h 1694229"/>
                <a:gd name="connsiteX58" fmla="*/ 1031660 w 1880530"/>
                <a:gd name="connsiteY58" fmla="*/ 1602428 h 1694229"/>
                <a:gd name="connsiteX59" fmla="*/ 1101606 w 1880530"/>
                <a:gd name="connsiteY59" fmla="*/ 1693947 h 1694229"/>
                <a:gd name="connsiteX60" fmla="*/ 1132504 w 1880530"/>
                <a:gd name="connsiteY60" fmla="*/ 1630856 h 1694229"/>
                <a:gd name="connsiteX61" fmla="*/ 1163163 w 1880530"/>
                <a:gd name="connsiteY61" fmla="*/ 1624376 h 1694229"/>
                <a:gd name="connsiteX62" fmla="*/ 1206262 w 1880530"/>
                <a:gd name="connsiteY62" fmla="*/ 1653639 h 1694229"/>
                <a:gd name="connsiteX63" fmla="*/ 1239837 w 1880530"/>
                <a:gd name="connsiteY63" fmla="*/ 1612985 h 1694229"/>
                <a:gd name="connsiteX64" fmla="*/ 1258658 w 1880530"/>
                <a:gd name="connsiteY64" fmla="*/ 1617602 h 1694229"/>
                <a:gd name="connsiteX65" fmla="*/ 1292700 w 1880530"/>
                <a:gd name="connsiteY65" fmla="*/ 1684079 h 1694229"/>
                <a:gd name="connsiteX66" fmla="*/ 1349256 w 1880530"/>
                <a:gd name="connsiteY66" fmla="*/ 1660610 h 1694229"/>
                <a:gd name="connsiteX67" fmla="*/ 1401288 w 1880530"/>
                <a:gd name="connsiteY67" fmla="*/ 1604489 h 1694229"/>
                <a:gd name="connsiteX68" fmla="*/ 1452065 w 1880530"/>
                <a:gd name="connsiteY68" fmla="*/ 1587946 h 1694229"/>
                <a:gd name="connsiteX69" fmla="*/ 1469744 w 1880530"/>
                <a:gd name="connsiteY69" fmla="*/ 1643768 h 1694229"/>
                <a:gd name="connsiteX70" fmla="*/ 1539639 w 1880530"/>
                <a:gd name="connsiteY70" fmla="*/ 1618090 h 1694229"/>
                <a:gd name="connsiteX71" fmla="*/ 1570417 w 1880530"/>
                <a:gd name="connsiteY71" fmla="*/ 1531334 h 1694229"/>
                <a:gd name="connsiteX72" fmla="*/ 1651853 w 1880530"/>
                <a:gd name="connsiteY72" fmla="*/ 1441192 h 1694229"/>
                <a:gd name="connsiteX73" fmla="*/ 1696444 w 1880530"/>
                <a:gd name="connsiteY73" fmla="*/ 1410062 h 1694229"/>
                <a:gd name="connsiteX74" fmla="*/ 1724813 w 1880530"/>
                <a:gd name="connsiteY74" fmla="*/ 1413357 h 1694229"/>
                <a:gd name="connsiteX75" fmla="*/ 1802405 w 1880530"/>
                <a:gd name="connsiteY75" fmla="*/ 1402749 h 1694229"/>
                <a:gd name="connsiteX76" fmla="*/ 1797524 w 1880530"/>
                <a:gd name="connsiteY76" fmla="*/ 1456313 h 1694229"/>
                <a:gd name="connsiteX77" fmla="*/ 1855691 w 1880530"/>
                <a:gd name="connsiteY77" fmla="*/ 1479634 h 1694229"/>
                <a:gd name="connsiteX78" fmla="*/ 1857299 w 1880530"/>
                <a:gd name="connsiteY78" fmla="*/ 1457000 h 1694229"/>
                <a:gd name="connsiteX79" fmla="*/ 1856521 w 1880530"/>
                <a:gd name="connsiteY79" fmla="*/ 1396266 h 1694229"/>
                <a:gd name="connsiteX80" fmla="*/ 1878487 w 1880530"/>
                <a:gd name="connsiteY80" fmla="*/ 1326546 h 1694229"/>
                <a:gd name="connsiteX81" fmla="*/ 1797946 w 1880530"/>
                <a:gd name="connsiteY81" fmla="*/ 1305140 h 1694229"/>
                <a:gd name="connsiteX82" fmla="*/ 1747763 w 1880530"/>
                <a:gd name="connsiteY82" fmla="*/ 1264979 h 1694229"/>
                <a:gd name="connsiteX83" fmla="*/ 1737459 w 1880530"/>
                <a:gd name="connsiteY83" fmla="*/ 1176356 h 1694229"/>
                <a:gd name="connsiteX84" fmla="*/ 1704241 w 1880530"/>
                <a:gd name="connsiteY84" fmla="*/ 1038783 h 1694229"/>
                <a:gd name="connsiteX85" fmla="*/ 1627446 w 1880530"/>
                <a:gd name="connsiteY85" fmla="*/ 972257 h 1694229"/>
                <a:gd name="connsiteX86" fmla="*/ 1594228 w 1880530"/>
                <a:gd name="connsiteY86" fmla="*/ 917660 h 1694229"/>
                <a:gd name="connsiteX87" fmla="*/ 1544162 w 1880530"/>
                <a:gd name="connsiteY87" fmla="*/ 872587 h 1694229"/>
                <a:gd name="connsiteX88" fmla="*/ 1472251 w 1880530"/>
                <a:gd name="connsiteY88" fmla="*/ 845878 h 1694229"/>
                <a:gd name="connsiteX89" fmla="*/ 1449150 w 1880530"/>
                <a:gd name="connsiteY89" fmla="*/ 823245 h 1694229"/>
                <a:gd name="connsiteX90" fmla="*/ 1477013 w 1880530"/>
                <a:gd name="connsiteY90" fmla="*/ 784801 h 1694229"/>
                <a:gd name="connsiteX91" fmla="*/ 1458319 w 1880530"/>
                <a:gd name="connsiteY91" fmla="*/ 748910 h 1694229"/>
                <a:gd name="connsiteX92" fmla="*/ 1463081 w 1880530"/>
                <a:gd name="connsiteY92" fmla="*/ 725098 h 1694229"/>
                <a:gd name="connsiteX93" fmla="*/ 1488076 w 1880530"/>
                <a:gd name="connsiteY93" fmla="*/ 724035 h 1694229"/>
                <a:gd name="connsiteX94" fmla="*/ 1580416 w 1880530"/>
                <a:gd name="connsiteY94" fmla="*/ 740220 h 1694229"/>
                <a:gd name="connsiteX95" fmla="*/ 1615719 w 1880530"/>
                <a:gd name="connsiteY95" fmla="*/ 683758 h 1694229"/>
                <a:gd name="connsiteX96" fmla="*/ 1603753 w 1880530"/>
                <a:gd name="connsiteY96" fmla="*/ 553648 h 1694229"/>
                <a:gd name="connsiteX97" fmla="*/ 1620956 w 1880530"/>
                <a:gd name="connsiteY97" fmla="*/ 405322 h 1694229"/>
                <a:gd name="connsiteX0" fmla="*/ 1620956 w 1881147"/>
                <a:gd name="connsiteY0" fmla="*/ 405322 h 1694229"/>
                <a:gd name="connsiteX1" fmla="*/ 1548806 w 1881147"/>
                <a:gd name="connsiteY1" fmla="*/ 372673 h 1694229"/>
                <a:gd name="connsiteX2" fmla="*/ 1458557 w 1881147"/>
                <a:gd name="connsiteY2" fmla="*/ 348860 h 1694229"/>
                <a:gd name="connsiteX3" fmla="*/ 1405237 w 1881147"/>
                <a:gd name="connsiteY3" fmla="*/ 271776 h 1694229"/>
                <a:gd name="connsiteX4" fmla="*/ 1382136 w 1881147"/>
                <a:gd name="connsiteY4" fmla="*/ 169931 h 1694229"/>
                <a:gd name="connsiteX5" fmla="*/ 1346239 w 1881147"/>
                <a:gd name="connsiteY5" fmla="*/ 1869 h 1694229"/>
                <a:gd name="connsiteX6" fmla="*/ 1278870 w 1881147"/>
                <a:gd name="connsiteY6" fmla="*/ 43567 h 1694229"/>
                <a:gd name="connsiteX7" fmla="*/ 1273302 w 1881147"/>
                <a:gd name="connsiteY7" fmla="*/ 101090 h 1694229"/>
                <a:gd name="connsiteX8" fmla="*/ 1257397 w 1881147"/>
                <a:gd name="connsiteY8" fmla="*/ 152303 h 1694229"/>
                <a:gd name="connsiteX9" fmla="*/ 1237872 w 1881147"/>
                <a:gd name="connsiteY9" fmla="*/ 204316 h 1694229"/>
                <a:gd name="connsiteX10" fmla="*/ 1236143 w 1881147"/>
                <a:gd name="connsiteY10" fmla="*/ 273739 h 1694229"/>
                <a:gd name="connsiteX11" fmla="*/ 1163162 w 1881147"/>
                <a:gd name="connsiteY11" fmla="*/ 283903 h 1694229"/>
                <a:gd name="connsiteX12" fmla="*/ 1098809 w 1881147"/>
                <a:gd name="connsiteY12" fmla="*/ 285917 h 1694229"/>
                <a:gd name="connsiteX13" fmla="*/ 1051208 w 1881147"/>
                <a:gd name="connsiteY13" fmla="*/ 346183 h 1694229"/>
                <a:gd name="connsiteX14" fmla="*/ 996593 w 1881147"/>
                <a:gd name="connsiteY14" fmla="*/ 371690 h 1694229"/>
                <a:gd name="connsiteX15" fmla="*/ 943969 w 1881147"/>
                <a:gd name="connsiteY15" fmla="*/ 358385 h 1694229"/>
                <a:gd name="connsiteX16" fmla="*/ 837229 w 1881147"/>
                <a:gd name="connsiteY16" fmla="*/ 376257 h 1694229"/>
                <a:gd name="connsiteX17" fmla="*/ 814246 w 1881147"/>
                <a:gd name="connsiteY17" fmla="*/ 440035 h 1694229"/>
                <a:gd name="connsiteX18" fmla="*/ 797163 w 1881147"/>
                <a:gd name="connsiteY18" fmla="*/ 475926 h 1694229"/>
                <a:gd name="connsiteX19" fmla="*/ 715132 w 1881147"/>
                <a:gd name="connsiteY19" fmla="*/ 494632 h 1694229"/>
                <a:gd name="connsiteX20" fmla="*/ 697320 w 1881147"/>
                <a:gd name="connsiteY20" fmla="*/ 440647 h 1694229"/>
                <a:gd name="connsiteX21" fmla="*/ 653456 w 1881147"/>
                <a:gd name="connsiteY21" fmla="*/ 420298 h 1694229"/>
                <a:gd name="connsiteX22" fmla="*/ 518140 w 1881147"/>
                <a:gd name="connsiteY22" fmla="*/ 420641 h 1694229"/>
                <a:gd name="connsiteX23" fmla="*/ 434263 w 1881147"/>
                <a:gd name="connsiteY23" fmla="*/ 447350 h 1694229"/>
                <a:gd name="connsiteX24" fmla="*/ 401044 w 1881147"/>
                <a:gd name="connsiteY24" fmla="*/ 420298 h 1694229"/>
                <a:gd name="connsiteX25" fmla="*/ 381994 w 1881147"/>
                <a:gd name="connsiteY25" fmla="*/ 358385 h 1694229"/>
                <a:gd name="connsiteX26" fmla="*/ 315319 w 1881147"/>
                <a:gd name="connsiteY26" fmla="*/ 305998 h 1694229"/>
                <a:gd name="connsiteX27" fmla="*/ 270134 w 1881147"/>
                <a:gd name="connsiteY27" fmla="*/ 229110 h 1694229"/>
                <a:gd name="connsiteX28" fmla="*/ 146784 w 1881147"/>
                <a:gd name="connsiteY28" fmla="*/ 258373 h 1694229"/>
                <a:gd name="connsiteX29" fmla="*/ 127734 w 1881147"/>
                <a:gd name="connsiteY29" fmla="*/ 344785 h 1694229"/>
                <a:gd name="connsiteX30" fmla="*/ 145174 w 1881147"/>
                <a:gd name="connsiteY30" fmla="*/ 411312 h 1694229"/>
                <a:gd name="connsiteX31" fmla="*/ 117735 w 1881147"/>
                <a:gd name="connsiteY31" fmla="*/ 446172 h 1694229"/>
                <a:gd name="connsiteX32" fmla="*/ 65347 w 1881147"/>
                <a:gd name="connsiteY32" fmla="*/ 474059 h 1694229"/>
                <a:gd name="connsiteX33" fmla="*/ 37246 w 1881147"/>
                <a:gd name="connsiteY33" fmla="*/ 482063 h 1694229"/>
                <a:gd name="connsiteX34" fmla="*/ 15281 w 1881147"/>
                <a:gd name="connsiteY34" fmla="*/ 520310 h 1694229"/>
                <a:gd name="connsiteX35" fmla="*/ 1469 w 1881147"/>
                <a:gd name="connsiteY35" fmla="*/ 632745 h 1694229"/>
                <a:gd name="connsiteX36" fmla="*/ 51178 w 1881147"/>
                <a:gd name="connsiteY36" fmla="*/ 685967 h 1694229"/>
                <a:gd name="connsiteX37" fmla="*/ 108092 w 1881147"/>
                <a:gd name="connsiteY37" fmla="*/ 681547 h 1694229"/>
                <a:gd name="connsiteX38" fmla="*/ 93804 w 1881147"/>
                <a:gd name="connsiteY38" fmla="*/ 751806 h 1694229"/>
                <a:gd name="connsiteX39" fmla="*/ 148631 w 1881147"/>
                <a:gd name="connsiteY39" fmla="*/ 782248 h 1694229"/>
                <a:gd name="connsiteX40" fmla="*/ 217629 w 1881147"/>
                <a:gd name="connsiteY40" fmla="*/ 792460 h 1694229"/>
                <a:gd name="connsiteX41" fmla="*/ 252932 w 1881147"/>
                <a:gd name="connsiteY41" fmla="*/ 848431 h 1694229"/>
                <a:gd name="connsiteX42" fmla="*/ 252339 w 1881147"/>
                <a:gd name="connsiteY42" fmla="*/ 893503 h 1694229"/>
                <a:gd name="connsiteX43" fmla="*/ 276863 w 1881147"/>
                <a:gd name="connsiteY43" fmla="*/ 932978 h 1694229"/>
                <a:gd name="connsiteX44" fmla="*/ 322521 w 1881147"/>
                <a:gd name="connsiteY44" fmla="*/ 971570 h 1694229"/>
                <a:gd name="connsiteX45" fmla="*/ 407654 w 1881147"/>
                <a:gd name="connsiteY45" fmla="*/ 1025822 h 1694229"/>
                <a:gd name="connsiteX46" fmla="*/ 443431 w 1881147"/>
                <a:gd name="connsiteY46" fmla="*/ 1096915 h 1694229"/>
                <a:gd name="connsiteX47" fmla="*/ 422534 w 1881147"/>
                <a:gd name="connsiteY47" fmla="*/ 1166488 h 1694229"/>
                <a:gd name="connsiteX48" fmla="*/ 500581 w 1881147"/>
                <a:gd name="connsiteY48" fmla="*/ 1222951 h 1694229"/>
                <a:gd name="connsiteX49" fmla="*/ 572613 w 1881147"/>
                <a:gd name="connsiteY49" fmla="*/ 1255945 h 1694229"/>
                <a:gd name="connsiteX50" fmla="*/ 553444 w 1881147"/>
                <a:gd name="connsiteY50" fmla="*/ 1315648 h 1694229"/>
                <a:gd name="connsiteX51" fmla="*/ 643931 w 1881147"/>
                <a:gd name="connsiteY51" fmla="*/ 1468048 h 1694229"/>
                <a:gd name="connsiteX52" fmla="*/ 736741 w 1881147"/>
                <a:gd name="connsiteY52" fmla="*/ 1541202 h 1694229"/>
                <a:gd name="connsiteX53" fmla="*/ 786806 w 1881147"/>
                <a:gd name="connsiteY53" fmla="*/ 1491860 h 1694229"/>
                <a:gd name="connsiteX54" fmla="*/ 851396 w 1881147"/>
                <a:gd name="connsiteY54" fmla="*/ 1519257 h 1694229"/>
                <a:gd name="connsiteX55" fmla="*/ 905869 w 1881147"/>
                <a:gd name="connsiteY55" fmla="*/ 1487098 h 1694229"/>
                <a:gd name="connsiteX56" fmla="*/ 922716 w 1881147"/>
                <a:gd name="connsiteY56" fmla="*/ 1444922 h 1694229"/>
                <a:gd name="connsiteX57" fmla="*/ 986593 w 1881147"/>
                <a:gd name="connsiteY57" fmla="*/ 1531334 h 1694229"/>
                <a:gd name="connsiteX58" fmla="*/ 1031660 w 1881147"/>
                <a:gd name="connsiteY58" fmla="*/ 1602428 h 1694229"/>
                <a:gd name="connsiteX59" fmla="*/ 1101606 w 1881147"/>
                <a:gd name="connsiteY59" fmla="*/ 1693947 h 1694229"/>
                <a:gd name="connsiteX60" fmla="*/ 1132504 w 1881147"/>
                <a:gd name="connsiteY60" fmla="*/ 1630856 h 1694229"/>
                <a:gd name="connsiteX61" fmla="*/ 1163163 w 1881147"/>
                <a:gd name="connsiteY61" fmla="*/ 1624376 h 1694229"/>
                <a:gd name="connsiteX62" fmla="*/ 1206262 w 1881147"/>
                <a:gd name="connsiteY62" fmla="*/ 1653639 h 1694229"/>
                <a:gd name="connsiteX63" fmla="*/ 1239837 w 1881147"/>
                <a:gd name="connsiteY63" fmla="*/ 1612985 h 1694229"/>
                <a:gd name="connsiteX64" fmla="*/ 1258658 w 1881147"/>
                <a:gd name="connsiteY64" fmla="*/ 1617602 h 1694229"/>
                <a:gd name="connsiteX65" fmla="*/ 1292700 w 1881147"/>
                <a:gd name="connsiteY65" fmla="*/ 1684079 h 1694229"/>
                <a:gd name="connsiteX66" fmla="*/ 1349256 w 1881147"/>
                <a:gd name="connsiteY66" fmla="*/ 1660610 h 1694229"/>
                <a:gd name="connsiteX67" fmla="*/ 1401288 w 1881147"/>
                <a:gd name="connsiteY67" fmla="*/ 1604489 h 1694229"/>
                <a:gd name="connsiteX68" fmla="*/ 1452065 w 1881147"/>
                <a:gd name="connsiteY68" fmla="*/ 1587946 h 1694229"/>
                <a:gd name="connsiteX69" fmla="*/ 1469744 w 1881147"/>
                <a:gd name="connsiteY69" fmla="*/ 1643768 h 1694229"/>
                <a:gd name="connsiteX70" fmla="*/ 1539639 w 1881147"/>
                <a:gd name="connsiteY70" fmla="*/ 1618090 h 1694229"/>
                <a:gd name="connsiteX71" fmla="*/ 1570417 w 1881147"/>
                <a:gd name="connsiteY71" fmla="*/ 1531334 h 1694229"/>
                <a:gd name="connsiteX72" fmla="*/ 1651853 w 1881147"/>
                <a:gd name="connsiteY72" fmla="*/ 1441192 h 1694229"/>
                <a:gd name="connsiteX73" fmla="*/ 1696444 w 1881147"/>
                <a:gd name="connsiteY73" fmla="*/ 1410062 h 1694229"/>
                <a:gd name="connsiteX74" fmla="*/ 1724813 w 1881147"/>
                <a:gd name="connsiteY74" fmla="*/ 1413357 h 1694229"/>
                <a:gd name="connsiteX75" fmla="*/ 1802405 w 1881147"/>
                <a:gd name="connsiteY75" fmla="*/ 1402749 h 1694229"/>
                <a:gd name="connsiteX76" fmla="*/ 1797524 w 1881147"/>
                <a:gd name="connsiteY76" fmla="*/ 1456313 h 1694229"/>
                <a:gd name="connsiteX77" fmla="*/ 1855691 w 1881147"/>
                <a:gd name="connsiteY77" fmla="*/ 1479634 h 1694229"/>
                <a:gd name="connsiteX78" fmla="*/ 1857299 w 1881147"/>
                <a:gd name="connsiteY78" fmla="*/ 1457000 h 1694229"/>
                <a:gd name="connsiteX79" fmla="*/ 1861403 w 1881147"/>
                <a:gd name="connsiteY79" fmla="*/ 1401373 h 1694229"/>
                <a:gd name="connsiteX80" fmla="*/ 1878487 w 1881147"/>
                <a:gd name="connsiteY80" fmla="*/ 1326546 h 1694229"/>
                <a:gd name="connsiteX81" fmla="*/ 1797946 w 1881147"/>
                <a:gd name="connsiteY81" fmla="*/ 1305140 h 1694229"/>
                <a:gd name="connsiteX82" fmla="*/ 1747763 w 1881147"/>
                <a:gd name="connsiteY82" fmla="*/ 1264979 h 1694229"/>
                <a:gd name="connsiteX83" fmla="*/ 1737459 w 1881147"/>
                <a:gd name="connsiteY83" fmla="*/ 1176356 h 1694229"/>
                <a:gd name="connsiteX84" fmla="*/ 1704241 w 1881147"/>
                <a:gd name="connsiteY84" fmla="*/ 1038783 h 1694229"/>
                <a:gd name="connsiteX85" fmla="*/ 1627446 w 1881147"/>
                <a:gd name="connsiteY85" fmla="*/ 972257 h 1694229"/>
                <a:gd name="connsiteX86" fmla="*/ 1594228 w 1881147"/>
                <a:gd name="connsiteY86" fmla="*/ 917660 h 1694229"/>
                <a:gd name="connsiteX87" fmla="*/ 1544162 w 1881147"/>
                <a:gd name="connsiteY87" fmla="*/ 872587 h 1694229"/>
                <a:gd name="connsiteX88" fmla="*/ 1472251 w 1881147"/>
                <a:gd name="connsiteY88" fmla="*/ 845878 h 1694229"/>
                <a:gd name="connsiteX89" fmla="*/ 1449150 w 1881147"/>
                <a:gd name="connsiteY89" fmla="*/ 823245 h 1694229"/>
                <a:gd name="connsiteX90" fmla="*/ 1477013 w 1881147"/>
                <a:gd name="connsiteY90" fmla="*/ 784801 h 1694229"/>
                <a:gd name="connsiteX91" fmla="*/ 1458319 w 1881147"/>
                <a:gd name="connsiteY91" fmla="*/ 748910 h 1694229"/>
                <a:gd name="connsiteX92" fmla="*/ 1463081 w 1881147"/>
                <a:gd name="connsiteY92" fmla="*/ 725098 h 1694229"/>
                <a:gd name="connsiteX93" fmla="*/ 1488076 w 1881147"/>
                <a:gd name="connsiteY93" fmla="*/ 724035 h 1694229"/>
                <a:gd name="connsiteX94" fmla="*/ 1580416 w 1881147"/>
                <a:gd name="connsiteY94" fmla="*/ 740220 h 1694229"/>
                <a:gd name="connsiteX95" fmla="*/ 1615719 w 1881147"/>
                <a:gd name="connsiteY95" fmla="*/ 683758 h 1694229"/>
                <a:gd name="connsiteX96" fmla="*/ 1603753 w 1881147"/>
                <a:gd name="connsiteY96" fmla="*/ 553648 h 1694229"/>
                <a:gd name="connsiteX97" fmla="*/ 1620956 w 1881147"/>
                <a:gd name="connsiteY97" fmla="*/ 405322 h 1694229"/>
                <a:gd name="connsiteX0" fmla="*/ 1620956 w 1868187"/>
                <a:gd name="connsiteY0" fmla="*/ 405322 h 1694229"/>
                <a:gd name="connsiteX1" fmla="*/ 1548806 w 1868187"/>
                <a:gd name="connsiteY1" fmla="*/ 372673 h 1694229"/>
                <a:gd name="connsiteX2" fmla="*/ 1458557 w 1868187"/>
                <a:gd name="connsiteY2" fmla="*/ 348860 h 1694229"/>
                <a:gd name="connsiteX3" fmla="*/ 1405237 w 1868187"/>
                <a:gd name="connsiteY3" fmla="*/ 271776 h 1694229"/>
                <a:gd name="connsiteX4" fmla="*/ 1382136 w 1868187"/>
                <a:gd name="connsiteY4" fmla="*/ 169931 h 1694229"/>
                <a:gd name="connsiteX5" fmla="*/ 1346239 w 1868187"/>
                <a:gd name="connsiteY5" fmla="*/ 1869 h 1694229"/>
                <a:gd name="connsiteX6" fmla="*/ 1278870 w 1868187"/>
                <a:gd name="connsiteY6" fmla="*/ 43567 h 1694229"/>
                <a:gd name="connsiteX7" fmla="*/ 1273302 w 1868187"/>
                <a:gd name="connsiteY7" fmla="*/ 101090 h 1694229"/>
                <a:gd name="connsiteX8" fmla="*/ 1257397 w 1868187"/>
                <a:gd name="connsiteY8" fmla="*/ 152303 h 1694229"/>
                <a:gd name="connsiteX9" fmla="*/ 1237872 w 1868187"/>
                <a:gd name="connsiteY9" fmla="*/ 204316 h 1694229"/>
                <a:gd name="connsiteX10" fmla="*/ 1236143 w 1868187"/>
                <a:gd name="connsiteY10" fmla="*/ 273739 h 1694229"/>
                <a:gd name="connsiteX11" fmla="*/ 1163162 w 1868187"/>
                <a:gd name="connsiteY11" fmla="*/ 283903 h 1694229"/>
                <a:gd name="connsiteX12" fmla="*/ 1098809 w 1868187"/>
                <a:gd name="connsiteY12" fmla="*/ 285917 h 1694229"/>
                <a:gd name="connsiteX13" fmla="*/ 1051208 w 1868187"/>
                <a:gd name="connsiteY13" fmla="*/ 346183 h 1694229"/>
                <a:gd name="connsiteX14" fmla="*/ 996593 w 1868187"/>
                <a:gd name="connsiteY14" fmla="*/ 371690 h 1694229"/>
                <a:gd name="connsiteX15" fmla="*/ 943969 w 1868187"/>
                <a:gd name="connsiteY15" fmla="*/ 358385 h 1694229"/>
                <a:gd name="connsiteX16" fmla="*/ 837229 w 1868187"/>
                <a:gd name="connsiteY16" fmla="*/ 376257 h 1694229"/>
                <a:gd name="connsiteX17" fmla="*/ 814246 w 1868187"/>
                <a:gd name="connsiteY17" fmla="*/ 440035 h 1694229"/>
                <a:gd name="connsiteX18" fmla="*/ 797163 w 1868187"/>
                <a:gd name="connsiteY18" fmla="*/ 475926 h 1694229"/>
                <a:gd name="connsiteX19" fmla="*/ 715132 w 1868187"/>
                <a:gd name="connsiteY19" fmla="*/ 494632 h 1694229"/>
                <a:gd name="connsiteX20" fmla="*/ 697320 w 1868187"/>
                <a:gd name="connsiteY20" fmla="*/ 440647 h 1694229"/>
                <a:gd name="connsiteX21" fmla="*/ 653456 w 1868187"/>
                <a:gd name="connsiteY21" fmla="*/ 420298 h 1694229"/>
                <a:gd name="connsiteX22" fmla="*/ 518140 w 1868187"/>
                <a:gd name="connsiteY22" fmla="*/ 420641 h 1694229"/>
                <a:gd name="connsiteX23" fmla="*/ 434263 w 1868187"/>
                <a:gd name="connsiteY23" fmla="*/ 447350 h 1694229"/>
                <a:gd name="connsiteX24" fmla="*/ 401044 w 1868187"/>
                <a:gd name="connsiteY24" fmla="*/ 420298 h 1694229"/>
                <a:gd name="connsiteX25" fmla="*/ 381994 w 1868187"/>
                <a:gd name="connsiteY25" fmla="*/ 358385 h 1694229"/>
                <a:gd name="connsiteX26" fmla="*/ 315319 w 1868187"/>
                <a:gd name="connsiteY26" fmla="*/ 305998 h 1694229"/>
                <a:gd name="connsiteX27" fmla="*/ 270134 w 1868187"/>
                <a:gd name="connsiteY27" fmla="*/ 229110 h 1694229"/>
                <a:gd name="connsiteX28" fmla="*/ 146784 w 1868187"/>
                <a:gd name="connsiteY28" fmla="*/ 258373 h 1694229"/>
                <a:gd name="connsiteX29" fmla="*/ 127734 w 1868187"/>
                <a:gd name="connsiteY29" fmla="*/ 344785 h 1694229"/>
                <a:gd name="connsiteX30" fmla="*/ 145174 w 1868187"/>
                <a:gd name="connsiteY30" fmla="*/ 411312 h 1694229"/>
                <a:gd name="connsiteX31" fmla="*/ 117735 w 1868187"/>
                <a:gd name="connsiteY31" fmla="*/ 446172 h 1694229"/>
                <a:gd name="connsiteX32" fmla="*/ 65347 w 1868187"/>
                <a:gd name="connsiteY32" fmla="*/ 474059 h 1694229"/>
                <a:gd name="connsiteX33" fmla="*/ 37246 w 1868187"/>
                <a:gd name="connsiteY33" fmla="*/ 482063 h 1694229"/>
                <a:gd name="connsiteX34" fmla="*/ 15281 w 1868187"/>
                <a:gd name="connsiteY34" fmla="*/ 520310 h 1694229"/>
                <a:gd name="connsiteX35" fmla="*/ 1469 w 1868187"/>
                <a:gd name="connsiteY35" fmla="*/ 632745 h 1694229"/>
                <a:gd name="connsiteX36" fmla="*/ 51178 w 1868187"/>
                <a:gd name="connsiteY36" fmla="*/ 685967 h 1694229"/>
                <a:gd name="connsiteX37" fmla="*/ 108092 w 1868187"/>
                <a:gd name="connsiteY37" fmla="*/ 681547 h 1694229"/>
                <a:gd name="connsiteX38" fmla="*/ 93804 w 1868187"/>
                <a:gd name="connsiteY38" fmla="*/ 751806 h 1694229"/>
                <a:gd name="connsiteX39" fmla="*/ 148631 w 1868187"/>
                <a:gd name="connsiteY39" fmla="*/ 782248 h 1694229"/>
                <a:gd name="connsiteX40" fmla="*/ 217629 w 1868187"/>
                <a:gd name="connsiteY40" fmla="*/ 792460 h 1694229"/>
                <a:gd name="connsiteX41" fmla="*/ 252932 w 1868187"/>
                <a:gd name="connsiteY41" fmla="*/ 848431 h 1694229"/>
                <a:gd name="connsiteX42" fmla="*/ 252339 w 1868187"/>
                <a:gd name="connsiteY42" fmla="*/ 893503 h 1694229"/>
                <a:gd name="connsiteX43" fmla="*/ 276863 w 1868187"/>
                <a:gd name="connsiteY43" fmla="*/ 932978 h 1694229"/>
                <a:gd name="connsiteX44" fmla="*/ 322521 w 1868187"/>
                <a:gd name="connsiteY44" fmla="*/ 971570 h 1694229"/>
                <a:gd name="connsiteX45" fmla="*/ 407654 w 1868187"/>
                <a:gd name="connsiteY45" fmla="*/ 1025822 h 1694229"/>
                <a:gd name="connsiteX46" fmla="*/ 443431 w 1868187"/>
                <a:gd name="connsiteY46" fmla="*/ 1096915 h 1694229"/>
                <a:gd name="connsiteX47" fmla="*/ 422534 w 1868187"/>
                <a:gd name="connsiteY47" fmla="*/ 1166488 h 1694229"/>
                <a:gd name="connsiteX48" fmla="*/ 500581 w 1868187"/>
                <a:gd name="connsiteY48" fmla="*/ 1222951 h 1694229"/>
                <a:gd name="connsiteX49" fmla="*/ 572613 w 1868187"/>
                <a:gd name="connsiteY49" fmla="*/ 1255945 h 1694229"/>
                <a:gd name="connsiteX50" fmla="*/ 553444 w 1868187"/>
                <a:gd name="connsiteY50" fmla="*/ 1315648 h 1694229"/>
                <a:gd name="connsiteX51" fmla="*/ 643931 w 1868187"/>
                <a:gd name="connsiteY51" fmla="*/ 1468048 h 1694229"/>
                <a:gd name="connsiteX52" fmla="*/ 736741 w 1868187"/>
                <a:gd name="connsiteY52" fmla="*/ 1541202 h 1694229"/>
                <a:gd name="connsiteX53" fmla="*/ 786806 w 1868187"/>
                <a:gd name="connsiteY53" fmla="*/ 1491860 h 1694229"/>
                <a:gd name="connsiteX54" fmla="*/ 851396 w 1868187"/>
                <a:gd name="connsiteY54" fmla="*/ 1519257 h 1694229"/>
                <a:gd name="connsiteX55" fmla="*/ 905869 w 1868187"/>
                <a:gd name="connsiteY55" fmla="*/ 1487098 h 1694229"/>
                <a:gd name="connsiteX56" fmla="*/ 922716 w 1868187"/>
                <a:gd name="connsiteY56" fmla="*/ 1444922 h 1694229"/>
                <a:gd name="connsiteX57" fmla="*/ 986593 w 1868187"/>
                <a:gd name="connsiteY57" fmla="*/ 1531334 h 1694229"/>
                <a:gd name="connsiteX58" fmla="*/ 1031660 w 1868187"/>
                <a:gd name="connsiteY58" fmla="*/ 1602428 h 1694229"/>
                <a:gd name="connsiteX59" fmla="*/ 1101606 w 1868187"/>
                <a:gd name="connsiteY59" fmla="*/ 1693947 h 1694229"/>
                <a:gd name="connsiteX60" fmla="*/ 1132504 w 1868187"/>
                <a:gd name="connsiteY60" fmla="*/ 1630856 h 1694229"/>
                <a:gd name="connsiteX61" fmla="*/ 1163163 w 1868187"/>
                <a:gd name="connsiteY61" fmla="*/ 1624376 h 1694229"/>
                <a:gd name="connsiteX62" fmla="*/ 1206262 w 1868187"/>
                <a:gd name="connsiteY62" fmla="*/ 1653639 h 1694229"/>
                <a:gd name="connsiteX63" fmla="*/ 1239837 w 1868187"/>
                <a:gd name="connsiteY63" fmla="*/ 1612985 h 1694229"/>
                <a:gd name="connsiteX64" fmla="*/ 1258658 w 1868187"/>
                <a:gd name="connsiteY64" fmla="*/ 1617602 h 1694229"/>
                <a:gd name="connsiteX65" fmla="*/ 1292700 w 1868187"/>
                <a:gd name="connsiteY65" fmla="*/ 1684079 h 1694229"/>
                <a:gd name="connsiteX66" fmla="*/ 1349256 w 1868187"/>
                <a:gd name="connsiteY66" fmla="*/ 1660610 h 1694229"/>
                <a:gd name="connsiteX67" fmla="*/ 1401288 w 1868187"/>
                <a:gd name="connsiteY67" fmla="*/ 1604489 h 1694229"/>
                <a:gd name="connsiteX68" fmla="*/ 1452065 w 1868187"/>
                <a:gd name="connsiteY68" fmla="*/ 1587946 h 1694229"/>
                <a:gd name="connsiteX69" fmla="*/ 1469744 w 1868187"/>
                <a:gd name="connsiteY69" fmla="*/ 1643768 h 1694229"/>
                <a:gd name="connsiteX70" fmla="*/ 1539639 w 1868187"/>
                <a:gd name="connsiteY70" fmla="*/ 1618090 h 1694229"/>
                <a:gd name="connsiteX71" fmla="*/ 1570417 w 1868187"/>
                <a:gd name="connsiteY71" fmla="*/ 1531334 h 1694229"/>
                <a:gd name="connsiteX72" fmla="*/ 1651853 w 1868187"/>
                <a:gd name="connsiteY72" fmla="*/ 1441192 h 1694229"/>
                <a:gd name="connsiteX73" fmla="*/ 1696444 w 1868187"/>
                <a:gd name="connsiteY73" fmla="*/ 1410062 h 1694229"/>
                <a:gd name="connsiteX74" fmla="*/ 1724813 w 1868187"/>
                <a:gd name="connsiteY74" fmla="*/ 1413357 h 1694229"/>
                <a:gd name="connsiteX75" fmla="*/ 1802405 w 1868187"/>
                <a:gd name="connsiteY75" fmla="*/ 1402749 h 1694229"/>
                <a:gd name="connsiteX76" fmla="*/ 1797524 w 1868187"/>
                <a:gd name="connsiteY76" fmla="*/ 1456313 h 1694229"/>
                <a:gd name="connsiteX77" fmla="*/ 1855691 w 1868187"/>
                <a:gd name="connsiteY77" fmla="*/ 1479634 h 1694229"/>
                <a:gd name="connsiteX78" fmla="*/ 1857299 w 1868187"/>
                <a:gd name="connsiteY78" fmla="*/ 1457000 h 1694229"/>
                <a:gd name="connsiteX79" fmla="*/ 1861403 w 1868187"/>
                <a:gd name="connsiteY79" fmla="*/ 1401373 h 1694229"/>
                <a:gd name="connsiteX80" fmla="*/ 1863844 w 1868187"/>
                <a:gd name="connsiteY80" fmla="*/ 1326546 h 1694229"/>
                <a:gd name="connsiteX81" fmla="*/ 1797946 w 1868187"/>
                <a:gd name="connsiteY81" fmla="*/ 1305140 h 1694229"/>
                <a:gd name="connsiteX82" fmla="*/ 1747763 w 1868187"/>
                <a:gd name="connsiteY82" fmla="*/ 1264979 h 1694229"/>
                <a:gd name="connsiteX83" fmla="*/ 1737459 w 1868187"/>
                <a:gd name="connsiteY83" fmla="*/ 1176356 h 1694229"/>
                <a:gd name="connsiteX84" fmla="*/ 1704241 w 1868187"/>
                <a:gd name="connsiteY84" fmla="*/ 1038783 h 1694229"/>
                <a:gd name="connsiteX85" fmla="*/ 1627446 w 1868187"/>
                <a:gd name="connsiteY85" fmla="*/ 972257 h 1694229"/>
                <a:gd name="connsiteX86" fmla="*/ 1594228 w 1868187"/>
                <a:gd name="connsiteY86" fmla="*/ 917660 h 1694229"/>
                <a:gd name="connsiteX87" fmla="*/ 1544162 w 1868187"/>
                <a:gd name="connsiteY87" fmla="*/ 872587 h 1694229"/>
                <a:gd name="connsiteX88" fmla="*/ 1472251 w 1868187"/>
                <a:gd name="connsiteY88" fmla="*/ 845878 h 1694229"/>
                <a:gd name="connsiteX89" fmla="*/ 1449150 w 1868187"/>
                <a:gd name="connsiteY89" fmla="*/ 823245 h 1694229"/>
                <a:gd name="connsiteX90" fmla="*/ 1477013 w 1868187"/>
                <a:gd name="connsiteY90" fmla="*/ 784801 h 1694229"/>
                <a:gd name="connsiteX91" fmla="*/ 1458319 w 1868187"/>
                <a:gd name="connsiteY91" fmla="*/ 748910 h 1694229"/>
                <a:gd name="connsiteX92" fmla="*/ 1463081 w 1868187"/>
                <a:gd name="connsiteY92" fmla="*/ 725098 h 1694229"/>
                <a:gd name="connsiteX93" fmla="*/ 1488076 w 1868187"/>
                <a:gd name="connsiteY93" fmla="*/ 724035 h 1694229"/>
                <a:gd name="connsiteX94" fmla="*/ 1580416 w 1868187"/>
                <a:gd name="connsiteY94" fmla="*/ 740220 h 1694229"/>
                <a:gd name="connsiteX95" fmla="*/ 1615719 w 1868187"/>
                <a:gd name="connsiteY95" fmla="*/ 683758 h 1694229"/>
                <a:gd name="connsiteX96" fmla="*/ 1603753 w 1868187"/>
                <a:gd name="connsiteY96" fmla="*/ 553648 h 1694229"/>
                <a:gd name="connsiteX97" fmla="*/ 1620956 w 1868187"/>
                <a:gd name="connsiteY97" fmla="*/ 405322 h 1694229"/>
                <a:gd name="connsiteX0" fmla="*/ 1620956 w 1872005"/>
                <a:gd name="connsiteY0" fmla="*/ 405322 h 1694229"/>
                <a:gd name="connsiteX1" fmla="*/ 1548806 w 1872005"/>
                <a:gd name="connsiteY1" fmla="*/ 372673 h 1694229"/>
                <a:gd name="connsiteX2" fmla="*/ 1458557 w 1872005"/>
                <a:gd name="connsiteY2" fmla="*/ 348860 h 1694229"/>
                <a:gd name="connsiteX3" fmla="*/ 1405237 w 1872005"/>
                <a:gd name="connsiteY3" fmla="*/ 271776 h 1694229"/>
                <a:gd name="connsiteX4" fmla="*/ 1382136 w 1872005"/>
                <a:gd name="connsiteY4" fmla="*/ 169931 h 1694229"/>
                <a:gd name="connsiteX5" fmla="*/ 1346239 w 1872005"/>
                <a:gd name="connsiteY5" fmla="*/ 1869 h 1694229"/>
                <a:gd name="connsiteX6" fmla="*/ 1278870 w 1872005"/>
                <a:gd name="connsiteY6" fmla="*/ 43567 h 1694229"/>
                <a:gd name="connsiteX7" fmla="*/ 1273302 w 1872005"/>
                <a:gd name="connsiteY7" fmla="*/ 101090 h 1694229"/>
                <a:gd name="connsiteX8" fmla="*/ 1257397 w 1872005"/>
                <a:gd name="connsiteY8" fmla="*/ 152303 h 1694229"/>
                <a:gd name="connsiteX9" fmla="*/ 1237872 w 1872005"/>
                <a:gd name="connsiteY9" fmla="*/ 204316 h 1694229"/>
                <a:gd name="connsiteX10" fmla="*/ 1236143 w 1872005"/>
                <a:gd name="connsiteY10" fmla="*/ 273739 h 1694229"/>
                <a:gd name="connsiteX11" fmla="*/ 1163162 w 1872005"/>
                <a:gd name="connsiteY11" fmla="*/ 283903 h 1694229"/>
                <a:gd name="connsiteX12" fmla="*/ 1098809 w 1872005"/>
                <a:gd name="connsiteY12" fmla="*/ 285917 h 1694229"/>
                <a:gd name="connsiteX13" fmla="*/ 1051208 w 1872005"/>
                <a:gd name="connsiteY13" fmla="*/ 346183 h 1694229"/>
                <a:gd name="connsiteX14" fmla="*/ 996593 w 1872005"/>
                <a:gd name="connsiteY14" fmla="*/ 371690 h 1694229"/>
                <a:gd name="connsiteX15" fmla="*/ 943969 w 1872005"/>
                <a:gd name="connsiteY15" fmla="*/ 358385 h 1694229"/>
                <a:gd name="connsiteX16" fmla="*/ 837229 w 1872005"/>
                <a:gd name="connsiteY16" fmla="*/ 376257 h 1694229"/>
                <a:gd name="connsiteX17" fmla="*/ 814246 w 1872005"/>
                <a:gd name="connsiteY17" fmla="*/ 440035 h 1694229"/>
                <a:gd name="connsiteX18" fmla="*/ 797163 w 1872005"/>
                <a:gd name="connsiteY18" fmla="*/ 475926 h 1694229"/>
                <a:gd name="connsiteX19" fmla="*/ 715132 w 1872005"/>
                <a:gd name="connsiteY19" fmla="*/ 494632 h 1694229"/>
                <a:gd name="connsiteX20" fmla="*/ 697320 w 1872005"/>
                <a:gd name="connsiteY20" fmla="*/ 440647 h 1694229"/>
                <a:gd name="connsiteX21" fmla="*/ 653456 w 1872005"/>
                <a:gd name="connsiteY21" fmla="*/ 420298 h 1694229"/>
                <a:gd name="connsiteX22" fmla="*/ 518140 w 1872005"/>
                <a:gd name="connsiteY22" fmla="*/ 420641 h 1694229"/>
                <a:gd name="connsiteX23" fmla="*/ 434263 w 1872005"/>
                <a:gd name="connsiteY23" fmla="*/ 447350 h 1694229"/>
                <a:gd name="connsiteX24" fmla="*/ 401044 w 1872005"/>
                <a:gd name="connsiteY24" fmla="*/ 420298 h 1694229"/>
                <a:gd name="connsiteX25" fmla="*/ 381994 w 1872005"/>
                <a:gd name="connsiteY25" fmla="*/ 358385 h 1694229"/>
                <a:gd name="connsiteX26" fmla="*/ 315319 w 1872005"/>
                <a:gd name="connsiteY26" fmla="*/ 305998 h 1694229"/>
                <a:gd name="connsiteX27" fmla="*/ 270134 w 1872005"/>
                <a:gd name="connsiteY27" fmla="*/ 229110 h 1694229"/>
                <a:gd name="connsiteX28" fmla="*/ 146784 w 1872005"/>
                <a:gd name="connsiteY28" fmla="*/ 258373 h 1694229"/>
                <a:gd name="connsiteX29" fmla="*/ 127734 w 1872005"/>
                <a:gd name="connsiteY29" fmla="*/ 344785 h 1694229"/>
                <a:gd name="connsiteX30" fmla="*/ 145174 w 1872005"/>
                <a:gd name="connsiteY30" fmla="*/ 411312 h 1694229"/>
                <a:gd name="connsiteX31" fmla="*/ 117735 w 1872005"/>
                <a:gd name="connsiteY31" fmla="*/ 446172 h 1694229"/>
                <a:gd name="connsiteX32" fmla="*/ 65347 w 1872005"/>
                <a:gd name="connsiteY32" fmla="*/ 474059 h 1694229"/>
                <a:gd name="connsiteX33" fmla="*/ 37246 w 1872005"/>
                <a:gd name="connsiteY33" fmla="*/ 482063 h 1694229"/>
                <a:gd name="connsiteX34" fmla="*/ 15281 w 1872005"/>
                <a:gd name="connsiteY34" fmla="*/ 520310 h 1694229"/>
                <a:gd name="connsiteX35" fmla="*/ 1469 w 1872005"/>
                <a:gd name="connsiteY35" fmla="*/ 632745 h 1694229"/>
                <a:gd name="connsiteX36" fmla="*/ 51178 w 1872005"/>
                <a:gd name="connsiteY36" fmla="*/ 685967 h 1694229"/>
                <a:gd name="connsiteX37" fmla="*/ 108092 w 1872005"/>
                <a:gd name="connsiteY37" fmla="*/ 681547 h 1694229"/>
                <a:gd name="connsiteX38" fmla="*/ 93804 w 1872005"/>
                <a:gd name="connsiteY38" fmla="*/ 751806 h 1694229"/>
                <a:gd name="connsiteX39" fmla="*/ 148631 w 1872005"/>
                <a:gd name="connsiteY39" fmla="*/ 782248 h 1694229"/>
                <a:gd name="connsiteX40" fmla="*/ 217629 w 1872005"/>
                <a:gd name="connsiteY40" fmla="*/ 792460 h 1694229"/>
                <a:gd name="connsiteX41" fmla="*/ 252932 w 1872005"/>
                <a:gd name="connsiteY41" fmla="*/ 848431 h 1694229"/>
                <a:gd name="connsiteX42" fmla="*/ 252339 w 1872005"/>
                <a:gd name="connsiteY42" fmla="*/ 893503 h 1694229"/>
                <a:gd name="connsiteX43" fmla="*/ 276863 w 1872005"/>
                <a:gd name="connsiteY43" fmla="*/ 932978 h 1694229"/>
                <a:gd name="connsiteX44" fmla="*/ 322521 w 1872005"/>
                <a:gd name="connsiteY44" fmla="*/ 971570 h 1694229"/>
                <a:gd name="connsiteX45" fmla="*/ 407654 w 1872005"/>
                <a:gd name="connsiteY45" fmla="*/ 1025822 h 1694229"/>
                <a:gd name="connsiteX46" fmla="*/ 443431 w 1872005"/>
                <a:gd name="connsiteY46" fmla="*/ 1096915 h 1694229"/>
                <a:gd name="connsiteX47" fmla="*/ 422534 w 1872005"/>
                <a:gd name="connsiteY47" fmla="*/ 1166488 h 1694229"/>
                <a:gd name="connsiteX48" fmla="*/ 500581 w 1872005"/>
                <a:gd name="connsiteY48" fmla="*/ 1222951 h 1694229"/>
                <a:gd name="connsiteX49" fmla="*/ 572613 w 1872005"/>
                <a:gd name="connsiteY49" fmla="*/ 1255945 h 1694229"/>
                <a:gd name="connsiteX50" fmla="*/ 553444 w 1872005"/>
                <a:gd name="connsiteY50" fmla="*/ 1315648 h 1694229"/>
                <a:gd name="connsiteX51" fmla="*/ 643931 w 1872005"/>
                <a:gd name="connsiteY51" fmla="*/ 1468048 h 1694229"/>
                <a:gd name="connsiteX52" fmla="*/ 736741 w 1872005"/>
                <a:gd name="connsiteY52" fmla="*/ 1541202 h 1694229"/>
                <a:gd name="connsiteX53" fmla="*/ 786806 w 1872005"/>
                <a:gd name="connsiteY53" fmla="*/ 1491860 h 1694229"/>
                <a:gd name="connsiteX54" fmla="*/ 851396 w 1872005"/>
                <a:gd name="connsiteY54" fmla="*/ 1519257 h 1694229"/>
                <a:gd name="connsiteX55" fmla="*/ 905869 w 1872005"/>
                <a:gd name="connsiteY55" fmla="*/ 1487098 h 1694229"/>
                <a:gd name="connsiteX56" fmla="*/ 922716 w 1872005"/>
                <a:gd name="connsiteY56" fmla="*/ 1444922 h 1694229"/>
                <a:gd name="connsiteX57" fmla="*/ 986593 w 1872005"/>
                <a:gd name="connsiteY57" fmla="*/ 1531334 h 1694229"/>
                <a:gd name="connsiteX58" fmla="*/ 1031660 w 1872005"/>
                <a:gd name="connsiteY58" fmla="*/ 1602428 h 1694229"/>
                <a:gd name="connsiteX59" fmla="*/ 1101606 w 1872005"/>
                <a:gd name="connsiteY59" fmla="*/ 1693947 h 1694229"/>
                <a:gd name="connsiteX60" fmla="*/ 1132504 w 1872005"/>
                <a:gd name="connsiteY60" fmla="*/ 1630856 h 1694229"/>
                <a:gd name="connsiteX61" fmla="*/ 1163163 w 1872005"/>
                <a:gd name="connsiteY61" fmla="*/ 1624376 h 1694229"/>
                <a:gd name="connsiteX62" fmla="*/ 1206262 w 1872005"/>
                <a:gd name="connsiteY62" fmla="*/ 1653639 h 1694229"/>
                <a:gd name="connsiteX63" fmla="*/ 1239837 w 1872005"/>
                <a:gd name="connsiteY63" fmla="*/ 1612985 h 1694229"/>
                <a:gd name="connsiteX64" fmla="*/ 1258658 w 1872005"/>
                <a:gd name="connsiteY64" fmla="*/ 1617602 h 1694229"/>
                <a:gd name="connsiteX65" fmla="*/ 1292700 w 1872005"/>
                <a:gd name="connsiteY65" fmla="*/ 1684079 h 1694229"/>
                <a:gd name="connsiteX66" fmla="*/ 1349256 w 1872005"/>
                <a:gd name="connsiteY66" fmla="*/ 1660610 h 1694229"/>
                <a:gd name="connsiteX67" fmla="*/ 1401288 w 1872005"/>
                <a:gd name="connsiteY67" fmla="*/ 1604489 h 1694229"/>
                <a:gd name="connsiteX68" fmla="*/ 1452065 w 1872005"/>
                <a:gd name="connsiteY68" fmla="*/ 1587946 h 1694229"/>
                <a:gd name="connsiteX69" fmla="*/ 1469744 w 1872005"/>
                <a:gd name="connsiteY69" fmla="*/ 1643768 h 1694229"/>
                <a:gd name="connsiteX70" fmla="*/ 1539639 w 1872005"/>
                <a:gd name="connsiteY70" fmla="*/ 1618090 h 1694229"/>
                <a:gd name="connsiteX71" fmla="*/ 1570417 w 1872005"/>
                <a:gd name="connsiteY71" fmla="*/ 1531334 h 1694229"/>
                <a:gd name="connsiteX72" fmla="*/ 1651853 w 1872005"/>
                <a:gd name="connsiteY72" fmla="*/ 1441192 h 1694229"/>
                <a:gd name="connsiteX73" fmla="*/ 1696444 w 1872005"/>
                <a:gd name="connsiteY73" fmla="*/ 1410062 h 1694229"/>
                <a:gd name="connsiteX74" fmla="*/ 1724813 w 1872005"/>
                <a:gd name="connsiteY74" fmla="*/ 1413357 h 1694229"/>
                <a:gd name="connsiteX75" fmla="*/ 1802405 w 1872005"/>
                <a:gd name="connsiteY75" fmla="*/ 1402749 h 1694229"/>
                <a:gd name="connsiteX76" fmla="*/ 1797524 w 1872005"/>
                <a:gd name="connsiteY76" fmla="*/ 1456313 h 1694229"/>
                <a:gd name="connsiteX77" fmla="*/ 1855691 w 1872005"/>
                <a:gd name="connsiteY77" fmla="*/ 1479634 h 1694229"/>
                <a:gd name="connsiteX78" fmla="*/ 1871943 w 1872005"/>
                <a:gd name="connsiteY78" fmla="*/ 1454448 h 1694229"/>
                <a:gd name="connsiteX79" fmla="*/ 1861403 w 1872005"/>
                <a:gd name="connsiteY79" fmla="*/ 1401373 h 1694229"/>
                <a:gd name="connsiteX80" fmla="*/ 1863844 w 1872005"/>
                <a:gd name="connsiteY80" fmla="*/ 1326546 h 1694229"/>
                <a:gd name="connsiteX81" fmla="*/ 1797946 w 1872005"/>
                <a:gd name="connsiteY81" fmla="*/ 1305140 h 1694229"/>
                <a:gd name="connsiteX82" fmla="*/ 1747763 w 1872005"/>
                <a:gd name="connsiteY82" fmla="*/ 1264979 h 1694229"/>
                <a:gd name="connsiteX83" fmla="*/ 1737459 w 1872005"/>
                <a:gd name="connsiteY83" fmla="*/ 1176356 h 1694229"/>
                <a:gd name="connsiteX84" fmla="*/ 1704241 w 1872005"/>
                <a:gd name="connsiteY84" fmla="*/ 1038783 h 1694229"/>
                <a:gd name="connsiteX85" fmla="*/ 1627446 w 1872005"/>
                <a:gd name="connsiteY85" fmla="*/ 972257 h 1694229"/>
                <a:gd name="connsiteX86" fmla="*/ 1594228 w 1872005"/>
                <a:gd name="connsiteY86" fmla="*/ 917660 h 1694229"/>
                <a:gd name="connsiteX87" fmla="*/ 1544162 w 1872005"/>
                <a:gd name="connsiteY87" fmla="*/ 872587 h 1694229"/>
                <a:gd name="connsiteX88" fmla="*/ 1472251 w 1872005"/>
                <a:gd name="connsiteY88" fmla="*/ 845878 h 1694229"/>
                <a:gd name="connsiteX89" fmla="*/ 1449150 w 1872005"/>
                <a:gd name="connsiteY89" fmla="*/ 823245 h 1694229"/>
                <a:gd name="connsiteX90" fmla="*/ 1477013 w 1872005"/>
                <a:gd name="connsiteY90" fmla="*/ 784801 h 1694229"/>
                <a:gd name="connsiteX91" fmla="*/ 1458319 w 1872005"/>
                <a:gd name="connsiteY91" fmla="*/ 748910 h 1694229"/>
                <a:gd name="connsiteX92" fmla="*/ 1463081 w 1872005"/>
                <a:gd name="connsiteY92" fmla="*/ 725098 h 1694229"/>
                <a:gd name="connsiteX93" fmla="*/ 1488076 w 1872005"/>
                <a:gd name="connsiteY93" fmla="*/ 724035 h 1694229"/>
                <a:gd name="connsiteX94" fmla="*/ 1580416 w 1872005"/>
                <a:gd name="connsiteY94" fmla="*/ 740220 h 1694229"/>
                <a:gd name="connsiteX95" fmla="*/ 1615719 w 1872005"/>
                <a:gd name="connsiteY95" fmla="*/ 683758 h 1694229"/>
                <a:gd name="connsiteX96" fmla="*/ 1603753 w 1872005"/>
                <a:gd name="connsiteY96" fmla="*/ 553648 h 1694229"/>
                <a:gd name="connsiteX97" fmla="*/ 1620956 w 1872005"/>
                <a:gd name="connsiteY97" fmla="*/ 405322 h 1694229"/>
                <a:gd name="connsiteX0" fmla="*/ 1620956 w 1888788"/>
                <a:gd name="connsiteY0" fmla="*/ 405322 h 1694229"/>
                <a:gd name="connsiteX1" fmla="*/ 1548806 w 1888788"/>
                <a:gd name="connsiteY1" fmla="*/ 372673 h 1694229"/>
                <a:gd name="connsiteX2" fmla="*/ 1458557 w 1888788"/>
                <a:gd name="connsiteY2" fmla="*/ 348860 h 1694229"/>
                <a:gd name="connsiteX3" fmla="*/ 1405237 w 1888788"/>
                <a:gd name="connsiteY3" fmla="*/ 271776 h 1694229"/>
                <a:gd name="connsiteX4" fmla="*/ 1382136 w 1888788"/>
                <a:gd name="connsiteY4" fmla="*/ 169931 h 1694229"/>
                <a:gd name="connsiteX5" fmla="*/ 1346239 w 1888788"/>
                <a:gd name="connsiteY5" fmla="*/ 1869 h 1694229"/>
                <a:gd name="connsiteX6" fmla="*/ 1278870 w 1888788"/>
                <a:gd name="connsiteY6" fmla="*/ 43567 h 1694229"/>
                <a:gd name="connsiteX7" fmla="*/ 1273302 w 1888788"/>
                <a:gd name="connsiteY7" fmla="*/ 101090 h 1694229"/>
                <a:gd name="connsiteX8" fmla="*/ 1257397 w 1888788"/>
                <a:gd name="connsiteY8" fmla="*/ 152303 h 1694229"/>
                <a:gd name="connsiteX9" fmla="*/ 1237872 w 1888788"/>
                <a:gd name="connsiteY9" fmla="*/ 204316 h 1694229"/>
                <a:gd name="connsiteX10" fmla="*/ 1236143 w 1888788"/>
                <a:gd name="connsiteY10" fmla="*/ 273739 h 1694229"/>
                <a:gd name="connsiteX11" fmla="*/ 1163162 w 1888788"/>
                <a:gd name="connsiteY11" fmla="*/ 283903 h 1694229"/>
                <a:gd name="connsiteX12" fmla="*/ 1098809 w 1888788"/>
                <a:gd name="connsiteY12" fmla="*/ 285917 h 1694229"/>
                <a:gd name="connsiteX13" fmla="*/ 1051208 w 1888788"/>
                <a:gd name="connsiteY13" fmla="*/ 346183 h 1694229"/>
                <a:gd name="connsiteX14" fmla="*/ 996593 w 1888788"/>
                <a:gd name="connsiteY14" fmla="*/ 371690 h 1694229"/>
                <a:gd name="connsiteX15" fmla="*/ 943969 w 1888788"/>
                <a:gd name="connsiteY15" fmla="*/ 358385 h 1694229"/>
                <a:gd name="connsiteX16" fmla="*/ 837229 w 1888788"/>
                <a:gd name="connsiteY16" fmla="*/ 376257 h 1694229"/>
                <a:gd name="connsiteX17" fmla="*/ 814246 w 1888788"/>
                <a:gd name="connsiteY17" fmla="*/ 440035 h 1694229"/>
                <a:gd name="connsiteX18" fmla="*/ 797163 w 1888788"/>
                <a:gd name="connsiteY18" fmla="*/ 475926 h 1694229"/>
                <a:gd name="connsiteX19" fmla="*/ 715132 w 1888788"/>
                <a:gd name="connsiteY19" fmla="*/ 494632 h 1694229"/>
                <a:gd name="connsiteX20" fmla="*/ 697320 w 1888788"/>
                <a:gd name="connsiteY20" fmla="*/ 440647 h 1694229"/>
                <a:gd name="connsiteX21" fmla="*/ 653456 w 1888788"/>
                <a:gd name="connsiteY21" fmla="*/ 420298 h 1694229"/>
                <a:gd name="connsiteX22" fmla="*/ 518140 w 1888788"/>
                <a:gd name="connsiteY22" fmla="*/ 420641 h 1694229"/>
                <a:gd name="connsiteX23" fmla="*/ 434263 w 1888788"/>
                <a:gd name="connsiteY23" fmla="*/ 447350 h 1694229"/>
                <a:gd name="connsiteX24" fmla="*/ 401044 w 1888788"/>
                <a:gd name="connsiteY24" fmla="*/ 420298 h 1694229"/>
                <a:gd name="connsiteX25" fmla="*/ 381994 w 1888788"/>
                <a:gd name="connsiteY25" fmla="*/ 358385 h 1694229"/>
                <a:gd name="connsiteX26" fmla="*/ 315319 w 1888788"/>
                <a:gd name="connsiteY26" fmla="*/ 305998 h 1694229"/>
                <a:gd name="connsiteX27" fmla="*/ 270134 w 1888788"/>
                <a:gd name="connsiteY27" fmla="*/ 229110 h 1694229"/>
                <a:gd name="connsiteX28" fmla="*/ 146784 w 1888788"/>
                <a:gd name="connsiteY28" fmla="*/ 258373 h 1694229"/>
                <a:gd name="connsiteX29" fmla="*/ 127734 w 1888788"/>
                <a:gd name="connsiteY29" fmla="*/ 344785 h 1694229"/>
                <a:gd name="connsiteX30" fmla="*/ 145174 w 1888788"/>
                <a:gd name="connsiteY30" fmla="*/ 411312 h 1694229"/>
                <a:gd name="connsiteX31" fmla="*/ 117735 w 1888788"/>
                <a:gd name="connsiteY31" fmla="*/ 446172 h 1694229"/>
                <a:gd name="connsiteX32" fmla="*/ 65347 w 1888788"/>
                <a:gd name="connsiteY32" fmla="*/ 474059 h 1694229"/>
                <a:gd name="connsiteX33" fmla="*/ 37246 w 1888788"/>
                <a:gd name="connsiteY33" fmla="*/ 482063 h 1694229"/>
                <a:gd name="connsiteX34" fmla="*/ 15281 w 1888788"/>
                <a:gd name="connsiteY34" fmla="*/ 520310 h 1694229"/>
                <a:gd name="connsiteX35" fmla="*/ 1469 w 1888788"/>
                <a:gd name="connsiteY35" fmla="*/ 632745 h 1694229"/>
                <a:gd name="connsiteX36" fmla="*/ 51178 w 1888788"/>
                <a:gd name="connsiteY36" fmla="*/ 685967 h 1694229"/>
                <a:gd name="connsiteX37" fmla="*/ 108092 w 1888788"/>
                <a:gd name="connsiteY37" fmla="*/ 681547 h 1694229"/>
                <a:gd name="connsiteX38" fmla="*/ 93804 w 1888788"/>
                <a:gd name="connsiteY38" fmla="*/ 751806 h 1694229"/>
                <a:gd name="connsiteX39" fmla="*/ 148631 w 1888788"/>
                <a:gd name="connsiteY39" fmla="*/ 782248 h 1694229"/>
                <a:gd name="connsiteX40" fmla="*/ 217629 w 1888788"/>
                <a:gd name="connsiteY40" fmla="*/ 792460 h 1694229"/>
                <a:gd name="connsiteX41" fmla="*/ 252932 w 1888788"/>
                <a:gd name="connsiteY41" fmla="*/ 848431 h 1694229"/>
                <a:gd name="connsiteX42" fmla="*/ 252339 w 1888788"/>
                <a:gd name="connsiteY42" fmla="*/ 893503 h 1694229"/>
                <a:gd name="connsiteX43" fmla="*/ 276863 w 1888788"/>
                <a:gd name="connsiteY43" fmla="*/ 932978 h 1694229"/>
                <a:gd name="connsiteX44" fmla="*/ 322521 w 1888788"/>
                <a:gd name="connsiteY44" fmla="*/ 971570 h 1694229"/>
                <a:gd name="connsiteX45" fmla="*/ 407654 w 1888788"/>
                <a:gd name="connsiteY45" fmla="*/ 1025822 h 1694229"/>
                <a:gd name="connsiteX46" fmla="*/ 443431 w 1888788"/>
                <a:gd name="connsiteY46" fmla="*/ 1096915 h 1694229"/>
                <a:gd name="connsiteX47" fmla="*/ 422534 w 1888788"/>
                <a:gd name="connsiteY47" fmla="*/ 1166488 h 1694229"/>
                <a:gd name="connsiteX48" fmla="*/ 500581 w 1888788"/>
                <a:gd name="connsiteY48" fmla="*/ 1222951 h 1694229"/>
                <a:gd name="connsiteX49" fmla="*/ 572613 w 1888788"/>
                <a:gd name="connsiteY49" fmla="*/ 1255945 h 1694229"/>
                <a:gd name="connsiteX50" fmla="*/ 553444 w 1888788"/>
                <a:gd name="connsiteY50" fmla="*/ 1315648 h 1694229"/>
                <a:gd name="connsiteX51" fmla="*/ 643931 w 1888788"/>
                <a:gd name="connsiteY51" fmla="*/ 1468048 h 1694229"/>
                <a:gd name="connsiteX52" fmla="*/ 736741 w 1888788"/>
                <a:gd name="connsiteY52" fmla="*/ 1541202 h 1694229"/>
                <a:gd name="connsiteX53" fmla="*/ 786806 w 1888788"/>
                <a:gd name="connsiteY53" fmla="*/ 1491860 h 1694229"/>
                <a:gd name="connsiteX54" fmla="*/ 851396 w 1888788"/>
                <a:gd name="connsiteY54" fmla="*/ 1519257 h 1694229"/>
                <a:gd name="connsiteX55" fmla="*/ 905869 w 1888788"/>
                <a:gd name="connsiteY55" fmla="*/ 1487098 h 1694229"/>
                <a:gd name="connsiteX56" fmla="*/ 922716 w 1888788"/>
                <a:gd name="connsiteY56" fmla="*/ 1444922 h 1694229"/>
                <a:gd name="connsiteX57" fmla="*/ 986593 w 1888788"/>
                <a:gd name="connsiteY57" fmla="*/ 1531334 h 1694229"/>
                <a:gd name="connsiteX58" fmla="*/ 1031660 w 1888788"/>
                <a:gd name="connsiteY58" fmla="*/ 1602428 h 1694229"/>
                <a:gd name="connsiteX59" fmla="*/ 1101606 w 1888788"/>
                <a:gd name="connsiteY59" fmla="*/ 1693947 h 1694229"/>
                <a:gd name="connsiteX60" fmla="*/ 1132504 w 1888788"/>
                <a:gd name="connsiteY60" fmla="*/ 1630856 h 1694229"/>
                <a:gd name="connsiteX61" fmla="*/ 1163163 w 1888788"/>
                <a:gd name="connsiteY61" fmla="*/ 1624376 h 1694229"/>
                <a:gd name="connsiteX62" fmla="*/ 1206262 w 1888788"/>
                <a:gd name="connsiteY62" fmla="*/ 1653639 h 1694229"/>
                <a:gd name="connsiteX63" fmla="*/ 1239837 w 1888788"/>
                <a:gd name="connsiteY63" fmla="*/ 1612985 h 1694229"/>
                <a:gd name="connsiteX64" fmla="*/ 1258658 w 1888788"/>
                <a:gd name="connsiteY64" fmla="*/ 1617602 h 1694229"/>
                <a:gd name="connsiteX65" fmla="*/ 1292700 w 1888788"/>
                <a:gd name="connsiteY65" fmla="*/ 1684079 h 1694229"/>
                <a:gd name="connsiteX66" fmla="*/ 1349256 w 1888788"/>
                <a:gd name="connsiteY66" fmla="*/ 1660610 h 1694229"/>
                <a:gd name="connsiteX67" fmla="*/ 1401288 w 1888788"/>
                <a:gd name="connsiteY67" fmla="*/ 1604489 h 1694229"/>
                <a:gd name="connsiteX68" fmla="*/ 1452065 w 1888788"/>
                <a:gd name="connsiteY68" fmla="*/ 1587946 h 1694229"/>
                <a:gd name="connsiteX69" fmla="*/ 1469744 w 1888788"/>
                <a:gd name="connsiteY69" fmla="*/ 1643768 h 1694229"/>
                <a:gd name="connsiteX70" fmla="*/ 1539639 w 1888788"/>
                <a:gd name="connsiteY70" fmla="*/ 1618090 h 1694229"/>
                <a:gd name="connsiteX71" fmla="*/ 1570417 w 1888788"/>
                <a:gd name="connsiteY71" fmla="*/ 1531334 h 1694229"/>
                <a:gd name="connsiteX72" fmla="*/ 1651853 w 1888788"/>
                <a:gd name="connsiteY72" fmla="*/ 1441192 h 1694229"/>
                <a:gd name="connsiteX73" fmla="*/ 1696444 w 1888788"/>
                <a:gd name="connsiteY73" fmla="*/ 1410062 h 1694229"/>
                <a:gd name="connsiteX74" fmla="*/ 1724813 w 1888788"/>
                <a:gd name="connsiteY74" fmla="*/ 1413357 h 1694229"/>
                <a:gd name="connsiteX75" fmla="*/ 1802405 w 1888788"/>
                <a:gd name="connsiteY75" fmla="*/ 1402749 h 1694229"/>
                <a:gd name="connsiteX76" fmla="*/ 1797524 w 1888788"/>
                <a:gd name="connsiteY76" fmla="*/ 1456313 h 1694229"/>
                <a:gd name="connsiteX77" fmla="*/ 1884978 w 1888788"/>
                <a:gd name="connsiteY77" fmla="*/ 1492399 h 1694229"/>
                <a:gd name="connsiteX78" fmla="*/ 1871943 w 1888788"/>
                <a:gd name="connsiteY78" fmla="*/ 1454448 h 1694229"/>
                <a:gd name="connsiteX79" fmla="*/ 1861403 w 1888788"/>
                <a:gd name="connsiteY79" fmla="*/ 1401373 h 1694229"/>
                <a:gd name="connsiteX80" fmla="*/ 1863844 w 1888788"/>
                <a:gd name="connsiteY80" fmla="*/ 1326546 h 1694229"/>
                <a:gd name="connsiteX81" fmla="*/ 1797946 w 1888788"/>
                <a:gd name="connsiteY81" fmla="*/ 1305140 h 1694229"/>
                <a:gd name="connsiteX82" fmla="*/ 1747763 w 1888788"/>
                <a:gd name="connsiteY82" fmla="*/ 1264979 h 1694229"/>
                <a:gd name="connsiteX83" fmla="*/ 1737459 w 1888788"/>
                <a:gd name="connsiteY83" fmla="*/ 1176356 h 1694229"/>
                <a:gd name="connsiteX84" fmla="*/ 1704241 w 1888788"/>
                <a:gd name="connsiteY84" fmla="*/ 1038783 h 1694229"/>
                <a:gd name="connsiteX85" fmla="*/ 1627446 w 1888788"/>
                <a:gd name="connsiteY85" fmla="*/ 972257 h 1694229"/>
                <a:gd name="connsiteX86" fmla="*/ 1594228 w 1888788"/>
                <a:gd name="connsiteY86" fmla="*/ 917660 h 1694229"/>
                <a:gd name="connsiteX87" fmla="*/ 1544162 w 1888788"/>
                <a:gd name="connsiteY87" fmla="*/ 872587 h 1694229"/>
                <a:gd name="connsiteX88" fmla="*/ 1472251 w 1888788"/>
                <a:gd name="connsiteY88" fmla="*/ 845878 h 1694229"/>
                <a:gd name="connsiteX89" fmla="*/ 1449150 w 1888788"/>
                <a:gd name="connsiteY89" fmla="*/ 823245 h 1694229"/>
                <a:gd name="connsiteX90" fmla="*/ 1477013 w 1888788"/>
                <a:gd name="connsiteY90" fmla="*/ 784801 h 1694229"/>
                <a:gd name="connsiteX91" fmla="*/ 1458319 w 1888788"/>
                <a:gd name="connsiteY91" fmla="*/ 748910 h 1694229"/>
                <a:gd name="connsiteX92" fmla="*/ 1463081 w 1888788"/>
                <a:gd name="connsiteY92" fmla="*/ 725098 h 1694229"/>
                <a:gd name="connsiteX93" fmla="*/ 1488076 w 1888788"/>
                <a:gd name="connsiteY93" fmla="*/ 724035 h 1694229"/>
                <a:gd name="connsiteX94" fmla="*/ 1580416 w 1888788"/>
                <a:gd name="connsiteY94" fmla="*/ 740220 h 1694229"/>
                <a:gd name="connsiteX95" fmla="*/ 1615719 w 1888788"/>
                <a:gd name="connsiteY95" fmla="*/ 683758 h 1694229"/>
                <a:gd name="connsiteX96" fmla="*/ 1603753 w 1888788"/>
                <a:gd name="connsiteY96" fmla="*/ 553648 h 1694229"/>
                <a:gd name="connsiteX97" fmla="*/ 1620956 w 1888788"/>
                <a:gd name="connsiteY97" fmla="*/ 405322 h 1694229"/>
                <a:gd name="connsiteX0" fmla="*/ 1620956 w 1888788"/>
                <a:gd name="connsiteY0" fmla="*/ 405322 h 1694229"/>
                <a:gd name="connsiteX1" fmla="*/ 1548806 w 1888788"/>
                <a:gd name="connsiteY1" fmla="*/ 372673 h 1694229"/>
                <a:gd name="connsiteX2" fmla="*/ 1458557 w 1888788"/>
                <a:gd name="connsiteY2" fmla="*/ 348860 h 1694229"/>
                <a:gd name="connsiteX3" fmla="*/ 1405237 w 1888788"/>
                <a:gd name="connsiteY3" fmla="*/ 271776 h 1694229"/>
                <a:gd name="connsiteX4" fmla="*/ 1382136 w 1888788"/>
                <a:gd name="connsiteY4" fmla="*/ 169931 h 1694229"/>
                <a:gd name="connsiteX5" fmla="*/ 1346239 w 1888788"/>
                <a:gd name="connsiteY5" fmla="*/ 1869 h 1694229"/>
                <a:gd name="connsiteX6" fmla="*/ 1278870 w 1888788"/>
                <a:gd name="connsiteY6" fmla="*/ 43567 h 1694229"/>
                <a:gd name="connsiteX7" fmla="*/ 1273302 w 1888788"/>
                <a:gd name="connsiteY7" fmla="*/ 101090 h 1694229"/>
                <a:gd name="connsiteX8" fmla="*/ 1257397 w 1888788"/>
                <a:gd name="connsiteY8" fmla="*/ 152303 h 1694229"/>
                <a:gd name="connsiteX9" fmla="*/ 1237872 w 1888788"/>
                <a:gd name="connsiteY9" fmla="*/ 204316 h 1694229"/>
                <a:gd name="connsiteX10" fmla="*/ 1236143 w 1888788"/>
                <a:gd name="connsiteY10" fmla="*/ 273739 h 1694229"/>
                <a:gd name="connsiteX11" fmla="*/ 1163162 w 1888788"/>
                <a:gd name="connsiteY11" fmla="*/ 283903 h 1694229"/>
                <a:gd name="connsiteX12" fmla="*/ 1098809 w 1888788"/>
                <a:gd name="connsiteY12" fmla="*/ 285917 h 1694229"/>
                <a:gd name="connsiteX13" fmla="*/ 1051208 w 1888788"/>
                <a:gd name="connsiteY13" fmla="*/ 346183 h 1694229"/>
                <a:gd name="connsiteX14" fmla="*/ 996593 w 1888788"/>
                <a:gd name="connsiteY14" fmla="*/ 371690 h 1694229"/>
                <a:gd name="connsiteX15" fmla="*/ 943969 w 1888788"/>
                <a:gd name="connsiteY15" fmla="*/ 358385 h 1694229"/>
                <a:gd name="connsiteX16" fmla="*/ 837229 w 1888788"/>
                <a:gd name="connsiteY16" fmla="*/ 376257 h 1694229"/>
                <a:gd name="connsiteX17" fmla="*/ 814246 w 1888788"/>
                <a:gd name="connsiteY17" fmla="*/ 440035 h 1694229"/>
                <a:gd name="connsiteX18" fmla="*/ 797163 w 1888788"/>
                <a:gd name="connsiteY18" fmla="*/ 475926 h 1694229"/>
                <a:gd name="connsiteX19" fmla="*/ 715132 w 1888788"/>
                <a:gd name="connsiteY19" fmla="*/ 494632 h 1694229"/>
                <a:gd name="connsiteX20" fmla="*/ 697320 w 1888788"/>
                <a:gd name="connsiteY20" fmla="*/ 440647 h 1694229"/>
                <a:gd name="connsiteX21" fmla="*/ 653456 w 1888788"/>
                <a:gd name="connsiteY21" fmla="*/ 420298 h 1694229"/>
                <a:gd name="connsiteX22" fmla="*/ 518140 w 1888788"/>
                <a:gd name="connsiteY22" fmla="*/ 420641 h 1694229"/>
                <a:gd name="connsiteX23" fmla="*/ 434263 w 1888788"/>
                <a:gd name="connsiteY23" fmla="*/ 447350 h 1694229"/>
                <a:gd name="connsiteX24" fmla="*/ 401044 w 1888788"/>
                <a:gd name="connsiteY24" fmla="*/ 420298 h 1694229"/>
                <a:gd name="connsiteX25" fmla="*/ 381994 w 1888788"/>
                <a:gd name="connsiteY25" fmla="*/ 358385 h 1694229"/>
                <a:gd name="connsiteX26" fmla="*/ 315319 w 1888788"/>
                <a:gd name="connsiteY26" fmla="*/ 305998 h 1694229"/>
                <a:gd name="connsiteX27" fmla="*/ 270134 w 1888788"/>
                <a:gd name="connsiteY27" fmla="*/ 229110 h 1694229"/>
                <a:gd name="connsiteX28" fmla="*/ 146784 w 1888788"/>
                <a:gd name="connsiteY28" fmla="*/ 258373 h 1694229"/>
                <a:gd name="connsiteX29" fmla="*/ 127734 w 1888788"/>
                <a:gd name="connsiteY29" fmla="*/ 344785 h 1694229"/>
                <a:gd name="connsiteX30" fmla="*/ 145174 w 1888788"/>
                <a:gd name="connsiteY30" fmla="*/ 411312 h 1694229"/>
                <a:gd name="connsiteX31" fmla="*/ 117735 w 1888788"/>
                <a:gd name="connsiteY31" fmla="*/ 446172 h 1694229"/>
                <a:gd name="connsiteX32" fmla="*/ 65347 w 1888788"/>
                <a:gd name="connsiteY32" fmla="*/ 474059 h 1694229"/>
                <a:gd name="connsiteX33" fmla="*/ 37246 w 1888788"/>
                <a:gd name="connsiteY33" fmla="*/ 482063 h 1694229"/>
                <a:gd name="connsiteX34" fmla="*/ 15281 w 1888788"/>
                <a:gd name="connsiteY34" fmla="*/ 520310 h 1694229"/>
                <a:gd name="connsiteX35" fmla="*/ 1469 w 1888788"/>
                <a:gd name="connsiteY35" fmla="*/ 632745 h 1694229"/>
                <a:gd name="connsiteX36" fmla="*/ 51178 w 1888788"/>
                <a:gd name="connsiteY36" fmla="*/ 685967 h 1694229"/>
                <a:gd name="connsiteX37" fmla="*/ 108092 w 1888788"/>
                <a:gd name="connsiteY37" fmla="*/ 681547 h 1694229"/>
                <a:gd name="connsiteX38" fmla="*/ 93804 w 1888788"/>
                <a:gd name="connsiteY38" fmla="*/ 751806 h 1694229"/>
                <a:gd name="connsiteX39" fmla="*/ 148631 w 1888788"/>
                <a:gd name="connsiteY39" fmla="*/ 782248 h 1694229"/>
                <a:gd name="connsiteX40" fmla="*/ 217629 w 1888788"/>
                <a:gd name="connsiteY40" fmla="*/ 792460 h 1694229"/>
                <a:gd name="connsiteX41" fmla="*/ 252932 w 1888788"/>
                <a:gd name="connsiteY41" fmla="*/ 848431 h 1694229"/>
                <a:gd name="connsiteX42" fmla="*/ 252339 w 1888788"/>
                <a:gd name="connsiteY42" fmla="*/ 893503 h 1694229"/>
                <a:gd name="connsiteX43" fmla="*/ 276863 w 1888788"/>
                <a:gd name="connsiteY43" fmla="*/ 932978 h 1694229"/>
                <a:gd name="connsiteX44" fmla="*/ 322521 w 1888788"/>
                <a:gd name="connsiteY44" fmla="*/ 971570 h 1694229"/>
                <a:gd name="connsiteX45" fmla="*/ 407654 w 1888788"/>
                <a:gd name="connsiteY45" fmla="*/ 1025822 h 1694229"/>
                <a:gd name="connsiteX46" fmla="*/ 443431 w 1888788"/>
                <a:gd name="connsiteY46" fmla="*/ 1096915 h 1694229"/>
                <a:gd name="connsiteX47" fmla="*/ 422534 w 1888788"/>
                <a:gd name="connsiteY47" fmla="*/ 1166488 h 1694229"/>
                <a:gd name="connsiteX48" fmla="*/ 500581 w 1888788"/>
                <a:gd name="connsiteY48" fmla="*/ 1222951 h 1694229"/>
                <a:gd name="connsiteX49" fmla="*/ 572613 w 1888788"/>
                <a:gd name="connsiteY49" fmla="*/ 1255945 h 1694229"/>
                <a:gd name="connsiteX50" fmla="*/ 553444 w 1888788"/>
                <a:gd name="connsiteY50" fmla="*/ 1315648 h 1694229"/>
                <a:gd name="connsiteX51" fmla="*/ 643931 w 1888788"/>
                <a:gd name="connsiteY51" fmla="*/ 1468048 h 1694229"/>
                <a:gd name="connsiteX52" fmla="*/ 736741 w 1888788"/>
                <a:gd name="connsiteY52" fmla="*/ 1541202 h 1694229"/>
                <a:gd name="connsiteX53" fmla="*/ 786806 w 1888788"/>
                <a:gd name="connsiteY53" fmla="*/ 1491860 h 1694229"/>
                <a:gd name="connsiteX54" fmla="*/ 851396 w 1888788"/>
                <a:gd name="connsiteY54" fmla="*/ 1519257 h 1694229"/>
                <a:gd name="connsiteX55" fmla="*/ 905869 w 1888788"/>
                <a:gd name="connsiteY55" fmla="*/ 1487098 h 1694229"/>
                <a:gd name="connsiteX56" fmla="*/ 922716 w 1888788"/>
                <a:gd name="connsiteY56" fmla="*/ 1444922 h 1694229"/>
                <a:gd name="connsiteX57" fmla="*/ 986593 w 1888788"/>
                <a:gd name="connsiteY57" fmla="*/ 1531334 h 1694229"/>
                <a:gd name="connsiteX58" fmla="*/ 1031660 w 1888788"/>
                <a:gd name="connsiteY58" fmla="*/ 1602428 h 1694229"/>
                <a:gd name="connsiteX59" fmla="*/ 1101606 w 1888788"/>
                <a:gd name="connsiteY59" fmla="*/ 1693947 h 1694229"/>
                <a:gd name="connsiteX60" fmla="*/ 1132504 w 1888788"/>
                <a:gd name="connsiteY60" fmla="*/ 1630856 h 1694229"/>
                <a:gd name="connsiteX61" fmla="*/ 1163163 w 1888788"/>
                <a:gd name="connsiteY61" fmla="*/ 1624376 h 1694229"/>
                <a:gd name="connsiteX62" fmla="*/ 1206262 w 1888788"/>
                <a:gd name="connsiteY62" fmla="*/ 1653639 h 1694229"/>
                <a:gd name="connsiteX63" fmla="*/ 1239837 w 1888788"/>
                <a:gd name="connsiteY63" fmla="*/ 1612985 h 1694229"/>
                <a:gd name="connsiteX64" fmla="*/ 1258658 w 1888788"/>
                <a:gd name="connsiteY64" fmla="*/ 1617602 h 1694229"/>
                <a:gd name="connsiteX65" fmla="*/ 1292700 w 1888788"/>
                <a:gd name="connsiteY65" fmla="*/ 1684079 h 1694229"/>
                <a:gd name="connsiteX66" fmla="*/ 1349256 w 1888788"/>
                <a:gd name="connsiteY66" fmla="*/ 1660610 h 1694229"/>
                <a:gd name="connsiteX67" fmla="*/ 1401288 w 1888788"/>
                <a:gd name="connsiteY67" fmla="*/ 1604489 h 1694229"/>
                <a:gd name="connsiteX68" fmla="*/ 1452065 w 1888788"/>
                <a:gd name="connsiteY68" fmla="*/ 1587946 h 1694229"/>
                <a:gd name="connsiteX69" fmla="*/ 1469744 w 1888788"/>
                <a:gd name="connsiteY69" fmla="*/ 1643768 h 1694229"/>
                <a:gd name="connsiteX70" fmla="*/ 1539639 w 1888788"/>
                <a:gd name="connsiteY70" fmla="*/ 1618090 h 1694229"/>
                <a:gd name="connsiteX71" fmla="*/ 1570417 w 1888788"/>
                <a:gd name="connsiteY71" fmla="*/ 1531334 h 1694229"/>
                <a:gd name="connsiteX72" fmla="*/ 1651853 w 1888788"/>
                <a:gd name="connsiteY72" fmla="*/ 1441192 h 1694229"/>
                <a:gd name="connsiteX73" fmla="*/ 1696444 w 1888788"/>
                <a:gd name="connsiteY73" fmla="*/ 1410062 h 1694229"/>
                <a:gd name="connsiteX74" fmla="*/ 1724813 w 1888788"/>
                <a:gd name="connsiteY74" fmla="*/ 1413357 h 1694229"/>
                <a:gd name="connsiteX75" fmla="*/ 1814608 w 1888788"/>
                <a:gd name="connsiteY75" fmla="*/ 1402749 h 1694229"/>
                <a:gd name="connsiteX76" fmla="*/ 1797524 w 1888788"/>
                <a:gd name="connsiteY76" fmla="*/ 1456313 h 1694229"/>
                <a:gd name="connsiteX77" fmla="*/ 1884978 w 1888788"/>
                <a:gd name="connsiteY77" fmla="*/ 1492399 h 1694229"/>
                <a:gd name="connsiteX78" fmla="*/ 1871943 w 1888788"/>
                <a:gd name="connsiteY78" fmla="*/ 1454448 h 1694229"/>
                <a:gd name="connsiteX79" fmla="*/ 1861403 w 1888788"/>
                <a:gd name="connsiteY79" fmla="*/ 1401373 h 1694229"/>
                <a:gd name="connsiteX80" fmla="*/ 1863844 w 1888788"/>
                <a:gd name="connsiteY80" fmla="*/ 1326546 h 1694229"/>
                <a:gd name="connsiteX81" fmla="*/ 1797946 w 1888788"/>
                <a:gd name="connsiteY81" fmla="*/ 1305140 h 1694229"/>
                <a:gd name="connsiteX82" fmla="*/ 1747763 w 1888788"/>
                <a:gd name="connsiteY82" fmla="*/ 1264979 h 1694229"/>
                <a:gd name="connsiteX83" fmla="*/ 1737459 w 1888788"/>
                <a:gd name="connsiteY83" fmla="*/ 1176356 h 1694229"/>
                <a:gd name="connsiteX84" fmla="*/ 1704241 w 1888788"/>
                <a:gd name="connsiteY84" fmla="*/ 1038783 h 1694229"/>
                <a:gd name="connsiteX85" fmla="*/ 1627446 w 1888788"/>
                <a:gd name="connsiteY85" fmla="*/ 972257 h 1694229"/>
                <a:gd name="connsiteX86" fmla="*/ 1594228 w 1888788"/>
                <a:gd name="connsiteY86" fmla="*/ 917660 h 1694229"/>
                <a:gd name="connsiteX87" fmla="*/ 1544162 w 1888788"/>
                <a:gd name="connsiteY87" fmla="*/ 872587 h 1694229"/>
                <a:gd name="connsiteX88" fmla="*/ 1472251 w 1888788"/>
                <a:gd name="connsiteY88" fmla="*/ 845878 h 1694229"/>
                <a:gd name="connsiteX89" fmla="*/ 1449150 w 1888788"/>
                <a:gd name="connsiteY89" fmla="*/ 823245 h 1694229"/>
                <a:gd name="connsiteX90" fmla="*/ 1477013 w 1888788"/>
                <a:gd name="connsiteY90" fmla="*/ 784801 h 1694229"/>
                <a:gd name="connsiteX91" fmla="*/ 1458319 w 1888788"/>
                <a:gd name="connsiteY91" fmla="*/ 748910 h 1694229"/>
                <a:gd name="connsiteX92" fmla="*/ 1463081 w 1888788"/>
                <a:gd name="connsiteY92" fmla="*/ 725098 h 1694229"/>
                <a:gd name="connsiteX93" fmla="*/ 1488076 w 1888788"/>
                <a:gd name="connsiteY93" fmla="*/ 724035 h 1694229"/>
                <a:gd name="connsiteX94" fmla="*/ 1580416 w 1888788"/>
                <a:gd name="connsiteY94" fmla="*/ 740220 h 1694229"/>
                <a:gd name="connsiteX95" fmla="*/ 1615719 w 1888788"/>
                <a:gd name="connsiteY95" fmla="*/ 683758 h 1694229"/>
                <a:gd name="connsiteX96" fmla="*/ 1603753 w 1888788"/>
                <a:gd name="connsiteY96" fmla="*/ 553648 h 1694229"/>
                <a:gd name="connsiteX97" fmla="*/ 1620956 w 1888788"/>
                <a:gd name="connsiteY97" fmla="*/ 405322 h 1694229"/>
                <a:gd name="connsiteX0" fmla="*/ 1620956 w 1887825"/>
                <a:gd name="connsiteY0" fmla="*/ 405322 h 1694229"/>
                <a:gd name="connsiteX1" fmla="*/ 1548806 w 1887825"/>
                <a:gd name="connsiteY1" fmla="*/ 372673 h 1694229"/>
                <a:gd name="connsiteX2" fmla="*/ 1458557 w 1887825"/>
                <a:gd name="connsiteY2" fmla="*/ 348860 h 1694229"/>
                <a:gd name="connsiteX3" fmla="*/ 1405237 w 1887825"/>
                <a:gd name="connsiteY3" fmla="*/ 271776 h 1694229"/>
                <a:gd name="connsiteX4" fmla="*/ 1382136 w 1887825"/>
                <a:gd name="connsiteY4" fmla="*/ 169931 h 1694229"/>
                <a:gd name="connsiteX5" fmla="*/ 1346239 w 1887825"/>
                <a:gd name="connsiteY5" fmla="*/ 1869 h 1694229"/>
                <a:gd name="connsiteX6" fmla="*/ 1278870 w 1887825"/>
                <a:gd name="connsiteY6" fmla="*/ 43567 h 1694229"/>
                <a:gd name="connsiteX7" fmla="*/ 1273302 w 1887825"/>
                <a:gd name="connsiteY7" fmla="*/ 101090 h 1694229"/>
                <a:gd name="connsiteX8" fmla="*/ 1257397 w 1887825"/>
                <a:gd name="connsiteY8" fmla="*/ 152303 h 1694229"/>
                <a:gd name="connsiteX9" fmla="*/ 1237872 w 1887825"/>
                <a:gd name="connsiteY9" fmla="*/ 204316 h 1694229"/>
                <a:gd name="connsiteX10" fmla="*/ 1236143 w 1887825"/>
                <a:gd name="connsiteY10" fmla="*/ 273739 h 1694229"/>
                <a:gd name="connsiteX11" fmla="*/ 1163162 w 1887825"/>
                <a:gd name="connsiteY11" fmla="*/ 283903 h 1694229"/>
                <a:gd name="connsiteX12" fmla="*/ 1098809 w 1887825"/>
                <a:gd name="connsiteY12" fmla="*/ 285917 h 1694229"/>
                <a:gd name="connsiteX13" fmla="*/ 1051208 w 1887825"/>
                <a:gd name="connsiteY13" fmla="*/ 346183 h 1694229"/>
                <a:gd name="connsiteX14" fmla="*/ 996593 w 1887825"/>
                <a:gd name="connsiteY14" fmla="*/ 371690 h 1694229"/>
                <a:gd name="connsiteX15" fmla="*/ 943969 w 1887825"/>
                <a:gd name="connsiteY15" fmla="*/ 358385 h 1694229"/>
                <a:gd name="connsiteX16" fmla="*/ 837229 w 1887825"/>
                <a:gd name="connsiteY16" fmla="*/ 376257 h 1694229"/>
                <a:gd name="connsiteX17" fmla="*/ 814246 w 1887825"/>
                <a:gd name="connsiteY17" fmla="*/ 440035 h 1694229"/>
                <a:gd name="connsiteX18" fmla="*/ 797163 w 1887825"/>
                <a:gd name="connsiteY18" fmla="*/ 475926 h 1694229"/>
                <a:gd name="connsiteX19" fmla="*/ 715132 w 1887825"/>
                <a:gd name="connsiteY19" fmla="*/ 494632 h 1694229"/>
                <a:gd name="connsiteX20" fmla="*/ 697320 w 1887825"/>
                <a:gd name="connsiteY20" fmla="*/ 440647 h 1694229"/>
                <a:gd name="connsiteX21" fmla="*/ 653456 w 1887825"/>
                <a:gd name="connsiteY21" fmla="*/ 420298 h 1694229"/>
                <a:gd name="connsiteX22" fmla="*/ 518140 w 1887825"/>
                <a:gd name="connsiteY22" fmla="*/ 420641 h 1694229"/>
                <a:gd name="connsiteX23" fmla="*/ 434263 w 1887825"/>
                <a:gd name="connsiteY23" fmla="*/ 447350 h 1694229"/>
                <a:gd name="connsiteX24" fmla="*/ 401044 w 1887825"/>
                <a:gd name="connsiteY24" fmla="*/ 420298 h 1694229"/>
                <a:gd name="connsiteX25" fmla="*/ 381994 w 1887825"/>
                <a:gd name="connsiteY25" fmla="*/ 358385 h 1694229"/>
                <a:gd name="connsiteX26" fmla="*/ 315319 w 1887825"/>
                <a:gd name="connsiteY26" fmla="*/ 305998 h 1694229"/>
                <a:gd name="connsiteX27" fmla="*/ 270134 w 1887825"/>
                <a:gd name="connsiteY27" fmla="*/ 229110 h 1694229"/>
                <a:gd name="connsiteX28" fmla="*/ 146784 w 1887825"/>
                <a:gd name="connsiteY28" fmla="*/ 258373 h 1694229"/>
                <a:gd name="connsiteX29" fmla="*/ 127734 w 1887825"/>
                <a:gd name="connsiteY29" fmla="*/ 344785 h 1694229"/>
                <a:gd name="connsiteX30" fmla="*/ 145174 w 1887825"/>
                <a:gd name="connsiteY30" fmla="*/ 411312 h 1694229"/>
                <a:gd name="connsiteX31" fmla="*/ 117735 w 1887825"/>
                <a:gd name="connsiteY31" fmla="*/ 446172 h 1694229"/>
                <a:gd name="connsiteX32" fmla="*/ 65347 w 1887825"/>
                <a:gd name="connsiteY32" fmla="*/ 474059 h 1694229"/>
                <a:gd name="connsiteX33" fmla="*/ 37246 w 1887825"/>
                <a:gd name="connsiteY33" fmla="*/ 482063 h 1694229"/>
                <a:gd name="connsiteX34" fmla="*/ 15281 w 1887825"/>
                <a:gd name="connsiteY34" fmla="*/ 520310 h 1694229"/>
                <a:gd name="connsiteX35" fmla="*/ 1469 w 1887825"/>
                <a:gd name="connsiteY35" fmla="*/ 632745 h 1694229"/>
                <a:gd name="connsiteX36" fmla="*/ 51178 w 1887825"/>
                <a:gd name="connsiteY36" fmla="*/ 685967 h 1694229"/>
                <a:gd name="connsiteX37" fmla="*/ 108092 w 1887825"/>
                <a:gd name="connsiteY37" fmla="*/ 681547 h 1694229"/>
                <a:gd name="connsiteX38" fmla="*/ 93804 w 1887825"/>
                <a:gd name="connsiteY38" fmla="*/ 751806 h 1694229"/>
                <a:gd name="connsiteX39" fmla="*/ 148631 w 1887825"/>
                <a:gd name="connsiteY39" fmla="*/ 782248 h 1694229"/>
                <a:gd name="connsiteX40" fmla="*/ 217629 w 1887825"/>
                <a:gd name="connsiteY40" fmla="*/ 792460 h 1694229"/>
                <a:gd name="connsiteX41" fmla="*/ 252932 w 1887825"/>
                <a:gd name="connsiteY41" fmla="*/ 848431 h 1694229"/>
                <a:gd name="connsiteX42" fmla="*/ 252339 w 1887825"/>
                <a:gd name="connsiteY42" fmla="*/ 893503 h 1694229"/>
                <a:gd name="connsiteX43" fmla="*/ 276863 w 1887825"/>
                <a:gd name="connsiteY43" fmla="*/ 932978 h 1694229"/>
                <a:gd name="connsiteX44" fmla="*/ 322521 w 1887825"/>
                <a:gd name="connsiteY44" fmla="*/ 971570 h 1694229"/>
                <a:gd name="connsiteX45" fmla="*/ 407654 w 1887825"/>
                <a:gd name="connsiteY45" fmla="*/ 1025822 h 1694229"/>
                <a:gd name="connsiteX46" fmla="*/ 443431 w 1887825"/>
                <a:gd name="connsiteY46" fmla="*/ 1096915 h 1694229"/>
                <a:gd name="connsiteX47" fmla="*/ 422534 w 1887825"/>
                <a:gd name="connsiteY47" fmla="*/ 1166488 h 1694229"/>
                <a:gd name="connsiteX48" fmla="*/ 500581 w 1887825"/>
                <a:gd name="connsiteY48" fmla="*/ 1222951 h 1694229"/>
                <a:gd name="connsiteX49" fmla="*/ 572613 w 1887825"/>
                <a:gd name="connsiteY49" fmla="*/ 1255945 h 1694229"/>
                <a:gd name="connsiteX50" fmla="*/ 553444 w 1887825"/>
                <a:gd name="connsiteY50" fmla="*/ 1315648 h 1694229"/>
                <a:gd name="connsiteX51" fmla="*/ 643931 w 1887825"/>
                <a:gd name="connsiteY51" fmla="*/ 1468048 h 1694229"/>
                <a:gd name="connsiteX52" fmla="*/ 736741 w 1887825"/>
                <a:gd name="connsiteY52" fmla="*/ 1541202 h 1694229"/>
                <a:gd name="connsiteX53" fmla="*/ 786806 w 1887825"/>
                <a:gd name="connsiteY53" fmla="*/ 1491860 h 1694229"/>
                <a:gd name="connsiteX54" fmla="*/ 851396 w 1887825"/>
                <a:gd name="connsiteY54" fmla="*/ 1519257 h 1694229"/>
                <a:gd name="connsiteX55" fmla="*/ 905869 w 1887825"/>
                <a:gd name="connsiteY55" fmla="*/ 1487098 h 1694229"/>
                <a:gd name="connsiteX56" fmla="*/ 922716 w 1887825"/>
                <a:gd name="connsiteY56" fmla="*/ 1444922 h 1694229"/>
                <a:gd name="connsiteX57" fmla="*/ 986593 w 1887825"/>
                <a:gd name="connsiteY57" fmla="*/ 1531334 h 1694229"/>
                <a:gd name="connsiteX58" fmla="*/ 1031660 w 1887825"/>
                <a:gd name="connsiteY58" fmla="*/ 1602428 h 1694229"/>
                <a:gd name="connsiteX59" fmla="*/ 1101606 w 1887825"/>
                <a:gd name="connsiteY59" fmla="*/ 1693947 h 1694229"/>
                <a:gd name="connsiteX60" fmla="*/ 1132504 w 1887825"/>
                <a:gd name="connsiteY60" fmla="*/ 1630856 h 1694229"/>
                <a:gd name="connsiteX61" fmla="*/ 1163163 w 1887825"/>
                <a:gd name="connsiteY61" fmla="*/ 1624376 h 1694229"/>
                <a:gd name="connsiteX62" fmla="*/ 1206262 w 1887825"/>
                <a:gd name="connsiteY62" fmla="*/ 1653639 h 1694229"/>
                <a:gd name="connsiteX63" fmla="*/ 1239837 w 1887825"/>
                <a:gd name="connsiteY63" fmla="*/ 1612985 h 1694229"/>
                <a:gd name="connsiteX64" fmla="*/ 1258658 w 1887825"/>
                <a:gd name="connsiteY64" fmla="*/ 1617602 h 1694229"/>
                <a:gd name="connsiteX65" fmla="*/ 1292700 w 1887825"/>
                <a:gd name="connsiteY65" fmla="*/ 1684079 h 1694229"/>
                <a:gd name="connsiteX66" fmla="*/ 1349256 w 1887825"/>
                <a:gd name="connsiteY66" fmla="*/ 1660610 h 1694229"/>
                <a:gd name="connsiteX67" fmla="*/ 1401288 w 1887825"/>
                <a:gd name="connsiteY67" fmla="*/ 1604489 h 1694229"/>
                <a:gd name="connsiteX68" fmla="*/ 1452065 w 1887825"/>
                <a:gd name="connsiteY68" fmla="*/ 1587946 h 1694229"/>
                <a:gd name="connsiteX69" fmla="*/ 1469744 w 1887825"/>
                <a:gd name="connsiteY69" fmla="*/ 1643768 h 1694229"/>
                <a:gd name="connsiteX70" fmla="*/ 1539639 w 1887825"/>
                <a:gd name="connsiteY70" fmla="*/ 1618090 h 1694229"/>
                <a:gd name="connsiteX71" fmla="*/ 1570417 w 1887825"/>
                <a:gd name="connsiteY71" fmla="*/ 1531334 h 1694229"/>
                <a:gd name="connsiteX72" fmla="*/ 1651853 w 1887825"/>
                <a:gd name="connsiteY72" fmla="*/ 1441192 h 1694229"/>
                <a:gd name="connsiteX73" fmla="*/ 1696444 w 1887825"/>
                <a:gd name="connsiteY73" fmla="*/ 1410062 h 1694229"/>
                <a:gd name="connsiteX74" fmla="*/ 1724813 w 1887825"/>
                <a:gd name="connsiteY74" fmla="*/ 1413357 h 1694229"/>
                <a:gd name="connsiteX75" fmla="*/ 1814608 w 1887825"/>
                <a:gd name="connsiteY75" fmla="*/ 1402749 h 1694229"/>
                <a:gd name="connsiteX76" fmla="*/ 1812167 w 1887825"/>
                <a:gd name="connsiteY76" fmla="*/ 1466525 h 1694229"/>
                <a:gd name="connsiteX77" fmla="*/ 1884978 w 1887825"/>
                <a:gd name="connsiteY77" fmla="*/ 1492399 h 1694229"/>
                <a:gd name="connsiteX78" fmla="*/ 1871943 w 1887825"/>
                <a:gd name="connsiteY78" fmla="*/ 1454448 h 1694229"/>
                <a:gd name="connsiteX79" fmla="*/ 1861403 w 1887825"/>
                <a:gd name="connsiteY79" fmla="*/ 1401373 h 1694229"/>
                <a:gd name="connsiteX80" fmla="*/ 1863844 w 1887825"/>
                <a:gd name="connsiteY80" fmla="*/ 1326546 h 1694229"/>
                <a:gd name="connsiteX81" fmla="*/ 1797946 w 1887825"/>
                <a:gd name="connsiteY81" fmla="*/ 1305140 h 1694229"/>
                <a:gd name="connsiteX82" fmla="*/ 1747763 w 1887825"/>
                <a:gd name="connsiteY82" fmla="*/ 1264979 h 1694229"/>
                <a:gd name="connsiteX83" fmla="*/ 1737459 w 1887825"/>
                <a:gd name="connsiteY83" fmla="*/ 1176356 h 1694229"/>
                <a:gd name="connsiteX84" fmla="*/ 1704241 w 1887825"/>
                <a:gd name="connsiteY84" fmla="*/ 1038783 h 1694229"/>
                <a:gd name="connsiteX85" fmla="*/ 1627446 w 1887825"/>
                <a:gd name="connsiteY85" fmla="*/ 972257 h 1694229"/>
                <a:gd name="connsiteX86" fmla="*/ 1594228 w 1887825"/>
                <a:gd name="connsiteY86" fmla="*/ 917660 h 1694229"/>
                <a:gd name="connsiteX87" fmla="*/ 1544162 w 1887825"/>
                <a:gd name="connsiteY87" fmla="*/ 872587 h 1694229"/>
                <a:gd name="connsiteX88" fmla="*/ 1472251 w 1887825"/>
                <a:gd name="connsiteY88" fmla="*/ 845878 h 1694229"/>
                <a:gd name="connsiteX89" fmla="*/ 1449150 w 1887825"/>
                <a:gd name="connsiteY89" fmla="*/ 823245 h 1694229"/>
                <a:gd name="connsiteX90" fmla="*/ 1477013 w 1887825"/>
                <a:gd name="connsiteY90" fmla="*/ 784801 h 1694229"/>
                <a:gd name="connsiteX91" fmla="*/ 1458319 w 1887825"/>
                <a:gd name="connsiteY91" fmla="*/ 748910 h 1694229"/>
                <a:gd name="connsiteX92" fmla="*/ 1463081 w 1887825"/>
                <a:gd name="connsiteY92" fmla="*/ 725098 h 1694229"/>
                <a:gd name="connsiteX93" fmla="*/ 1488076 w 1887825"/>
                <a:gd name="connsiteY93" fmla="*/ 724035 h 1694229"/>
                <a:gd name="connsiteX94" fmla="*/ 1580416 w 1887825"/>
                <a:gd name="connsiteY94" fmla="*/ 740220 h 1694229"/>
                <a:gd name="connsiteX95" fmla="*/ 1615719 w 1887825"/>
                <a:gd name="connsiteY95" fmla="*/ 683758 h 1694229"/>
                <a:gd name="connsiteX96" fmla="*/ 1603753 w 1887825"/>
                <a:gd name="connsiteY96" fmla="*/ 553648 h 1694229"/>
                <a:gd name="connsiteX97" fmla="*/ 1620956 w 1887825"/>
                <a:gd name="connsiteY97" fmla="*/ 405322 h 1694229"/>
                <a:gd name="connsiteX0" fmla="*/ 1620956 w 1887825"/>
                <a:gd name="connsiteY0" fmla="*/ 405322 h 1694229"/>
                <a:gd name="connsiteX1" fmla="*/ 1548806 w 1887825"/>
                <a:gd name="connsiteY1" fmla="*/ 372673 h 1694229"/>
                <a:gd name="connsiteX2" fmla="*/ 1458557 w 1887825"/>
                <a:gd name="connsiteY2" fmla="*/ 348860 h 1694229"/>
                <a:gd name="connsiteX3" fmla="*/ 1405237 w 1887825"/>
                <a:gd name="connsiteY3" fmla="*/ 271776 h 1694229"/>
                <a:gd name="connsiteX4" fmla="*/ 1382136 w 1887825"/>
                <a:gd name="connsiteY4" fmla="*/ 169931 h 1694229"/>
                <a:gd name="connsiteX5" fmla="*/ 1346239 w 1887825"/>
                <a:gd name="connsiteY5" fmla="*/ 1869 h 1694229"/>
                <a:gd name="connsiteX6" fmla="*/ 1278870 w 1887825"/>
                <a:gd name="connsiteY6" fmla="*/ 43567 h 1694229"/>
                <a:gd name="connsiteX7" fmla="*/ 1273302 w 1887825"/>
                <a:gd name="connsiteY7" fmla="*/ 101090 h 1694229"/>
                <a:gd name="connsiteX8" fmla="*/ 1257397 w 1887825"/>
                <a:gd name="connsiteY8" fmla="*/ 152303 h 1694229"/>
                <a:gd name="connsiteX9" fmla="*/ 1237872 w 1887825"/>
                <a:gd name="connsiteY9" fmla="*/ 204316 h 1694229"/>
                <a:gd name="connsiteX10" fmla="*/ 1236143 w 1887825"/>
                <a:gd name="connsiteY10" fmla="*/ 273739 h 1694229"/>
                <a:gd name="connsiteX11" fmla="*/ 1163162 w 1887825"/>
                <a:gd name="connsiteY11" fmla="*/ 283903 h 1694229"/>
                <a:gd name="connsiteX12" fmla="*/ 1098809 w 1887825"/>
                <a:gd name="connsiteY12" fmla="*/ 285917 h 1694229"/>
                <a:gd name="connsiteX13" fmla="*/ 1051208 w 1887825"/>
                <a:gd name="connsiteY13" fmla="*/ 346183 h 1694229"/>
                <a:gd name="connsiteX14" fmla="*/ 996593 w 1887825"/>
                <a:gd name="connsiteY14" fmla="*/ 371690 h 1694229"/>
                <a:gd name="connsiteX15" fmla="*/ 943969 w 1887825"/>
                <a:gd name="connsiteY15" fmla="*/ 358385 h 1694229"/>
                <a:gd name="connsiteX16" fmla="*/ 837229 w 1887825"/>
                <a:gd name="connsiteY16" fmla="*/ 376257 h 1694229"/>
                <a:gd name="connsiteX17" fmla="*/ 814246 w 1887825"/>
                <a:gd name="connsiteY17" fmla="*/ 440035 h 1694229"/>
                <a:gd name="connsiteX18" fmla="*/ 797163 w 1887825"/>
                <a:gd name="connsiteY18" fmla="*/ 475926 h 1694229"/>
                <a:gd name="connsiteX19" fmla="*/ 715132 w 1887825"/>
                <a:gd name="connsiteY19" fmla="*/ 494632 h 1694229"/>
                <a:gd name="connsiteX20" fmla="*/ 697320 w 1887825"/>
                <a:gd name="connsiteY20" fmla="*/ 440647 h 1694229"/>
                <a:gd name="connsiteX21" fmla="*/ 653456 w 1887825"/>
                <a:gd name="connsiteY21" fmla="*/ 420298 h 1694229"/>
                <a:gd name="connsiteX22" fmla="*/ 518140 w 1887825"/>
                <a:gd name="connsiteY22" fmla="*/ 420641 h 1694229"/>
                <a:gd name="connsiteX23" fmla="*/ 434263 w 1887825"/>
                <a:gd name="connsiteY23" fmla="*/ 447350 h 1694229"/>
                <a:gd name="connsiteX24" fmla="*/ 401044 w 1887825"/>
                <a:gd name="connsiteY24" fmla="*/ 420298 h 1694229"/>
                <a:gd name="connsiteX25" fmla="*/ 381994 w 1887825"/>
                <a:gd name="connsiteY25" fmla="*/ 358385 h 1694229"/>
                <a:gd name="connsiteX26" fmla="*/ 315319 w 1887825"/>
                <a:gd name="connsiteY26" fmla="*/ 305998 h 1694229"/>
                <a:gd name="connsiteX27" fmla="*/ 270134 w 1887825"/>
                <a:gd name="connsiteY27" fmla="*/ 229110 h 1694229"/>
                <a:gd name="connsiteX28" fmla="*/ 146784 w 1887825"/>
                <a:gd name="connsiteY28" fmla="*/ 258373 h 1694229"/>
                <a:gd name="connsiteX29" fmla="*/ 127734 w 1887825"/>
                <a:gd name="connsiteY29" fmla="*/ 344785 h 1694229"/>
                <a:gd name="connsiteX30" fmla="*/ 145174 w 1887825"/>
                <a:gd name="connsiteY30" fmla="*/ 411312 h 1694229"/>
                <a:gd name="connsiteX31" fmla="*/ 117735 w 1887825"/>
                <a:gd name="connsiteY31" fmla="*/ 446172 h 1694229"/>
                <a:gd name="connsiteX32" fmla="*/ 65347 w 1887825"/>
                <a:gd name="connsiteY32" fmla="*/ 474059 h 1694229"/>
                <a:gd name="connsiteX33" fmla="*/ 37246 w 1887825"/>
                <a:gd name="connsiteY33" fmla="*/ 482063 h 1694229"/>
                <a:gd name="connsiteX34" fmla="*/ 15281 w 1887825"/>
                <a:gd name="connsiteY34" fmla="*/ 520310 h 1694229"/>
                <a:gd name="connsiteX35" fmla="*/ 1469 w 1887825"/>
                <a:gd name="connsiteY35" fmla="*/ 632745 h 1694229"/>
                <a:gd name="connsiteX36" fmla="*/ 51178 w 1887825"/>
                <a:gd name="connsiteY36" fmla="*/ 685967 h 1694229"/>
                <a:gd name="connsiteX37" fmla="*/ 108092 w 1887825"/>
                <a:gd name="connsiteY37" fmla="*/ 681547 h 1694229"/>
                <a:gd name="connsiteX38" fmla="*/ 93804 w 1887825"/>
                <a:gd name="connsiteY38" fmla="*/ 751806 h 1694229"/>
                <a:gd name="connsiteX39" fmla="*/ 148631 w 1887825"/>
                <a:gd name="connsiteY39" fmla="*/ 782248 h 1694229"/>
                <a:gd name="connsiteX40" fmla="*/ 217629 w 1887825"/>
                <a:gd name="connsiteY40" fmla="*/ 792460 h 1694229"/>
                <a:gd name="connsiteX41" fmla="*/ 252932 w 1887825"/>
                <a:gd name="connsiteY41" fmla="*/ 848431 h 1694229"/>
                <a:gd name="connsiteX42" fmla="*/ 252339 w 1887825"/>
                <a:gd name="connsiteY42" fmla="*/ 893503 h 1694229"/>
                <a:gd name="connsiteX43" fmla="*/ 276863 w 1887825"/>
                <a:gd name="connsiteY43" fmla="*/ 932978 h 1694229"/>
                <a:gd name="connsiteX44" fmla="*/ 322521 w 1887825"/>
                <a:gd name="connsiteY44" fmla="*/ 971570 h 1694229"/>
                <a:gd name="connsiteX45" fmla="*/ 407654 w 1887825"/>
                <a:gd name="connsiteY45" fmla="*/ 1025822 h 1694229"/>
                <a:gd name="connsiteX46" fmla="*/ 443431 w 1887825"/>
                <a:gd name="connsiteY46" fmla="*/ 1096915 h 1694229"/>
                <a:gd name="connsiteX47" fmla="*/ 422534 w 1887825"/>
                <a:gd name="connsiteY47" fmla="*/ 1166488 h 1694229"/>
                <a:gd name="connsiteX48" fmla="*/ 500581 w 1887825"/>
                <a:gd name="connsiteY48" fmla="*/ 1222951 h 1694229"/>
                <a:gd name="connsiteX49" fmla="*/ 572613 w 1887825"/>
                <a:gd name="connsiteY49" fmla="*/ 1255945 h 1694229"/>
                <a:gd name="connsiteX50" fmla="*/ 582731 w 1887825"/>
                <a:gd name="connsiteY50" fmla="*/ 1330966 h 1694229"/>
                <a:gd name="connsiteX51" fmla="*/ 643931 w 1887825"/>
                <a:gd name="connsiteY51" fmla="*/ 1468048 h 1694229"/>
                <a:gd name="connsiteX52" fmla="*/ 736741 w 1887825"/>
                <a:gd name="connsiteY52" fmla="*/ 1541202 h 1694229"/>
                <a:gd name="connsiteX53" fmla="*/ 786806 w 1887825"/>
                <a:gd name="connsiteY53" fmla="*/ 1491860 h 1694229"/>
                <a:gd name="connsiteX54" fmla="*/ 851396 w 1887825"/>
                <a:gd name="connsiteY54" fmla="*/ 1519257 h 1694229"/>
                <a:gd name="connsiteX55" fmla="*/ 905869 w 1887825"/>
                <a:gd name="connsiteY55" fmla="*/ 1487098 h 1694229"/>
                <a:gd name="connsiteX56" fmla="*/ 922716 w 1887825"/>
                <a:gd name="connsiteY56" fmla="*/ 1444922 h 1694229"/>
                <a:gd name="connsiteX57" fmla="*/ 986593 w 1887825"/>
                <a:gd name="connsiteY57" fmla="*/ 1531334 h 1694229"/>
                <a:gd name="connsiteX58" fmla="*/ 1031660 w 1887825"/>
                <a:gd name="connsiteY58" fmla="*/ 1602428 h 1694229"/>
                <a:gd name="connsiteX59" fmla="*/ 1101606 w 1887825"/>
                <a:gd name="connsiteY59" fmla="*/ 1693947 h 1694229"/>
                <a:gd name="connsiteX60" fmla="*/ 1132504 w 1887825"/>
                <a:gd name="connsiteY60" fmla="*/ 1630856 h 1694229"/>
                <a:gd name="connsiteX61" fmla="*/ 1163163 w 1887825"/>
                <a:gd name="connsiteY61" fmla="*/ 1624376 h 1694229"/>
                <a:gd name="connsiteX62" fmla="*/ 1206262 w 1887825"/>
                <a:gd name="connsiteY62" fmla="*/ 1653639 h 1694229"/>
                <a:gd name="connsiteX63" fmla="*/ 1239837 w 1887825"/>
                <a:gd name="connsiteY63" fmla="*/ 1612985 h 1694229"/>
                <a:gd name="connsiteX64" fmla="*/ 1258658 w 1887825"/>
                <a:gd name="connsiteY64" fmla="*/ 1617602 h 1694229"/>
                <a:gd name="connsiteX65" fmla="*/ 1292700 w 1887825"/>
                <a:gd name="connsiteY65" fmla="*/ 1684079 h 1694229"/>
                <a:gd name="connsiteX66" fmla="*/ 1349256 w 1887825"/>
                <a:gd name="connsiteY66" fmla="*/ 1660610 h 1694229"/>
                <a:gd name="connsiteX67" fmla="*/ 1401288 w 1887825"/>
                <a:gd name="connsiteY67" fmla="*/ 1604489 h 1694229"/>
                <a:gd name="connsiteX68" fmla="*/ 1452065 w 1887825"/>
                <a:gd name="connsiteY68" fmla="*/ 1587946 h 1694229"/>
                <a:gd name="connsiteX69" fmla="*/ 1469744 w 1887825"/>
                <a:gd name="connsiteY69" fmla="*/ 1643768 h 1694229"/>
                <a:gd name="connsiteX70" fmla="*/ 1539639 w 1887825"/>
                <a:gd name="connsiteY70" fmla="*/ 1618090 h 1694229"/>
                <a:gd name="connsiteX71" fmla="*/ 1570417 w 1887825"/>
                <a:gd name="connsiteY71" fmla="*/ 1531334 h 1694229"/>
                <a:gd name="connsiteX72" fmla="*/ 1651853 w 1887825"/>
                <a:gd name="connsiteY72" fmla="*/ 1441192 h 1694229"/>
                <a:gd name="connsiteX73" fmla="*/ 1696444 w 1887825"/>
                <a:gd name="connsiteY73" fmla="*/ 1410062 h 1694229"/>
                <a:gd name="connsiteX74" fmla="*/ 1724813 w 1887825"/>
                <a:gd name="connsiteY74" fmla="*/ 1413357 h 1694229"/>
                <a:gd name="connsiteX75" fmla="*/ 1814608 w 1887825"/>
                <a:gd name="connsiteY75" fmla="*/ 1402749 h 1694229"/>
                <a:gd name="connsiteX76" fmla="*/ 1812167 w 1887825"/>
                <a:gd name="connsiteY76" fmla="*/ 1466525 h 1694229"/>
                <a:gd name="connsiteX77" fmla="*/ 1884978 w 1887825"/>
                <a:gd name="connsiteY77" fmla="*/ 1492399 h 1694229"/>
                <a:gd name="connsiteX78" fmla="*/ 1871943 w 1887825"/>
                <a:gd name="connsiteY78" fmla="*/ 1454448 h 1694229"/>
                <a:gd name="connsiteX79" fmla="*/ 1861403 w 1887825"/>
                <a:gd name="connsiteY79" fmla="*/ 1401373 h 1694229"/>
                <a:gd name="connsiteX80" fmla="*/ 1863844 w 1887825"/>
                <a:gd name="connsiteY80" fmla="*/ 1326546 h 1694229"/>
                <a:gd name="connsiteX81" fmla="*/ 1797946 w 1887825"/>
                <a:gd name="connsiteY81" fmla="*/ 1305140 h 1694229"/>
                <a:gd name="connsiteX82" fmla="*/ 1747763 w 1887825"/>
                <a:gd name="connsiteY82" fmla="*/ 1264979 h 1694229"/>
                <a:gd name="connsiteX83" fmla="*/ 1737459 w 1887825"/>
                <a:gd name="connsiteY83" fmla="*/ 1176356 h 1694229"/>
                <a:gd name="connsiteX84" fmla="*/ 1704241 w 1887825"/>
                <a:gd name="connsiteY84" fmla="*/ 1038783 h 1694229"/>
                <a:gd name="connsiteX85" fmla="*/ 1627446 w 1887825"/>
                <a:gd name="connsiteY85" fmla="*/ 972257 h 1694229"/>
                <a:gd name="connsiteX86" fmla="*/ 1594228 w 1887825"/>
                <a:gd name="connsiteY86" fmla="*/ 917660 h 1694229"/>
                <a:gd name="connsiteX87" fmla="*/ 1544162 w 1887825"/>
                <a:gd name="connsiteY87" fmla="*/ 872587 h 1694229"/>
                <a:gd name="connsiteX88" fmla="*/ 1472251 w 1887825"/>
                <a:gd name="connsiteY88" fmla="*/ 845878 h 1694229"/>
                <a:gd name="connsiteX89" fmla="*/ 1449150 w 1887825"/>
                <a:gd name="connsiteY89" fmla="*/ 823245 h 1694229"/>
                <a:gd name="connsiteX90" fmla="*/ 1477013 w 1887825"/>
                <a:gd name="connsiteY90" fmla="*/ 784801 h 1694229"/>
                <a:gd name="connsiteX91" fmla="*/ 1458319 w 1887825"/>
                <a:gd name="connsiteY91" fmla="*/ 748910 h 1694229"/>
                <a:gd name="connsiteX92" fmla="*/ 1463081 w 1887825"/>
                <a:gd name="connsiteY92" fmla="*/ 725098 h 1694229"/>
                <a:gd name="connsiteX93" fmla="*/ 1488076 w 1887825"/>
                <a:gd name="connsiteY93" fmla="*/ 724035 h 1694229"/>
                <a:gd name="connsiteX94" fmla="*/ 1580416 w 1887825"/>
                <a:gd name="connsiteY94" fmla="*/ 740220 h 1694229"/>
                <a:gd name="connsiteX95" fmla="*/ 1615719 w 1887825"/>
                <a:gd name="connsiteY95" fmla="*/ 683758 h 1694229"/>
                <a:gd name="connsiteX96" fmla="*/ 1603753 w 1887825"/>
                <a:gd name="connsiteY96" fmla="*/ 553648 h 1694229"/>
                <a:gd name="connsiteX97" fmla="*/ 1620956 w 1887825"/>
                <a:gd name="connsiteY97" fmla="*/ 405322 h 1694229"/>
                <a:gd name="connsiteX0" fmla="*/ 1620956 w 1887825"/>
                <a:gd name="connsiteY0" fmla="*/ 405322 h 1694229"/>
                <a:gd name="connsiteX1" fmla="*/ 1548806 w 1887825"/>
                <a:gd name="connsiteY1" fmla="*/ 372673 h 1694229"/>
                <a:gd name="connsiteX2" fmla="*/ 1458557 w 1887825"/>
                <a:gd name="connsiteY2" fmla="*/ 348860 h 1694229"/>
                <a:gd name="connsiteX3" fmla="*/ 1405237 w 1887825"/>
                <a:gd name="connsiteY3" fmla="*/ 271776 h 1694229"/>
                <a:gd name="connsiteX4" fmla="*/ 1382136 w 1887825"/>
                <a:gd name="connsiteY4" fmla="*/ 169931 h 1694229"/>
                <a:gd name="connsiteX5" fmla="*/ 1346239 w 1887825"/>
                <a:gd name="connsiteY5" fmla="*/ 1869 h 1694229"/>
                <a:gd name="connsiteX6" fmla="*/ 1278870 w 1887825"/>
                <a:gd name="connsiteY6" fmla="*/ 43567 h 1694229"/>
                <a:gd name="connsiteX7" fmla="*/ 1273302 w 1887825"/>
                <a:gd name="connsiteY7" fmla="*/ 101090 h 1694229"/>
                <a:gd name="connsiteX8" fmla="*/ 1257397 w 1887825"/>
                <a:gd name="connsiteY8" fmla="*/ 152303 h 1694229"/>
                <a:gd name="connsiteX9" fmla="*/ 1237872 w 1887825"/>
                <a:gd name="connsiteY9" fmla="*/ 204316 h 1694229"/>
                <a:gd name="connsiteX10" fmla="*/ 1236143 w 1887825"/>
                <a:gd name="connsiteY10" fmla="*/ 273739 h 1694229"/>
                <a:gd name="connsiteX11" fmla="*/ 1163162 w 1887825"/>
                <a:gd name="connsiteY11" fmla="*/ 283903 h 1694229"/>
                <a:gd name="connsiteX12" fmla="*/ 1098809 w 1887825"/>
                <a:gd name="connsiteY12" fmla="*/ 285917 h 1694229"/>
                <a:gd name="connsiteX13" fmla="*/ 1051208 w 1887825"/>
                <a:gd name="connsiteY13" fmla="*/ 346183 h 1694229"/>
                <a:gd name="connsiteX14" fmla="*/ 996593 w 1887825"/>
                <a:gd name="connsiteY14" fmla="*/ 371690 h 1694229"/>
                <a:gd name="connsiteX15" fmla="*/ 943969 w 1887825"/>
                <a:gd name="connsiteY15" fmla="*/ 358385 h 1694229"/>
                <a:gd name="connsiteX16" fmla="*/ 837229 w 1887825"/>
                <a:gd name="connsiteY16" fmla="*/ 376257 h 1694229"/>
                <a:gd name="connsiteX17" fmla="*/ 814246 w 1887825"/>
                <a:gd name="connsiteY17" fmla="*/ 440035 h 1694229"/>
                <a:gd name="connsiteX18" fmla="*/ 797163 w 1887825"/>
                <a:gd name="connsiteY18" fmla="*/ 475926 h 1694229"/>
                <a:gd name="connsiteX19" fmla="*/ 715132 w 1887825"/>
                <a:gd name="connsiteY19" fmla="*/ 494632 h 1694229"/>
                <a:gd name="connsiteX20" fmla="*/ 697320 w 1887825"/>
                <a:gd name="connsiteY20" fmla="*/ 440647 h 1694229"/>
                <a:gd name="connsiteX21" fmla="*/ 653456 w 1887825"/>
                <a:gd name="connsiteY21" fmla="*/ 420298 h 1694229"/>
                <a:gd name="connsiteX22" fmla="*/ 518140 w 1887825"/>
                <a:gd name="connsiteY22" fmla="*/ 420641 h 1694229"/>
                <a:gd name="connsiteX23" fmla="*/ 434263 w 1887825"/>
                <a:gd name="connsiteY23" fmla="*/ 447350 h 1694229"/>
                <a:gd name="connsiteX24" fmla="*/ 401044 w 1887825"/>
                <a:gd name="connsiteY24" fmla="*/ 420298 h 1694229"/>
                <a:gd name="connsiteX25" fmla="*/ 381994 w 1887825"/>
                <a:gd name="connsiteY25" fmla="*/ 358385 h 1694229"/>
                <a:gd name="connsiteX26" fmla="*/ 315319 w 1887825"/>
                <a:gd name="connsiteY26" fmla="*/ 305998 h 1694229"/>
                <a:gd name="connsiteX27" fmla="*/ 270134 w 1887825"/>
                <a:gd name="connsiteY27" fmla="*/ 229110 h 1694229"/>
                <a:gd name="connsiteX28" fmla="*/ 146784 w 1887825"/>
                <a:gd name="connsiteY28" fmla="*/ 258373 h 1694229"/>
                <a:gd name="connsiteX29" fmla="*/ 127734 w 1887825"/>
                <a:gd name="connsiteY29" fmla="*/ 344785 h 1694229"/>
                <a:gd name="connsiteX30" fmla="*/ 145174 w 1887825"/>
                <a:gd name="connsiteY30" fmla="*/ 411312 h 1694229"/>
                <a:gd name="connsiteX31" fmla="*/ 117735 w 1887825"/>
                <a:gd name="connsiteY31" fmla="*/ 446172 h 1694229"/>
                <a:gd name="connsiteX32" fmla="*/ 65347 w 1887825"/>
                <a:gd name="connsiteY32" fmla="*/ 474059 h 1694229"/>
                <a:gd name="connsiteX33" fmla="*/ 37246 w 1887825"/>
                <a:gd name="connsiteY33" fmla="*/ 482063 h 1694229"/>
                <a:gd name="connsiteX34" fmla="*/ 15281 w 1887825"/>
                <a:gd name="connsiteY34" fmla="*/ 520310 h 1694229"/>
                <a:gd name="connsiteX35" fmla="*/ 1469 w 1887825"/>
                <a:gd name="connsiteY35" fmla="*/ 632745 h 1694229"/>
                <a:gd name="connsiteX36" fmla="*/ 51178 w 1887825"/>
                <a:gd name="connsiteY36" fmla="*/ 685967 h 1694229"/>
                <a:gd name="connsiteX37" fmla="*/ 108092 w 1887825"/>
                <a:gd name="connsiteY37" fmla="*/ 681547 h 1694229"/>
                <a:gd name="connsiteX38" fmla="*/ 93804 w 1887825"/>
                <a:gd name="connsiteY38" fmla="*/ 751806 h 1694229"/>
                <a:gd name="connsiteX39" fmla="*/ 148631 w 1887825"/>
                <a:gd name="connsiteY39" fmla="*/ 782248 h 1694229"/>
                <a:gd name="connsiteX40" fmla="*/ 217629 w 1887825"/>
                <a:gd name="connsiteY40" fmla="*/ 792460 h 1694229"/>
                <a:gd name="connsiteX41" fmla="*/ 252932 w 1887825"/>
                <a:gd name="connsiteY41" fmla="*/ 848431 h 1694229"/>
                <a:gd name="connsiteX42" fmla="*/ 252339 w 1887825"/>
                <a:gd name="connsiteY42" fmla="*/ 893503 h 1694229"/>
                <a:gd name="connsiteX43" fmla="*/ 276863 w 1887825"/>
                <a:gd name="connsiteY43" fmla="*/ 932978 h 1694229"/>
                <a:gd name="connsiteX44" fmla="*/ 322521 w 1887825"/>
                <a:gd name="connsiteY44" fmla="*/ 971570 h 1694229"/>
                <a:gd name="connsiteX45" fmla="*/ 407654 w 1887825"/>
                <a:gd name="connsiteY45" fmla="*/ 1025822 h 1694229"/>
                <a:gd name="connsiteX46" fmla="*/ 443431 w 1887825"/>
                <a:gd name="connsiteY46" fmla="*/ 1096915 h 1694229"/>
                <a:gd name="connsiteX47" fmla="*/ 422534 w 1887825"/>
                <a:gd name="connsiteY47" fmla="*/ 1166488 h 1694229"/>
                <a:gd name="connsiteX48" fmla="*/ 500581 w 1887825"/>
                <a:gd name="connsiteY48" fmla="*/ 1222951 h 1694229"/>
                <a:gd name="connsiteX49" fmla="*/ 572613 w 1887825"/>
                <a:gd name="connsiteY49" fmla="*/ 1255945 h 1694229"/>
                <a:gd name="connsiteX50" fmla="*/ 582731 w 1887825"/>
                <a:gd name="connsiteY50" fmla="*/ 1330966 h 1694229"/>
                <a:gd name="connsiteX51" fmla="*/ 643931 w 1887825"/>
                <a:gd name="connsiteY51" fmla="*/ 1468048 h 1694229"/>
                <a:gd name="connsiteX52" fmla="*/ 736741 w 1887825"/>
                <a:gd name="connsiteY52" fmla="*/ 1541202 h 1694229"/>
                <a:gd name="connsiteX53" fmla="*/ 786806 w 1887825"/>
                <a:gd name="connsiteY53" fmla="*/ 1491860 h 1694229"/>
                <a:gd name="connsiteX54" fmla="*/ 851396 w 1887825"/>
                <a:gd name="connsiteY54" fmla="*/ 1519257 h 1694229"/>
                <a:gd name="connsiteX55" fmla="*/ 905869 w 1887825"/>
                <a:gd name="connsiteY55" fmla="*/ 1487098 h 1694229"/>
                <a:gd name="connsiteX56" fmla="*/ 922716 w 1887825"/>
                <a:gd name="connsiteY56" fmla="*/ 1444922 h 1694229"/>
                <a:gd name="connsiteX57" fmla="*/ 986593 w 1887825"/>
                <a:gd name="connsiteY57" fmla="*/ 1531334 h 1694229"/>
                <a:gd name="connsiteX58" fmla="*/ 1031660 w 1887825"/>
                <a:gd name="connsiteY58" fmla="*/ 1602428 h 1694229"/>
                <a:gd name="connsiteX59" fmla="*/ 1101606 w 1887825"/>
                <a:gd name="connsiteY59" fmla="*/ 1693947 h 1694229"/>
                <a:gd name="connsiteX60" fmla="*/ 1132504 w 1887825"/>
                <a:gd name="connsiteY60" fmla="*/ 1630856 h 1694229"/>
                <a:gd name="connsiteX61" fmla="*/ 1163163 w 1887825"/>
                <a:gd name="connsiteY61" fmla="*/ 1624376 h 1694229"/>
                <a:gd name="connsiteX62" fmla="*/ 1206262 w 1887825"/>
                <a:gd name="connsiteY62" fmla="*/ 1653639 h 1694229"/>
                <a:gd name="connsiteX63" fmla="*/ 1239837 w 1887825"/>
                <a:gd name="connsiteY63" fmla="*/ 1612985 h 1694229"/>
                <a:gd name="connsiteX64" fmla="*/ 1258658 w 1887825"/>
                <a:gd name="connsiteY64" fmla="*/ 1617602 h 1694229"/>
                <a:gd name="connsiteX65" fmla="*/ 1292700 w 1887825"/>
                <a:gd name="connsiteY65" fmla="*/ 1684079 h 1694229"/>
                <a:gd name="connsiteX66" fmla="*/ 1349256 w 1887825"/>
                <a:gd name="connsiteY66" fmla="*/ 1660610 h 1694229"/>
                <a:gd name="connsiteX67" fmla="*/ 1401288 w 1887825"/>
                <a:gd name="connsiteY67" fmla="*/ 1604489 h 1694229"/>
                <a:gd name="connsiteX68" fmla="*/ 1452065 w 1887825"/>
                <a:gd name="connsiteY68" fmla="*/ 1587946 h 1694229"/>
                <a:gd name="connsiteX69" fmla="*/ 1469744 w 1887825"/>
                <a:gd name="connsiteY69" fmla="*/ 1643768 h 1694229"/>
                <a:gd name="connsiteX70" fmla="*/ 1539639 w 1887825"/>
                <a:gd name="connsiteY70" fmla="*/ 1618090 h 1694229"/>
                <a:gd name="connsiteX71" fmla="*/ 1570417 w 1887825"/>
                <a:gd name="connsiteY71" fmla="*/ 1531334 h 1694229"/>
                <a:gd name="connsiteX72" fmla="*/ 1651853 w 1887825"/>
                <a:gd name="connsiteY72" fmla="*/ 1441192 h 1694229"/>
                <a:gd name="connsiteX73" fmla="*/ 1696444 w 1887825"/>
                <a:gd name="connsiteY73" fmla="*/ 1410062 h 1694229"/>
                <a:gd name="connsiteX74" fmla="*/ 1724813 w 1887825"/>
                <a:gd name="connsiteY74" fmla="*/ 1413357 h 1694229"/>
                <a:gd name="connsiteX75" fmla="*/ 1814608 w 1887825"/>
                <a:gd name="connsiteY75" fmla="*/ 1402749 h 1694229"/>
                <a:gd name="connsiteX76" fmla="*/ 1812167 w 1887825"/>
                <a:gd name="connsiteY76" fmla="*/ 1466525 h 1694229"/>
                <a:gd name="connsiteX77" fmla="*/ 1884978 w 1887825"/>
                <a:gd name="connsiteY77" fmla="*/ 1492399 h 1694229"/>
                <a:gd name="connsiteX78" fmla="*/ 1871943 w 1887825"/>
                <a:gd name="connsiteY78" fmla="*/ 1454448 h 1694229"/>
                <a:gd name="connsiteX79" fmla="*/ 1861403 w 1887825"/>
                <a:gd name="connsiteY79" fmla="*/ 1401373 h 1694229"/>
                <a:gd name="connsiteX80" fmla="*/ 1863844 w 1887825"/>
                <a:gd name="connsiteY80" fmla="*/ 1326546 h 1694229"/>
                <a:gd name="connsiteX81" fmla="*/ 1797946 w 1887825"/>
                <a:gd name="connsiteY81" fmla="*/ 1305140 h 1694229"/>
                <a:gd name="connsiteX82" fmla="*/ 1747763 w 1887825"/>
                <a:gd name="connsiteY82" fmla="*/ 1264979 h 1694229"/>
                <a:gd name="connsiteX83" fmla="*/ 1737459 w 1887825"/>
                <a:gd name="connsiteY83" fmla="*/ 1176356 h 1694229"/>
                <a:gd name="connsiteX84" fmla="*/ 1704241 w 1887825"/>
                <a:gd name="connsiteY84" fmla="*/ 1038783 h 1694229"/>
                <a:gd name="connsiteX85" fmla="*/ 1627446 w 1887825"/>
                <a:gd name="connsiteY85" fmla="*/ 972257 h 1694229"/>
                <a:gd name="connsiteX86" fmla="*/ 1594228 w 1887825"/>
                <a:gd name="connsiteY86" fmla="*/ 917660 h 1694229"/>
                <a:gd name="connsiteX87" fmla="*/ 1544162 w 1887825"/>
                <a:gd name="connsiteY87" fmla="*/ 872587 h 1694229"/>
                <a:gd name="connsiteX88" fmla="*/ 1472251 w 1887825"/>
                <a:gd name="connsiteY88" fmla="*/ 845878 h 1694229"/>
                <a:gd name="connsiteX89" fmla="*/ 1449150 w 1887825"/>
                <a:gd name="connsiteY89" fmla="*/ 823245 h 1694229"/>
                <a:gd name="connsiteX90" fmla="*/ 1477013 w 1887825"/>
                <a:gd name="connsiteY90" fmla="*/ 784801 h 1694229"/>
                <a:gd name="connsiteX91" fmla="*/ 1458319 w 1887825"/>
                <a:gd name="connsiteY91" fmla="*/ 748910 h 1694229"/>
                <a:gd name="connsiteX92" fmla="*/ 1463081 w 1887825"/>
                <a:gd name="connsiteY92" fmla="*/ 725098 h 1694229"/>
                <a:gd name="connsiteX93" fmla="*/ 1488076 w 1887825"/>
                <a:gd name="connsiteY93" fmla="*/ 724035 h 1694229"/>
                <a:gd name="connsiteX94" fmla="*/ 1580416 w 1887825"/>
                <a:gd name="connsiteY94" fmla="*/ 740220 h 1694229"/>
                <a:gd name="connsiteX95" fmla="*/ 1615719 w 1887825"/>
                <a:gd name="connsiteY95" fmla="*/ 683758 h 1694229"/>
                <a:gd name="connsiteX96" fmla="*/ 1603753 w 1887825"/>
                <a:gd name="connsiteY96" fmla="*/ 553648 h 1694229"/>
                <a:gd name="connsiteX97" fmla="*/ 1620956 w 1887825"/>
                <a:gd name="connsiteY97" fmla="*/ 405322 h 1694229"/>
                <a:gd name="connsiteX0" fmla="*/ 1620956 w 1887825"/>
                <a:gd name="connsiteY0" fmla="*/ 405322 h 1694229"/>
                <a:gd name="connsiteX1" fmla="*/ 1548806 w 1887825"/>
                <a:gd name="connsiteY1" fmla="*/ 372673 h 1694229"/>
                <a:gd name="connsiteX2" fmla="*/ 1458557 w 1887825"/>
                <a:gd name="connsiteY2" fmla="*/ 348860 h 1694229"/>
                <a:gd name="connsiteX3" fmla="*/ 1405237 w 1887825"/>
                <a:gd name="connsiteY3" fmla="*/ 271776 h 1694229"/>
                <a:gd name="connsiteX4" fmla="*/ 1382136 w 1887825"/>
                <a:gd name="connsiteY4" fmla="*/ 169931 h 1694229"/>
                <a:gd name="connsiteX5" fmla="*/ 1346239 w 1887825"/>
                <a:gd name="connsiteY5" fmla="*/ 1869 h 1694229"/>
                <a:gd name="connsiteX6" fmla="*/ 1278870 w 1887825"/>
                <a:gd name="connsiteY6" fmla="*/ 43567 h 1694229"/>
                <a:gd name="connsiteX7" fmla="*/ 1273302 w 1887825"/>
                <a:gd name="connsiteY7" fmla="*/ 101090 h 1694229"/>
                <a:gd name="connsiteX8" fmla="*/ 1257397 w 1887825"/>
                <a:gd name="connsiteY8" fmla="*/ 152303 h 1694229"/>
                <a:gd name="connsiteX9" fmla="*/ 1237872 w 1887825"/>
                <a:gd name="connsiteY9" fmla="*/ 204316 h 1694229"/>
                <a:gd name="connsiteX10" fmla="*/ 1236143 w 1887825"/>
                <a:gd name="connsiteY10" fmla="*/ 273739 h 1694229"/>
                <a:gd name="connsiteX11" fmla="*/ 1163162 w 1887825"/>
                <a:gd name="connsiteY11" fmla="*/ 283903 h 1694229"/>
                <a:gd name="connsiteX12" fmla="*/ 1098809 w 1887825"/>
                <a:gd name="connsiteY12" fmla="*/ 285917 h 1694229"/>
                <a:gd name="connsiteX13" fmla="*/ 1051208 w 1887825"/>
                <a:gd name="connsiteY13" fmla="*/ 346183 h 1694229"/>
                <a:gd name="connsiteX14" fmla="*/ 996593 w 1887825"/>
                <a:gd name="connsiteY14" fmla="*/ 371690 h 1694229"/>
                <a:gd name="connsiteX15" fmla="*/ 943969 w 1887825"/>
                <a:gd name="connsiteY15" fmla="*/ 358385 h 1694229"/>
                <a:gd name="connsiteX16" fmla="*/ 837229 w 1887825"/>
                <a:gd name="connsiteY16" fmla="*/ 376257 h 1694229"/>
                <a:gd name="connsiteX17" fmla="*/ 814246 w 1887825"/>
                <a:gd name="connsiteY17" fmla="*/ 440035 h 1694229"/>
                <a:gd name="connsiteX18" fmla="*/ 797163 w 1887825"/>
                <a:gd name="connsiteY18" fmla="*/ 475926 h 1694229"/>
                <a:gd name="connsiteX19" fmla="*/ 715132 w 1887825"/>
                <a:gd name="connsiteY19" fmla="*/ 494632 h 1694229"/>
                <a:gd name="connsiteX20" fmla="*/ 697320 w 1887825"/>
                <a:gd name="connsiteY20" fmla="*/ 440647 h 1694229"/>
                <a:gd name="connsiteX21" fmla="*/ 653456 w 1887825"/>
                <a:gd name="connsiteY21" fmla="*/ 420298 h 1694229"/>
                <a:gd name="connsiteX22" fmla="*/ 518140 w 1887825"/>
                <a:gd name="connsiteY22" fmla="*/ 420641 h 1694229"/>
                <a:gd name="connsiteX23" fmla="*/ 434263 w 1887825"/>
                <a:gd name="connsiteY23" fmla="*/ 447350 h 1694229"/>
                <a:gd name="connsiteX24" fmla="*/ 401044 w 1887825"/>
                <a:gd name="connsiteY24" fmla="*/ 420298 h 1694229"/>
                <a:gd name="connsiteX25" fmla="*/ 381994 w 1887825"/>
                <a:gd name="connsiteY25" fmla="*/ 358385 h 1694229"/>
                <a:gd name="connsiteX26" fmla="*/ 315319 w 1887825"/>
                <a:gd name="connsiteY26" fmla="*/ 305998 h 1694229"/>
                <a:gd name="connsiteX27" fmla="*/ 270134 w 1887825"/>
                <a:gd name="connsiteY27" fmla="*/ 229110 h 1694229"/>
                <a:gd name="connsiteX28" fmla="*/ 146784 w 1887825"/>
                <a:gd name="connsiteY28" fmla="*/ 258373 h 1694229"/>
                <a:gd name="connsiteX29" fmla="*/ 127734 w 1887825"/>
                <a:gd name="connsiteY29" fmla="*/ 344785 h 1694229"/>
                <a:gd name="connsiteX30" fmla="*/ 145174 w 1887825"/>
                <a:gd name="connsiteY30" fmla="*/ 411312 h 1694229"/>
                <a:gd name="connsiteX31" fmla="*/ 117735 w 1887825"/>
                <a:gd name="connsiteY31" fmla="*/ 446172 h 1694229"/>
                <a:gd name="connsiteX32" fmla="*/ 65347 w 1887825"/>
                <a:gd name="connsiteY32" fmla="*/ 474059 h 1694229"/>
                <a:gd name="connsiteX33" fmla="*/ 37246 w 1887825"/>
                <a:gd name="connsiteY33" fmla="*/ 482063 h 1694229"/>
                <a:gd name="connsiteX34" fmla="*/ 15281 w 1887825"/>
                <a:gd name="connsiteY34" fmla="*/ 520310 h 1694229"/>
                <a:gd name="connsiteX35" fmla="*/ 1469 w 1887825"/>
                <a:gd name="connsiteY35" fmla="*/ 632745 h 1694229"/>
                <a:gd name="connsiteX36" fmla="*/ 51178 w 1887825"/>
                <a:gd name="connsiteY36" fmla="*/ 685967 h 1694229"/>
                <a:gd name="connsiteX37" fmla="*/ 108092 w 1887825"/>
                <a:gd name="connsiteY37" fmla="*/ 681547 h 1694229"/>
                <a:gd name="connsiteX38" fmla="*/ 93804 w 1887825"/>
                <a:gd name="connsiteY38" fmla="*/ 751806 h 1694229"/>
                <a:gd name="connsiteX39" fmla="*/ 148631 w 1887825"/>
                <a:gd name="connsiteY39" fmla="*/ 782248 h 1694229"/>
                <a:gd name="connsiteX40" fmla="*/ 217629 w 1887825"/>
                <a:gd name="connsiteY40" fmla="*/ 792460 h 1694229"/>
                <a:gd name="connsiteX41" fmla="*/ 252932 w 1887825"/>
                <a:gd name="connsiteY41" fmla="*/ 848431 h 1694229"/>
                <a:gd name="connsiteX42" fmla="*/ 252339 w 1887825"/>
                <a:gd name="connsiteY42" fmla="*/ 893503 h 1694229"/>
                <a:gd name="connsiteX43" fmla="*/ 276863 w 1887825"/>
                <a:gd name="connsiteY43" fmla="*/ 932978 h 1694229"/>
                <a:gd name="connsiteX44" fmla="*/ 322521 w 1887825"/>
                <a:gd name="connsiteY44" fmla="*/ 971570 h 1694229"/>
                <a:gd name="connsiteX45" fmla="*/ 407654 w 1887825"/>
                <a:gd name="connsiteY45" fmla="*/ 1025822 h 1694229"/>
                <a:gd name="connsiteX46" fmla="*/ 443431 w 1887825"/>
                <a:gd name="connsiteY46" fmla="*/ 1096915 h 1694229"/>
                <a:gd name="connsiteX47" fmla="*/ 422534 w 1887825"/>
                <a:gd name="connsiteY47" fmla="*/ 1166488 h 1694229"/>
                <a:gd name="connsiteX48" fmla="*/ 500581 w 1887825"/>
                <a:gd name="connsiteY48" fmla="*/ 1222951 h 1694229"/>
                <a:gd name="connsiteX49" fmla="*/ 572613 w 1887825"/>
                <a:gd name="connsiteY49" fmla="*/ 1255945 h 1694229"/>
                <a:gd name="connsiteX50" fmla="*/ 582731 w 1887825"/>
                <a:gd name="connsiteY50" fmla="*/ 1330966 h 1694229"/>
                <a:gd name="connsiteX51" fmla="*/ 651253 w 1887825"/>
                <a:gd name="connsiteY51" fmla="*/ 1450176 h 1694229"/>
                <a:gd name="connsiteX52" fmla="*/ 736741 w 1887825"/>
                <a:gd name="connsiteY52" fmla="*/ 1541202 h 1694229"/>
                <a:gd name="connsiteX53" fmla="*/ 786806 w 1887825"/>
                <a:gd name="connsiteY53" fmla="*/ 1491860 h 1694229"/>
                <a:gd name="connsiteX54" fmla="*/ 851396 w 1887825"/>
                <a:gd name="connsiteY54" fmla="*/ 1519257 h 1694229"/>
                <a:gd name="connsiteX55" fmla="*/ 905869 w 1887825"/>
                <a:gd name="connsiteY55" fmla="*/ 1487098 h 1694229"/>
                <a:gd name="connsiteX56" fmla="*/ 922716 w 1887825"/>
                <a:gd name="connsiteY56" fmla="*/ 1444922 h 1694229"/>
                <a:gd name="connsiteX57" fmla="*/ 986593 w 1887825"/>
                <a:gd name="connsiteY57" fmla="*/ 1531334 h 1694229"/>
                <a:gd name="connsiteX58" fmla="*/ 1031660 w 1887825"/>
                <a:gd name="connsiteY58" fmla="*/ 1602428 h 1694229"/>
                <a:gd name="connsiteX59" fmla="*/ 1101606 w 1887825"/>
                <a:gd name="connsiteY59" fmla="*/ 1693947 h 1694229"/>
                <a:gd name="connsiteX60" fmla="*/ 1132504 w 1887825"/>
                <a:gd name="connsiteY60" fmla="*/ 1630856 h 1694229"/>
                <a:gd name="connsiteX61" fmla="*/ 1163163 w 1887825"/>
                <a:gd name="connsiteY61" fmla="*/ 1624376 h 1694229"/>
                <a:gd name="connsiteX62" fmla="*/ 1206262 w 1887825"/>
                <a:gd name="connsiteY62" fmla="*/ 1653639 h 1694229"/>
                <a:gd name="connsiteX63" fmla="*/ 1239837 w 1887825"/>
                <a:gd name="connsiteY63" fmla="*/ 1612985 h 1694229"/>
                <a:gd name="connsiteX64" fmla="*/ 1258658 w 1887825"/>
                <a:gd name="connsiteY64" fmla="*/ 1617602 h 1694229"/>
                <a:gd name="connsiteX65" fmla="*/ 1292700 w 1887825"/>
                <a:gd name="connsiteY65" fmla="*/ 1684079 h 1694229"/>
                <a:gd name="connsiteX66" fmla="*/ 1349256 w 1887825"/>
                <a:gd name="connsiteY66" fmla="*/ 1660610 h 1694229"/>
                <a:gd name="connsiteX67" fmla="*/ 1401288 w 1887825"/>
                <a:gd name="connsiteY67" fmla="*/ 1604489 h 1694229"/>
                <a:gd name="connsiteX68" fmla="*/ 1452065 w 1887825"/>
                <a:gd name="connsiteY68" fmla="*/ 1587946 h 1694229"/>
                <a:gd name="connsiteX69" fmla="*/ 1469744 w 1887825"/>
                <a:gd name="connsiteY69" fmla="*/ 1643768 h 1694229"/>
                <a:gd name="connsiteX70" fmla="*/ 1539639 w 1887825"/>
                <a:gd name="connsiteY70" fmla="*/ 1618090 h 1694229"/>
                <a:gd name="connsiteX71" fmla="*/ 1570417 w 1887825"/>
                <a:gd name="connsiteY71" fmla="*/ 1531334 h 1694229"/>
                <a:gd name="connsiteX72" fmla="*/ 1651853 w 1887825"/>
                <a:gd name="connsiteY72" fmla="*/ 1441192 h 1694229"/>
                <a:gd name="connsiteX73" fmla="*/ 1696444 w 1887825"/>
                <a:gd name="connsiteY73" fmla="*/ 1410062 h 1694229"/>
                <a:gd name="connsiteX74" fmla="*/ 1724813 w 1887825"/>
                <a:gd name="connsiteY74" fmla="*/ 1413357 h 1694229"/>
                <a:gd name="connsiteX75" fmla="*/ 1814608 w 1887825"/>
                <a:gd name="connsiteY75" fmla="*/ 1402749 h 1694229"/>
                <a:gd name="connsiteX76" fmla="*/ 1812167 w 1887825"/>
                <a:gd name="connsiteY76" fmla="*/ 1466525 h 1694229"/>
                <a:gd name="connsiteX77" fmla="*/ 1884978 w 1887825"/>
                <a:gd name="connsiteY77" fmla="*/ 1492399 h 1694229"/>
                <a:gd name="connsiteX78" fmla="*/ 1871943 w 1887825"/>
                <a:gd name="connsiteY78" fmla="*/ 1454448 h 1694229"/>
                <a:gd name="connsiteX79" fmla="*/ 1861403 w 1887825"/>
                <a:gd name="connsiteY79" fmla="*/ 1401373 h 1694229"/>
                <a:gd name="connsiteX80" fmla="*/ 1863844 w 1887825"/>
                <a:gd name="connsiteY80" fmla="*/ 1326546 h 1694229"/>
                <a:gd name="connsiteX81" fmla="*/ 1797946 w 1887825"/>
                <a:gd name="connsiteY81" fmla="*/ 1305140 h 1694229"/>
                <a:gd name="connsiteX82" fmla="*/ 1747763 w 1887825"/>
                <a:gd name="connsiteY82" fmla="*/ 1264979 h 1694229"/>
                <a:gd name="connsiteX83" fmla="*/ 1737459 w 1887825"/>
                <a:gd name="connsiteY83" fmla="*/ 1176356 h 1694229"/>
                <a:gd name="connsiteX84" fmla="*/ 1704241 w 1887825"/>
                <a:gd name="connsiteY84" fmla="*/ 1038783 h 1694229"/>
                <a:gd name="connsiteX85" fmla="*/ 1627446 w 1887825"/>
                <a:gd name="connsiteY85" fmla="*/ 972257 h 1694229"/>
                <a:gd name="connsiteX86" fmla="*/ 1594228 w 1887825"/>
                <a:gd name="connsiteY86" fmla="*/ 917660 h 1694229"/>
                <a:gd name="connsiteX87" fmla="*/ 1544162 w 1887825"/>
                <a:gd name="connsiteY87" fmla="*/ 872587 h 1694229"/>
                <a:gd name="connsiteX88" fmla="*/ 1472251 w 1887825"/>
                <a:gd name="connsiteY88" fmla="*/ 845878 h 1694229"/>
                <a:gd name="connsiteX89" fmla="*/ 1449150 w 1887825"/>
                <a:gd name="connsiteY89" fmla="*/ 823245 h 1694229"/>
                <a:gd name="connsiteX90" fmla="*/ 1477013 w 1887825"/>
                <a:gd name="connsiteY90" fmla="*/ 784801 h 1694229"/>
                <a:gd name="connsiteX91" fmla="*/ 1458319 w 1887825"/>
                <a:gd name="connsiteY91" fmla="*/ 748910 h 1694229"/>
                <a:gd name="connsiteX92" fmla="*/ 1463081 w 1887825"/>
                <a:gd name="connsiteY92" fmla="*/ 725098 h 1694229"/>
                <a:gd name="connsiteX93" fmla="*/ 1488076 w 1887825"/>
                <a:gd name="connsiteY93" fmla="*/ 724035 h 1694229"/>
                <a:gd name="connsiteX94" fmla="*/ 1580416 w 1887825"/>
                <a:gd name="connsiteY94" fmla="*/ 740220 h 1694229"/>
                <a:gd name="connsiteX95" fmla="*/ 1615719 w 1887825"/>
                <a:gd name="connsiteY95" fmla="*/ 683758 h 1694229"/>
                <a:gd name="connsiteX96" fmla="*/ 1603753 w 1887825"/>
                <a:gd name="connsiteY96" fmla="*/ 553648 h 1694229"/>
                <a:gd name="connsiteX97" fmla="*/ 1620956 w 1887825"/>
                <a:gd name="connsiteY97" fmla="*/ 405322 h 1694229"/>
                <a:gd name="connsiteX0" fmla="*/ 1620956 w 1887825"/>
                <a:gd name="connsiteY0" fmla="*/ 405322 h 1694229"/>
                <a:gd name="connsiteX1" fmla="*/ 1548806 w 1887825"/>
                <a:gd name="connsiteY1" fmla="*/ 372673 h 1694229"/>
                <a:gd name="connsiteX2" fmla="*/ 1458557 w 1887825"/>
                <a:gd name="connsiteY2" fmla="*/ 348860 h 1694229"/>
                <a:gd name="connsiteX3" fmla="*/ 1405237 w 1887825"/>
                <a:gd name="connsiteY3" fmla="*/ 271776 h 1694229"/>
                <a:gd name="connsiteX4" fmla="*/ 1382136 w 1887825"/>
                <a:gd name="connsiteY4" fmla="*/ 169931 h 1694229"/>
                <a:gd name="connsiteX5" fmla="*/ 1346239 w 1887825"/>
                <a:gd name="connsiteY5" fmla="*/ 1869 h 1694229"/>
                <a:gd name="connsiteX6" fmla="*/ 1278870 w 1887825"/>
                <a:gd name="connsiteY6" fmla="*/ 43567 h 1694229"/>
                <a:gd name="connsiteX7" fmla="*/ 1273302 w 1887825"/>
                <a:gd name="connsiteY7" fmla="*/ 101090 h 1694229"/>
                <a:gd name="connsiteX8" fmla="*/ 1257397 w 1887825"/>
                <a:gd name="connsiteY8" fmla="*/ 152303 h 1694229"/>
                <a:gd name="connsiteX9" fmla="*/ 1237872 w 1887825"/>
                <a:gd name="connsiteY9" fmla="*/ 204316 h 1694229"/>
                <a:gd name="connsiteX10" fmla="*/ 1236143 w 1887825"/>
                <a:gd name="connsiteY10" fmla="*/ 273739 h 1694229"/>
                <a:gd name="connsiteX11" fmla="*/ 1163162 w 1887825"/>
                <a:gd name="connsiteY11" fmla="*/ 283903 h 1694229"/>
                <a:gd name="connsiteX12" fmla="*/ 1098809 w 1887825"/>
                <a:gd name="connsiteY12" fmla="*/ 285917 h 1694229"/>
                <a:gd name="connsiteX13" fmla="*/ 1051208 w 1887825"/>
                <a:gd name="connsiteY13" fmla="*/ 346183 h 1694229"/>
                <a:gd name="connsiteX14" fmla="*/ 996593 w 1887825"/>
                <a:gd name="connsiteY14" fmla="*/ 371690 h 1694229"/>
                <a:gd name="connsiteX15" fmla="*/ 943969 w 1887825"/>
                <a:gd name="connsiteY15" fmla="*/ 358385 h 1694229"/>
                <a:gd name="connsiteX16" fmla="*/ 837229 w 1887825"/>
                <a:gd name="connsiteY16" fmla="*/ 376257 h 1694229"/>
                <a:gd name="connsiteX17" fmla="*/ 814246 w 1887825"/>
                <a:gd name="connsiteY17" fmla="*/ 440035 h 1694229"/>
                <a:gd name="connsiteX18" fmla="*/ 797163 w 1887825"/>
                <a:gd name="connsiteY18" fmla="*/ 475926 h 1694229"/>
                <a:gd name="connsiteX19" fmla="*/ 715132 w 1887825"/>
                <a:gd name="connsiteY19" fmla="*/ 494632 h 1694229"/>
                <a:gd name="connsiteX20" fmla="*/ 697320 w 1887825"/>
                <a:gd name="connsiteY20" fmla="*/ 440647 h 1694229"/>
                <a:gd name="connsiteX21" fmla="*/ 653456 w 1887825"/>
                <a:gd name="connsiteY21" fmla="*/ 420298 h 1694229"/>
                <a:gd name="connsiteX22" fmla="*/ 518140 w 1887825"/>
                <a:gd name="connsiteY22" fmla="*/ 420641 h 1694229"/>
                <a:gd name="connsiteX23" fmla="*/ 434263 w 1887825"/>
                <a:gd name="connsiteY23" fmla="*/ 447350 h 1694229"/>
                <a:gd name="connsiteX24" fmla="*/ 401044 w 1887825"/>
                <a:gd name="connsiteY24" fmla="*/ 420298 h 1694229"/>
                <a:gd name="connsiteX25" fmla="*/ 381994 w 1887825"/>
                <a:gd name="connsiteY25" fmla="*/ 358385 h 1694229"/>
                <a:gd name="connsiteX26" fmla="*/ 315319 w 1887825"/>
                <a:gd name="connsiteY26" fmla="*/ 305998 h 1694229"/>
                <a:gd name="connsiteX27" fmla="*/ 270134 w 1887825"/>
                <a:gd name="connsiteY27" fmla="*/ 229110 h 1694229"/>
                <a:gd name="connsiteX28" fmla="*/ 146784 w 1887825"/>
                <a:gd name="connsiteY28" fmla="*/ 258373 h 1694229"/>
                <a:gd name="connsiteX29" fmla="*/ 127734 w 1887825"/>
                <a:gd name="connsiteY29" fmla="*/ 344785 h 1694229"/>
                <a:gd name="connsiteX30" fmla="*/ 145174 w 1887825"/>
                <a:gd name="connsiteY30" fmla="*/ 411312 h 1694229"/>
                <a:gd name="connsiteX31" fmla="*/ 117735 w 1887825"/>
                <a:gd name="connsiteY31" fmla="*/ 446172 h 1694229"/>
                <a:gd name="connsiteX32" fmla="*/ 65347 w 1887825"/>
                <a:gd name="connsiteY32" fmla="*/ 474059 h 1694229"/>
                <a:gd name="connsiteX33" fmla="*/ 37246 w 1887825"/>
                <a:gd name="connsiteY33" fmla="*/ 482063 h 1694229"/>
                <a:gd name="connsiteX34" fmla="*/ 15281 w 1887825"/>
                <a:gd name="connsiteY34" fmla="*/ 520310 h 1694229"/>
                <a:gd name="connsiteX35" fmla="*/ 1469 w 1887825"/>
                <a:gd name="connsiteY35" fmla="*/ 632745 h 1694229"/>
                <a:gd name="connsiteX36" fmla="*/ 51178 w 1887825"/>
                <a:gd name="connsiteY36" fmla="*/ 685967 h 1694229"/>
                <a:gd name="connsiteX37" fmla="*/ 108092 w 1887825"/>
                <a:gd name="connsiteY37" fmla="*/ 681547 h 1694229"/>
                <a:gd name="connsiteX38" fmla="*/ 93804 w 1887825"/>
                <a:gd name="connsiteY38" fmla="*/ 751806 h 1694229"/>
                <a:gd name="connsiteX39" fmla="*/ 148631 w 1887825"/>
                <a:gd name="connsiteY39" fmla="*/ 782248 h 1694229"/>
                <a:gd name="connsiteX40" fmla="*/ 217629 w 1887825"/>
                <a:gd name="connsiteY40" fmla="*/ 792460 h 1694229"/>
                <a:gd name="connsiteX41" fmla="*/ 252932 w 1887825"/>
                <a:gd name="connsiteY41" fmla="*/ 848431 h 1694229"/>
                <a:gd name="connsiteX42" fmla="*/ 252339 w 1887825"/>
                <a:gd name="connsiteY42" fmla="*/ 893503 h 1694229"/>
                <a:gd name="connsiteX43" fmla="*/ 276863 w 1887825"/>
                <a:gd name="connsiteY43" fmla="*/ 932978 h 1694229"/>
                <a:gd name="connsiteX44" fmla="*/ 322521 w 1887825"/>
                <a:gd name="connsiteY44" fmla="*/ 971570 h 1694229"/>
                <a:gd name="connsiteX45" fmla="*/ 407654 w 1887825"/>
                <a:gd name="connsiteY45" fmla="*/ 1025822 h 1694229"/>
                <a:gd name="connsiteX46" fmla="*/ 443431 w 1887825"/>
                <a:gd name="connsiteY46" fmla="*/ 1096915 h 1694229"/>
                <a:gd name="connsiteX47" fmla="*/ 422534 w 1887825"/>
                <a:gd name="connsiteY47" fmla="*/ 1166488 h 1694229"/>
                <a:gd name="connsiteX48" fmla="*/ 500581 w 1887825"/>
                <a:gd name="connsiteY48" fmla="*/ 1222951 h 1694229"/>
                <a:gd name="connsiteX49" fmla="*/ 572613 w 1887825"/>
                <a:gd name="connsiteY49" fmla="*/ 1255945 h 1694229"/>
                <a:gd name="connsiteX50" fmla="*/ 582731 w 1887825"/>
                <a:gd name="connsiteY50" fmla="*/ 1330966 h 1694229"/>
                <a:gd name="connsiteX51" fmla="*/ 651253 w 1887825"/>
                <a:gd name="connsiteY51" fmla="*/ 1450176 h 1694229"/>
                <a:gd name="connsiteX52" fmla="*/ 736741 w 1887825"/>
                <a:gd name="connsiteY52" fmla="*/ 1541202 h 1694229"/>
                <a:gd name="connsiteX53" fmla="*/ 786806 w 1887825"/>
                <a:gd name="connsiteY53" fmla="*/ 1491860 h 1694229"/>
                <a:gd name="connsiteX54" fmla="*/ 851396 w 1887825"/>
                <a:gd name="connsiteY54" fmla="*/ 1519257 h 1694229"/>
                <a:gd name="connsiteX55" fmla="*/ 905869 w 1887825"/>
                <a:gd name="connsiteY55" fmla="*/ 1487098 h 1694229"/>
                <a:gd name="connsiteX56" fmla="*/ 922716 w 1887825"/>
                <a:gd name="connsiteY56" fmla="*/ 1444922 h 1694229"/>
                <a:gd name="connsiteX57" fmla="*/ 986593 w 1887825"/>
                <a:gd name="connsiteY57" fmla="*/ 1531334 h 1694229"/>
                <a:gd name="connsiteX58" fmla="*/ 1031660 w 1887825"/>
                <a:gd name="connsiteY58" fmla="*/ 1602428 h 1694229"/>
                <a:gd name="connsiteX59" fmla="*/ 1101606 w 1887825"/>
                <a:gd name="connsiteY59" fmla="*/ 1693947 h 1694229"/>
                <a:gd name="connsiteX60" fmla="*/ 1132504 w 1887825"/>
                <a:gd name="connsiteY60" fmla="*/ 1630856 h 1694229"/>
                <a:gd name="connsiteX61" fmla="*/ 1163163 w 1887825"/>
                <a:gd name="connsiteY61" fmla="*/ 1624376 h 1694229"/>
                <a:gd name="connsiteX62" fmla="*/ 1206262 w 1887825"/>
                <a:gd name="connsiteY62" fmla="*/ 1653639 h 1694229"/>
                <a:gd name="connsiteX63" fmla="*/ 1239837 w 1887825"/>
                <a:gd name="connsiteY63" fmla="*/ 1612985 h 1694229"/>
                <a:gd name="connsiteX64" fmla="*/ 1258658 w 1887825"/>
                <a:gd name="connsiteY64" fmla="*/ 1617602 h 1694229"/>
                <a:gd name="connsiteX65" fmla="*/ 1292700 w 1887825"/>
                <a:gd name="connsiteY65" fmla="*/ 1684079 h 1694229"/>
                <a:gd name="connsiteX66" fmla="*/ 1349256 w 1887825"/>
                <a:gd name="connsiteY66" fmla="*/ 1660610 h 1694229"/>
                <a:gd name="connsiteX67" fmla="*/ 1401288 w 1887825"/>
                <a:gd name="connsiteY67" fmla="*/ 1604489 h 1694229"/>
                <a:gd name="connsiteX68" fmla="*/ 1452065 w 1887825"/>
                <a:gd name="connsiteY68" fmla="*/ 1587946 h 1694229"/>
                <a:gd name="connsiteX69" fmla="*/ 1469744 w 1887825"/>
                <a:gd name="connsiteY69" fmla="*/ 1643768 h 1694229"/>
                <a:gd name="connsiteX70" fmla="*/ 1539639 w 1887825"/>
                <a:gd name="connsiteY70" fmla="*/ 1618090 h 1694229"/>
                <a:gd name="connsiteX71" fmla="*/ 1570417 w 1887825"/>
                <a:gd name="connsiteY71" fmla="*/ 1531334 h 1694229"/>
                <a:gd name="connsiteX72" fmla="*/ 1651853 w 1887825"/>
                <a:gd name="connsiteY72" fmla="*/ 1441192 h 1694229"/>
                <a:gd name="connsiteX73" fmla="*/ 1696444 w 1887825"/>
                <a:gd name="connsiteY73" fmla="*/ 1410062 h 1694229"/>
                <a:gd name="connsiteX74" fmla="*/ 1724813 w 1887825"/>
                <a:gd name="connsiteY74" fmla="*/ 1413357 h 1694229"/>
                <a:gd name="connsiteX75" fmla="*/ 1814608 w 1887825"/>
                <a:gd name="connsiteY75" fmla="*/ 1402749 h 1694229"/>
                <a:gd name="connsiteX76" fmla="*/ 1812167 w 1887825"/>
                <a:gd name="connsiteY76" fmla="*/ 1466525 h 1694229"/>
                <a:gd name="connsiteX77" fmla="*/ 1884978 w 1887825"/>
                <a:gd name="connsiteY77" fmla="*/ 1492399 h 1694229"/>
                <a:gd name="connsiteX78" fmla="*/ 1871943 w 1887825"/>
                <a:gd name="connsiteY78" fmla="*/ 1454448 h 1694229"/>
                <a:gd name="connsiteX79" fmla="*/ 1861403 w 1887825"/>
                <a:gd name="connsiteY79" fmla="*/ 1401373 h 1694229"/>
                <a:gd name="connsiteX80" fmla="*/ 1863844 w 1887825"/>
                <a:gd name="connsiteY80" fmla="*/ 1326546 h 1694229"/>
                <a:gd name="connsiteX81" fmla="*/ 1797946 w 1887825"/>
                <a:gd name="connsiteY81" fmla="*/ 1305140 h 1694229"/>
                <a:gd name="connsiteX82" fmla="*/ 1747763 w 1887825"/>
                <a:gd name="connsiteY82" fmla="*/ 1264979 h 1694229"/>
                <a:gd name="connsiteX83" fmla="*/ 1737459 w 1887825"/>
                <a:gd name="connsiteY83" fmla="*/ 1176356 h 1694229"/>
                <a:gd name="connsiteX84" fmla="*/ 1704241 w 1887825"/>
                <a:gd name="connsiteY84" fmla="*/ 1038783 h 1694229"/>
                <a:gd name="connsiteX85" fmla="*/ 1627446 w 1887825"/>
                <a:gd name="connsiteY85" fmla="*/ 972257 h 1694229"/>
                <a:gd name="connsiteX86" fmla="*/ 1594228 w 1887825"/>
                <a:gd name="connsiteY86" fmla="*/ 917660 h 1694229"/>
                <a:gd name="connsiteX87" fmla="*/ 1544162 w 1887825"/>
                <a:gd name="connsiteY87" fmla="*/ 872587 h 1694229"/>
                <a:gd name="connsiteX88" fmla="*/ 1472251 w 1887825"/>
                <a:gd name="connsiteY88" fmla="*/ 845878 h 1694229"/>
                <a:gd name="connsiteX89" fmla="*/ 1449150 w 1887825"/>
                <a:gd name="connsiteY89" fmla="*/ 823245 h 1694229"/>
                <a:gd name="connsiteX90" fmla="*/ 1477013 w 1887825"/>
                <a:gd name="connsiteY90" fmla="*/ 784801 h 1694229"/>
                <a:gd name="connsiteX91" fmla="*/ 1458319 w 1887825"/>
                <a:gd name="connsiteY91" fmla="*/ 748910 h 1694229"/>
                <a:gd name="connsiteX92" fmla="*/ 1463081 w 1887825"/>
                <a:gd name="connsiteY92" fmla="*/ 725098 h 1694229"/>
                <a:gd name="connsiteX93" fmla="*/ 1488076 w 1887825"/>
                <a:gd name="connsiteY93" fmla="*/ 724035 h 1694229"/>
                <a:gd name="connsiteX94" fmla="*/ 1580416 w 1887825"/>
                <a:gd name="connsiteY94" fmla="*/ 740220 h 1694229"/>
                <a:gd name="connsiteX95" fmla="*/ 1615719 w 1887825"/>
                <a:gd name="connsiteY95" fmla="*/ 683758 h 1694229"/>
                <a:gd name="connsiteX96" fmla="*/ 1603753 w 1887825"/>
                <a:gd name="connsiteY96" fmla="*/ 553648 h 1694229"/>
                <a:gd name="connsiteX97" fmla="*/ 1620956 w 1887825"/>
                <a:gd name="connsiteY97" fmla="*/ 405322 h 169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1887825" h="1694229">
                  <a:moveTo>
                    <a:pt x="1620956" y="405322"/>
                  </a:moveTo>
                  <a:cubicBezTo>
                    <a:pt x="1611798" y="375160"/>
                    <a:pt x="1575873" y="382083"/>
                    <a:pt x="1548806" y="372673"/>
                  </a:cubicBezTo>
                  <a:cubicBezTo>
                    <a:pt x="1521740" y="363263"/>
                    <a:pt x="1482485" y="365676"/>
                    <a:pt x="1458557" y="348860"/>
                  </a:cubicBezTo>
                  <a:cubicBezTo>
                    <a:pt x="1434629" y="332044"/>
                    <a:pt x="1417974" y="301598"/>
                    <a:pt x="1405237" y="271776"/>
                  </a:cubicBezTo>
                  <a:cubicBezTo>
                    <a:pt x="1392500" y="241954"/>
                    <a:pt x="1391969" y="214915"/>
                    <a:pt x="1382136" y="169931"/>
                  </a:cubicBezTo>
                  <a:cubicBezTo>
                    <a:pt x="1372303" y="124947"/>
                    <a:pt x="1353688" y="-17918"/>
                    <a:pt x="1346239" y="1869"/>
                  </a:cubicBezTo>
                  <a:cubicBezTo>
                    <a:pt x="1338790" y="21656"/>
                    <a:pt x="1288585" y="9160"/>
                    <a:pt x="1278870" y="43567"/>
                  </a:cubicBezTo>
                  <a:cubicBezTo>
                    <a:pt x="1269155" y="77974"/>
                    <a:pt x="1274440" y="66798"/>
                    <a:pt x="1273302" y="101090"/>
                  </a:cubicBezTo>
                  <a:cubicBezTo>
                    <a:pt x="1272164" y="120063"/>
                    <a:pt x="1263302" y="135099"/>
                    <a:pt x="1257397" y="152303"/>
                  </a:cubicBezTo>
                  <a:cubicBezTo>
                    <a:pt x="1251492" y="169507"/>
                    <a:pt x="1241414" y="184077"/>
                    <a:pt x="1237872" y="204316"/>
                  </a:cubicBezTo>
                  <a:cubicBezTo>
                    <a:pt x="1234330" y="224555"/>
                    <a:pt x="1248595" y="260475"/>
                    <a:pt x="1236143" y="273739"/>
                  </a:cubicBezTo>
                  <a:cubicBezTo>
                    <a:pt x="1223691" y="287004"/>
                    <a:pt x="1198254" y="286979"/>
                    <a:pt x="1163162" y="283903"/>
                  </a:cubicBezTo>
                  <a:cubicBezTo>
                    <a:pt x="1128070" y="280827"/>
                    <a:pt x="1117468" y="275537"/>
                    <a:pt x="1098809" y="285917"/>
                  </a:cubicBezTo>
                  <a:cubicBezTo>
                    <a:pt x="1080150" y="296297"/>
                    <a:pt x="1069871" y="341249"/>
                    <a:pt x="1051208" y="346183"/>
                  </a:cubicBezTo>
                  <a:cubicBezTo>
                    <a:pt x="1037427" y="374095"/>
                    <a:pt x="1014466" y="369656"/>
                    <a:pt x="996593" y="371690"/>
                  </a:cubicBezTo>
                  <a:cubicBezTo>
                    <a:pt x="978720" y="373724"/>
                    <a:pt x="975412" y="370390"/>
                    <a:pt x="943969" y="358385"/>
                  </a:cubicBezTo>
                  <a:cubicBezTo>
                    <a:pt x="912526" y="346380"/>
                    <a:pt x="858849" y="362649"/>
                    <a:pt x="837229" y="376257"/>
                  </a:cubicBezTo>
                  <a:cubicBezTo>
                    <a:pt x="815609" y="389865"/>
                    <a:pt x="820924" y="423424"/>
                    <a:pt x="814246" y="440035"/>
                  </a:cubicBezTo>
                  <a:cubicBezTo>
                    <a:pt x="807568" y="456646"/>
                    <a:pt x="813682" y="466827"/>
                    <a:pt x="797163" y="475926"/>
                  </a:cubicBezTo>
                  <a:cubicBezTo>
                    <a:pt x="780644" y="485025"/>
                    <a:pt x="731772" y="500512"/>
                    <a:pt x="715132" y="494632"/>
                  </a:cubicBezTo>
                  <a:cubicBezTo>
                    <a:pt x="698492" y="488752"/>
                    <a:pt x="707599" y="453036"/>
                    <a:pt x="697320" y="440647"/>
                  </a:cubicBezTo>
                  <a:cubicBezTo>
                    <a:pt x="687041" y="428258"/>
                    <a:pt x="683319" y="423632"/>
                    <a:pt x="653456" y="420298"/>
                  </a:cubicBezTo>
                  <a:cubicBezTo>
                    <a:pt x="623593" y="416964"/>
                    <a:pt x="554672" y="416132"/>
                    <a:pt x="518140" y="420641"/>
                  </a:cubicBezTo>
                  <a:cubicBezTo>
                    <a:pt x="481608" y="425150"/>
                    <a:pt x="453779" y="447407"/>
                    <a:pt x="434263" y="447350"/>
                  </a:cubicBezTo>
                  <a:cubicBezTo>
                    <a:pt x="414747" y="447293"/>
                    <a:pt x="409756" y="435126"/>
                    <a:pt x="401044" y="420298"/>
                  </a:cubicBezTo>
                  <a:cubicBezTo>
                    <a:pt x="392332" y="405470"/>
                    <a:pt x="396281" y="377435"/>
                    <a:pt x="381994" y="358385"/>
                  </a:cubicBezTo>
                  <a:cubicBezTo>
                    <a:pt x="367706" y="339335"/>
                    <a:pt x="333962" y="327544"/>
                    <a:pt x="315319" y="305998"/>
                  </a:cubicBezTo>
                  <a:cubicBezTo>
                    <a:pt x="296676" y="284452"/>
                    <a:pt x="298223" y="237047"/>
                    <a:pt x="270134" y="229110"/>
                  </a:cubicBezTo>
                  <a:cubicBezTo>
                    <a:pt x="242045" y="221173"/>
                    <a:pt x="170517" y="239094"/>
                    <a:pt x="146784" y="258373"/>
                  </a:cubicBezTo>
                  <a:cubicBezTo>
                    <a:pt x="123051" y="277652"/>
                    <a:pt x="128002" y="319295"/>
                    <a:pt x="127734" y="344785"/>
                  </a:cubicBezTo>
                  <a:cubicBezTo>
                    <a:pt x="127466" y="370275"/>
                    <a:pt x="146840" y="394414"/>
                    <a:pt x="145174" y="411312"/>
                  </a:cubicBezTo>
                  <a:cubicBezTo>
                    <a:pt x="143508" y="428210"/>
                    <a:pt x="131040" y="435714"/>
                    <a:pt x="117735" y="446172"/>
                  </a:cubicBezTo>
                  <a:cubicBezTo>
                    <a:pt x="104431" y="456630"/>
                    <a:pt x="78762" y="468077"/>
                    <a:pt x="65347" y="474059"/>
                  </a:cubicBezTo>
                  <a:cubicBezTo>
                    <a:pt x="51932" y="480041"/>
                    <a:pt x="45590" y="474355"/>
                    <a:pt x="37246" y="482063"/>
                  </a:cubicBezTo>
                  <a:cubicBezTo>
                    <a:pt x="28902" y="489771"/>
                    <a:pt x="21244" y="495196"/>
                    <a:pt x="15281" y="520310"/>
                  </a:cubicBezTo>
                  <a:cubicBezTo>
                    <a:pt x="9318" y="545424"/>
                    <a:pt x="-4514" y="605136"/>
                    <a:pt x="1469" y="632745"/>
                  </a:cubicBezTo>
                  <a:cubicBezTo>
                    <a:pt x="7452" y="660354"/>
                    <a:pt x="33408" y="677833"/>
                    <a:pt x="51178" y="685967"/>
                  </a:cubicBezTo>
                  <a:cubicBezTo>
                    <a:pt x="68948" y="694101"/>
                    <a:pt x="100988" y="670574"/>
                    <a:pt x="108092" y="681547"/>
                  </a:cubicBezTo>
                  <a:cubicBezTo>
                    <a:pt x="115196" y="692520"/>
                    <a:pt x="87047" y="735022"/>
                    <a:pt x="93804" y="751806"/>
                  </a:cubicBezTo>
                  <a:cubicBezTo>
                    <a:pt x="100561" y="768590"/>
                    <a:pt x="127994" y="775472"/>
                    <a:pt x="148631" y="782248"/>
                  </a:cubicBezTo>
                  <a:cubicBezTo>
                    <a:pt x="169268" y="789024"/>
                    <a:pt x="200246" y="781430"/>
                    <a:pt x="217629" y="792460"/>
                  </a:cubicBezTo>
                  <a:cubicBezTo>
                    <a:pt x="235013" y="803491"/>
                    <a:pt x="247147" y="831591"/>
                    <a:pt x="252932" y="848431"/>
                  </a:cubicBezTo>
                  <a:cubicBezTo>
                    <a:pt x="258717" y="865271"/>
                    <a:pt x="248351" y="879412"/>
                    <a:pt x="252339" y="893503"/>
                  </a:cubicBezTo>
                  <a:cubicBezTo>
                    <a:pt x="256327" y="907594"/>
                    <a:pt x="265166" y="919967"/>
                    <a:pt x="276863" y="932978"/>
                  </a:cubicBezTo>
                  <a:cubicBezTo>
                    <a:pt x="288560" y="945989"/>
                    <a:pt x="300723" y="956096"/>
                    <a:pt x="322521" y="971570"/>
                  </a:cubicBezTo>
                  <a:cubicBezTo>
                    <a:pt x="344320" y="987044"/>
                    <a:pt x="387502" y="1004931"/>
                    <a:pt x="407654" y="1025822"/>
                  </a:cubicBezTo>
                  <a:cubicBezTo>
                    <a:pt x="427806" y="1046713"/>
                    <a:pt x="440951" y="1073471"/>
                    <a:pt x="443431" y="1096915"/>
                  </a:cubicBezTo>
                  <a:cubicBezTo>
                    <a:pt x="445911" y="1120359"/>
                    <a:pt x="413009" y="1145482"/>
                    <a:pt x="422534" y="1166488"/>
                  </a:cubicBezTo>
                  <a:cubicBezTo>
                    <a:pt x="432059" y="1187494"/>
                    <a:pt x="475568" y="1208042"/>
                    <a:pt x="500581" y="1222951"/>
                  </a:cubicBezTo>
                  <a:cubicBezTo>
                    <a:pt x="525594" y="1237860"/>
                    <a:pt x="558921" y="1237943"/>
                    <a:pt x="572613" y="1255945"/>
                  </a:cubicBezTo>
                  <a:cubicBezTo>
                    <a:pt x="586305" y="1273947"/>
                    <a:pt x="579387" y="1290935"/>
                    <a:pt x="582731" y="1330966"/>
                  </a:cubicBezTo>
                  <a:cubicBezTo>
                    <a:pt x="586075" y="1370997"/>
                    <a:pt x="625585" y="1415137"/>
                    <a:pt x="651253" y="1450176"/>
                  </a:cubicBezTo>
                  <a:cubicBezTo>
                    <a:pt x="676921" y="1485215"/>
                    <a:pt x="714149" y="1534255"/>
                    <a:pt x="736741" y="1541202"/>
                  </a:cubicBezTo>
                  <a:cubicBezTo>
                    <a:pt x="759333" y="1548149"/>
                    <a:pt x="767697" y="1495518"/>
                    <a:pt x="786806" y="1491860"/>
                  </a:cubicBezTo>
                  <a:cubicBezTo>
                    <a:pt x="805915" y="1488203"/>
                    <a:pt x="831552" y="1520051"/>
                    <a:pt x="851396" y="1519257"/>
                  </a:cubicBezTo>
                  <a:cubicBezTo>
                    <a:pt x="871240" y="1518463"/>
                    <a:pt x="893982" y="1499487"/>
                    <a:pt x="905869" y="1487098"/>
                  </a:cubicBezTo>
                  <a:cubicBezTo>
                    <a:pt x="917756" y="1474709"/>
                    <a:pt x="877533" y="1437549"/>
                    <a:pt x="922716" y="1444922"/>
                  </a:cubicBezTo>
                  <a:cubicBezTo>
                    <a:pt x="967899" y="1452295"/>
                    <a:pt x="978199" y="1487211"/>
                    <a:pt x="986593" y="1531334"/>
                  </a:cubicBezTo>
                  <a:cubicBezTo>
                    <a:pt x="994987" y="1575457"/>
                    <a:pt x="997847" y="1588092"/>
                    <a:pt x="1031660" y="1602428"/>
                  </a:cubicBezTo>
                  <a:cubicBezTo>
                    <a:pt x="1065473" y="1616764"/>
                    <a:pt x="1084799" y="1689209"/>
                    <a:pt x="1101606" y="1693947"/>
                  </a:cubicBezTo>
                  <a:cubicBezTo>
                    <a:pt x="1118413" y="1698685"/>
                    <a:pt x="1122245" y="1642451"/>
                    <a:pt x="1132504" y="1630856"/>
                  </a:cubicBezTo>
                  <a:cubicBezTo>
                    <a:pt x="1142764" y="1619261"/>
                    <a:pt x="1150870" y="1620579"/>
                    <a:pt x="1163163" y="1624376"/>
                  </a:cubicBezTo>
                  <a:cubicBezTo>
                    <a:pt x="1175456" y="1628173"/>
                    <a:pt x="1193483" y="1655537"/>
                    <a:pt x="1206262" y="1653639"/>
                  </a:cubicBezTo>
                  <a:cubicBezTo>
                    <a:pt x="1219041" y="1651741"/>
                    <a:pt x="1231104" y="1618991"/>
                    <a:pt x="1239837" y="1612985"/>
                  </a:cubicBezTo>
                  <a:cubicBezTo>
                    <a:pt x="1248570" y="1606979"/>
                    <a:pt x="1249848" y="1605753"/>
                    <a:pt x="1258658" y="1617602"/>
                  </a:cubicBezTo>
                  <a:cubicBezTo>
                    <a:pt x="1267468" y="1629451"/>
                    <a:pt x="1277600" y="1676911"/>
                    <a:pt x="1292700" y="1684079"/>
                  </a:cubicBezTo>
                  <a:cubicBezTo>
                    <a:pt x="1307800" y="1691247"/>
                    <a:pt x="1331158" y="1673875"/>
                    <a:pt x="1349256" y="1660610"/>
                  </a:cubicBezTo>
                  <a:cubicBezTo>
                    <a:pt x="1367354" y="1647345"/>
                    <a:pt x="1384153" y="1616600"/>
                    <a:pt x="1401288" y="1604489"/>
                  </a:cubicBezTo>
                  <a:cubicBezTo>
                    <a:pt x="1418423" y="1592378"/>
                    <a:pt x="1440656" y="1581400"/>
                    <a:pt x="1452065" y="1587946"/>
                  </a:cubicBezTo>
                  <a:cubicBezTo>
                    <a:pt x="1463474" y="1594493"/>
                    <a:pt x="1455148" y="1638744"/>
                    <a:pt x="1469744" y="1643768"/>
                  </a:cubicBezTo>
                  <a:cubicBezTo>
                    <a:pt x="1484340" y="1648792"/>
                    <a:pt x="1522860" y="1636829"/>
                    <a:pt x="1539639" y="1618090"/>
                  </a:cubicBezTo>
                  <a:cubicBezTo>
                    <a:pt x="1556418" y="1599351"/>
                    <a:pt x="1551715" y="1560817"/>
                    <a:pt x="1570417" y="1531334"/>
                  </a:cubicBezTo>
                  <a:cubicBezTo>
                    <a:pt x="1589119" y="1501851"/>
                    <a:pt x="1630849" y="1461404"/>
                    <a:pt x="1651853" y="1441192"/>
                  </a:cubicBezTo>
                  <a:cubicBezTo>
                    <a:pt x="1672857" y="1420980"/>
                    <a:pt x="1684284" y="1414701"/>
                    <a:pt x="1696444" y="1410062"/>
                  </a:cubicBezTo>
                  <a:cubicBezTo>
                    <a:pt x="1708604" y="1405423"/>
                    <a:pt x="1715288" y="1414151"/>
                    <a:pt x="1724813" y="1413357"/>
                  </a:cubicBezTo>
                  <a:cubicBezTo>
                    <a:pt x="1734338" y="1412563"/>
                    <a:pt x="1800049" y="1393888"/>
                    <a:pt x="1814608" y="1402749"/>
                  </a:cubicBezTo>
                  <a:cubicBezTo>
                    <a:pt x="1829167" y="1411610"/>
                    <a:pt x="1800439" y="1451583"/>
                    <a:pt x="1812167" y="1466525"/>
                  </a:cubicBezTo>
                  <a:cubicBezTo>
                    <a:pt x="1823895" y="1481467"/>
                    <a:pt x="1875015" y="1494412"/>
                    <a:pt x="1884978" y="1492399"/>
                  </a:cubicBezTo>
                  <a:cubicBezTo>
                    <a:pt x="1894941" y="1490386"/>
                    <a:pt x="1875872" y="1469619"/>
                    <a:pt x="1871943" y="1454448"/>
                  </a:cubicBezTo>
                  <a:cubicBezTo>
                    <a:pt x="1868014" y="1439277"/>
                    <a:pt x="1862753" y="1422690"/>
                    <a:pt x="1861403" y="1401373"/>
                  </a:cubicBezTo>
                  <a:cubicBezTo>
                    <a:pt x="1860053" y="1380056"/>
                    <a:pt x="1874420" y="1342585"/>
                    <a:pt x="1863844" y="1326546"/>
                  </a:cubicBezTo>
                  <a:cubicBezTo>
                    <a:pt x="1853268" y="1310507"/>
                    <a:pt x="1817293" y="1315401"/>
                    <a:pt x="1797946" y="1305140"/>
                  </a:cubicBezTo>
                  <a:cubicBezTo>
                    <a:pt x="1778599" y="1294879"/>
                    <a:pt x="1757844" y="1286443"/>
                    <a:pt x="1747763" y="1264979"/>
                  </a:cubicBezTo>
                  <a:cubicBezTo>
                    <a:pt x="1737682" y="1243515"/>
                    <a:pt x="1744713" y="1214055"/>
                    <a:pt x="1737459" y="1176356"/>
                  </a:cubicBezTo>
                  <a:cubicBezTo>
                    <a:pt x="1730205" y="1138657"/>
                    <a:pt x="1722576" y="1072799"/>
                    <a:pt x="1704241" y="1038783"/>
                  </a:cubicBezTo>
                  <a:cubicBezTo>
                    <a:pt x="1685906" y="1004767"/>
                    <a:pt x="1645781" y="992444"/>
                    <a:pt x="1627446" y="972257"/>
                  </a:cubicBezTo>
                  <a:cubicBezTo>
                    <a:pt x="1609111" y="952070"/>
                    <a:pt x="1608109" y="934272"/>
                    <a:pt x="1594228" y="917660"/>
                  </a:cubicBezTo>
                  <a:cubicBezTo>
                    <a:pt x="1580347" y="901048"/>
                    <a:pt x="1564491" y="884551"/>
                    <a:pt x="1544162" y="872587"/>
                  </a:cubicBezTo>
                  <a:cubicBezTo>
                    <a:pt x="1523833" y="860623"/>
                    <a:pt x="1488086" y="854102"/>
                    <a:pt x="1472251" y="845878"/>
                  </a:cubicBezTo>
                  <a:cubicBezTo>
                    <a:pt x="1456416" y="837654"/>
                    <a:pt x="1448356" y="833425"/>
                    <a:pt x="1449150" y="823245"/>
                  </a:cubicBezTo>
                  <a:cubicBezTo>
                    <a:pt x="1449944" y="813066"/>
                    <a:pt x="1475485" y="797190"/>
                    <a:pt x="1477013" y="784801"/>
                  </a:cubicBezTo>
                  <a:cubicBezTo>
                    <a:pt x="1478541" y="772412"/>
                    <a:pt x="1460641" y="758860"/>
                    <a:pt x="1458319" y="748910"/>
                  </a:cubicBezTo>
                  <a:cubicBezTo>
                    <a:pt x="1455997" y="738960"/>
                    <a:pt x="1458122" y="729244"/>
                    <a:pt x="1463081" y="725098"/>
                  </a:cubicBezTo>
                  <a:cubicBezTo>
                    <a:pt x="1468040" y="720952"/>
                    <a:pt x="1472995" y="717685"/>
                    <a:pt x="1488076" y="724035"/>
                  </a:cubicBezTo>
                  <a:cubicBezTo>
                    <a:pt x="1503157" y="730385"/>
                    <a:pt x="1559142" y="746933"/>
                    <a:pt x="1580416" y="740220"/>
                  </a:cubicBezTo>
                  <a:cubicBezTo>
                    <a:pt x="1601690" y="733507"/>
                    <a:pt x="1608575" y="718683"/>
                    <a:pt x="1615719" y="683758"/>
                  </a:cubicBezTo>
                  <a:cubicBezTo>
                    <a:pt x="1622863" y="648833"/>
                    <a:pt x="1602880" y="600054"/>
                    <a:pt x="1603753" y="553648"/>
                  </a:cubicBezTo>
                  <a:cubicBezTo>
                    <a:pt x="1604626" y="507242"/>
                    <a:pt x="1630114" y="435484"/>
                    <a:pt x="1620956" y="405322"/>
                  </a:cubicBezTo>
                  <a:close/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chemeClr val="tx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934" name="Freeform 83">
              <a:extLst>
                <a:ext uri="{FF2B5EF4-FFF2-40B4-BE49-F238E27FC236}">
                  <a16:creationId xmlns:a16="http://schemas.microsoft.com/office/drawing/2014/main" id="{4C2E493A-C928-1EB1-C99E-24C8FEA303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75254" y="4039603"/>
              <a:ext cx="411739" cy="423486"/>
            </a:xfrm>
            <a:custGeom>
              <a:avLst/>
              <a:gdLst>
                <a:gd name="connsiteX0" fmla="*/ 3440 w 9933"/>
                <a:gd name="connsiteY0" fmla="*/ 9133 h 9898"/>
                <a:gd name="connsiteX1" fmla="*/ 4037 w 9933"/>
                <a:gd name="connsiteY1" fmla="*/ 9439 h 9898"/>
                <a:gd name="connsiteX2" fmla="*/ 4485 w 9933"/>
                <a:gd name="connsiteY2" fmla="*/ 9337 h 9898"/>
                <a:gd name="connsiteX3" fmla="*/ 5381 w 9933"/>
                <a:gd name="connsiteY3" fmla="*/ 9898 h 9898"/>
                <a:gd name="connsiteX4" fmla="*/ 5829 w 9933"/>
                <a:gd name="connsiteY4" fmla="*/ 9745 h 9898"/>
                <a:gd name="connsiteX5" fmla="*/ 6052 w 9933"/>
                <a:gd name="connsiteY5" fmla="*/ 9847 h 9898"/>
                <a:gd name="connsiteX6" fmla="*/ 6724 w 9933"/>
                <a:gd name="connsiteY6" fmla="*/ 9643 h 9898"/>
                <a:gd name="connsiteX7" fmla="*/ 6873 w 9933"/>
                <a:gd name="connsiteY7" fmla="*/ 9745 h 9898"/>
                <a:gd name="connsiteX8" fmla="*/ 7172 w 9933"/>
                <a:gd name="connsiteY8" fmla="*/ 9490 h 9898"/>
                <a:gd name="connsiteX9" fmla="*/ 7620 w 9933"/>
                <a:gd name="connsiteY9" fmla="*/ 9184 h 9898"/>
                <a:gd name="connsiteX10" fmla="*/ 8142 w 9933"/>
                <a:gd name="connsiteY10" fmla="*/ 9184 h 9898"/>
                <a:gd name="connsiteX11" fmla="*/ 8366 w 9933"/>
                <a:gd name="connsiteY11" fmla="*/ 9337 h 9898"/>
                <a:gd name="connsiteX12" fmla="*/ 8217 w 9933"/>
                <a:gd name="connsiteY12" fmla="*/ 8929 h 9898"/>
                <a:gd name="connsiteX13" fmla="*/ 7769 w 9933"/>
                <a:gd name="connsiteY13" fmla="*/ 8469 h 9898"/>
                <a:gd name="connsiteX14" fmla="*/ 7321 w 9933"/>
                <a:gd name="connsiteY14" fmla="*/ 8010 h 9898"/>
                <a:gd name="connsiteX15" fmla="*/ 6724 w 9933"/>
                <a:gd name="connsiteY15" fmla="*/ 7602 h 9898"/>
                <a:gd name="connsiteX16" fmla="*/ 7097 w 9933"/>
                <a:gd name="connsiteY16" fmla="*/ 7449 h 9898"/>
                <a:gd name="connsiteX17" fmla="*/ 7396 w 9933"/>
                <a:gd name="connsiteY17" fmla="*/ 6633 h 9898"/>
                <a:gd name="connsiteX18" fmla="*/ 7396 w 9933"/>
                <a:gd name="connsiteY18" fmla="*/ 6276 h 9898"/>
                <a:gd name="connsiteX19" fmla="*/ 7769 w 9933"/>
                <a:gd name="connsiteY19" fmla="*/ 6276 h 9898"/>
                <a:gd name="connsiteX20" fmla="*/ 7993 w 9933"/>
                <a:gd name="connsiteY20" fmla="*/ 5612 h 9898"/>
                <a:gd name="connsiteX21" fmla="*/ 8590 w 9933"/>
                <a:gd name="connsiteY21" fmla="*/ 5204 h 9898"/>
                <a:gd name="connsiteX22" fmla="*/ 8814 w 9933"/>
                <a:gd name="connsiteY22" fmla="*/ 4439 h 9898"/>
                <a:gd name="connsiteX23" fmla="*/ 8664 w 9933"/>
                <a:gd name="connsiteY23" fmla="*/ 4031 h 9898"/>
                <a:gd name="connsiteX24" fmla="*/ 9037 w 9933"/>
                <a:gd name="connsiteY24" fmla="*/ 3163 h 9898"/>
                <a:gd name="connsiteX25" fmla="*/ 9336 w 9933"/>
                <a:gd name="connsiteY25" fmla="*/ 2908 h 9898"/>
                <a:gd name="connsiteX26" fmla="*/ 9933 w 9933"/>
                <a:gd name="connsiteY26" fmla="*/ 2500 h 9898"/>
                <a:gd name="connsiteX27" fmla="*/ 9709 w 9933"/>
                <a:gd name="connsiteY27" fmla="*/ 2449 h 9898"/>
                <a:gd name="connsiteX28" fmla="*/ 9336 w 9933"/>
                <a:gd name="connsiteY28" fmla="*/ 2194 h 9898"/>
                <a:gd name="connsiteX29" fmla="*/ 9112 w 9933"/>
                <a:gd name="connsiteY29" fmla="*/ 1429 h 9898"/>
                <a:gd name="connsiteX30" fmla="*/ 9112 w 9933"/>
                <a:gd name="connsiteY30" fmla="*/ 1020 h 9898"/>
                <a:gd name="connsiteX31" fmla="*/ 9037 w 9933"/>
                <a:gd name="connsiteY31" fmla="*/ 510 h 9898"/>
                <a:gd name="connsiteX32" fmla="*/ 8814 w 9933"/>
                <a:gd name="connsiteY32" fmla="*/ 357 h 9898"/>
                <a:gd name="connsiteX33" fmla="*/ 8440 w 9933"/>
                <a:gd name="connsiteY33" fmla="*/ 153 h 9898"/>
                <a:gd name="connsiteX34" fmla="*/ 8217 w 9933"/>
                <a:gd name="connsiteY34" fmla="*/ 0 h 9898"/>
                <a:gd name="connsiteX35" fmla="*/ 7769 w 9933"/>
                <a:gd name="connsiteY35" fmla="*/ 204 h 9898"/>
                <a:gd name="connsiteX36" fmla="*/ 7321 w 9933"/>
                <a:gd name="connsiteY36" fmla="*/ 510 h 9898"/>
                <a:gd name="connsiteX37" fmla="*/ 6724 w 9933"/>
                <a:gd name="connsiteY37" fmla="*/ 510 h 9898"/>
                <a:gd name="connsiteX38" fmla="*/ 5679 w 9933"/>
                <a:gd name="connsiteY38" fmla="*/ 510 h 9898"/>
                <a:gd name="connsiteX39" fmla="*/ 5679 w 9933"/>
                <a:gd name="connsiteY39" fmla="*/ 459 h 9898"/>
                <a:gd name="connsiteX40" fmla="*/ 5605 w 9933"/>
                <a:gd name="connsiteY40" fmla="*/ 510 h 9898"/>
                <a:gd name="connsiteX41" fmla="*/ 1948 w 9933"/>
                <a:gd name="connsiteY41" fmla="*/ 510 h 9898"/>
                <a:gd name="connsiteX42" fmla="*/ 1948 w 9933"/>
                <a:gd name="connsiteY42" fmla="*/ 1582 h 9898"/>
                <a:gd name="connsiteX43" fmla="*/ 1276 w 9933"/>
                <a:gd name="connsiteY43" fmla="*/ 1582 h 9898"/>
                <a:gd name="connsiteX44" fmla="*/ 1276 w 9933"/>
                <a:gd name="connsiteY44" fmla="*/ 1786 h 9898"/>
                <a:gd name="connsiteX45" fmla="*/ 1276 w 9933"/>
                <a:gd name="connsiteY45" fmla="*/ 3622 h 9898"/>
                <a:gd name="connsiteX46" fmla="*/ 1127 w 9933"/>
                <a:gd name="connsiteY46" fmla="*/ 3724 h 9898"/>
                <a:gd name="connsiteX47" fmla="*/ 679 w 9933"/>
                <a:gd name="connsiteY47" fmla="*/ 3929 h 9898"/>
                <a:gd name="connsiteX48" fmla="*/ 605 w 9933"/>
                <a:gd name="connsiteY48" fmla="*/ 4184 h 9898"/>
                <a:gd name="connsiteX49" fmla="*/ 381 w 9933"/>
                <a:gd name="connsiteY49" fmla="*/ 4439 h 9898"/>
                <a:gd name="connsiteX50" fmla="*/ 232 w 9933"/>
                <a:gd name="connsiteY50" fmla="*/ 4847 h 9898"/>
                <a:gd name="connsiteX51" fmla="*/ 8 w 9933"/>
                <a:gd name="connsiteY51" fmla="*/ 5306 h 9898"/>
                <a:gd name="connsiteX52" fmla="*/ 381 w 9933"/>
                <a:gd name="connsiteY52" fmla="*/ 5357 h 9898"/>
                <a:gd name="connsiteX53" fmla="*/ 455 w 9933"/>
                <a:gd name="connsiteY53" fmla="*/ 5765 h 9898"/>
                <a:gd name="connsiteX54" fmla="*/ 679 w 9933"/>
                <a:gd name="connsiteY54" fmla="*/ 6173 h 9898"/>
                <a:gd name="connsiteX55" fmla="*/ 1052 w 9933"/>
                <a:gd name="connsiteY55" fmla="*/ 6990 h 9898"/>
                <a:gd name="connsiteX56" fmla="*/ 1351 w 9933"/>
                <a:gd name="connsiteY56" fmla="*/ 7347 h 9898"/>
                <a:gd name="connsiteX57" fmla="*/ 1948 w 9933"/>
                <a:gd name="connsiteY57" fmla="*/ 7602 h 9898"/>
                <a:gd name="connsiteX58" fmla="*/ 2321 w 9933"/>
                <a:gd name="connsiteY58" fmla="*/ 8010 h 9898"/>
                <a:gd name="connsiteX59" fmla="*/ 2769 w 9933"/>
                <a:gd name="connsiteY59" fmla="*/ 8418 h 9898"/>
                <a:gd name="connsiteX60" fmla="*/ 3067 w 9933"/>
                <a:gd name="connsiteY60" fmla="*/ 8724 h 9898"/>
                <a:gd name="connsiteX61" fmla="*/ 3440 w 9933"/>
                <a:gd name="connsiteY61" fmla="*/ 9133 h 9898"/>
                <a:gd name="connsiteX0" fmla="*/ 3463 w 10000"/>
                <a:gd name="connsiteY0" fmla="*/ 9227 h 10000"/>
                <a:gd name="connsiteX1" fmla="*/ 4064 w 10000"/>
                <a:gd name="connsiteY1" fmla="*/ 9536 h 10000"/>
                <a:gd name="connsiteX2" fmla="*/ 4515 w 10000"/>
                <a:gd name="connsiteY2" fmla="*/ 9433 h 10000"/>
                <a:gd name="connsiteX3" fmla="*/ 5417 w 10000"/>
                <a:gd name="connsiteY3" fmla="*/ 10000 h 10000"/>
                <a:gd name="connsiteX4" fmla="*/ 5868 w 10000"/>
                <a:gd name="connsiteY4" fmla="*/ 9845 h 10000"/>
                <a:gd name="connsiteX5" fmla="*/ 6093 w 10000"/>
                <a:gd name="connsiteY5" fmla="*/ 9948 h 10000"/>
                <a:gd name="connsiteX6" fmla="*/ 6769 w 10000"/>
                <a:gd name="connsiteY6" fmla="*/ 9742 h 10000"/>
                <a:gd name="connsiteX7" fmla="*/ 6919 w 10000"/>
                <a:gd name="connsiteY7" fmla="*/ 9845 h 10000"/>
                <a:gd name="connsiteX8" fmla="*/ 7220 w 10000"/>
                <a:gd name="connsiteY8" fmla="*/ 9588 h 10000"/>
                <a:gd name="connsiteX9" fmla="*/ 7671 w 10000"/>
                <a:gd name="connsiteY9" fmla="*/ 9279 h 10000"/>
                <a:gd name="connsiteX10" fmla="*/ 8197 w 10000"/>
                <a:gd name="connsiteY10" fmla="*/ 9279 h 10000"/>
                <a:gd name="connsiteX11" fmla="*/ 8422 w 10000"/>
                <a:gd name="connsiteY11" fmla="*/ 9433 h 10000"/>
                <a:gd name="connsiteX12" fmla="*/ 8272 w 10000"/>
                <a:gd name="connsiteY12" fmla="*/ 9021 h 10000"/>
                <a:gd name="connsiteX13" fmla="*/ 7821 w 10000"/>
                <a:gd name="connsiteY13" fmla="*/ 8556 h 10000"/>
                <a:gd name="connsiteX14" fmla="*/ 7370 w 10000"/>
                <a:gd name="connsiteY14" fmla="*/ 8093 h 10000"/>
                <a:gd name="connsiteX15" fmla="*/ 6769 w 10000"/>
                <a:gd name="connsiteY15" fmla="*/ 7680 h 10000"/>
                <a:gd name="connsiteX16" fmla="*/ 7145 w 10000"/>
                <a:gd name="connsiteY16" fmla="*/ 7526 h 10000"/>
                <a:gd name="connsiteX17" fmla="*/ 7446 w 10000"/>
                <a:gd name="connsiteY17" fmla="*/ 6701 h 10000"/>
                <a:gd name="connsiteX18" fmla="*/ 7446 w 10000"/>
                <a:gd name="connsiteY18" fmla="*/ 6341 h 10000"/>
                <a:gd name="connsiteX19" fmla="*/ 7821 w 10000"/>
                <a:gd name="connsiteY19" fmla="*/ 6341 h 10000"/>
                <a:gd name="connsiteX20" fmla="*/ 8047 w 10000"/>
                <a:gd name="connsiteY20" fmla="*/ 5670 h 10000"/>
                <a:gd name="connsiteX21" fmla="*/ 8648 w 10000"/>
                <a:gd name="connsiteY21" fmla="*/ 5258 h 10000"/>
                <a:gd name="connsiteX22" fmla="*/ 8873 w 10000"/>
                <a:gd name="connsiteY22" fmla="*/ 4485 h 10000"/>
                <a:gd name="connsiteX23" fmla="*/ 8722 w 10000"/>
                <a:gd name="connsiteY23" fmla="*/ 4073 h 10000"/>
                <a:gd name="connsiteX24" fmla="*/ 9098 w 10000"/>
                <a:gd name="connsiteY24" fmla="*/ 3196 h 10000"/>
                <a:gd name="connsiteX25" fmla="*/ 9399 w 10000"/>
                <a:gd name="connsiteY25" fmla="*/ 2938 h 10000"/>
                <a:gd name="connsiteX26" fmla="*/ 10000 w 10000"/>
                <a:gd name="connsiteY26" fmla="*/ 2526 h 10000"/>
                <a:gd name="connsiteX27" fmla="*/ 9774 w 10000"/>
                <a:gd name="connsiteY27" fmla="*/ 2474 h 10000"/>
                <a:gd name="connsiteX28" fmla="*/ 9399 w 10000"/>
                <a:gd name="connsiteY28" fmla="*/ 2217 h 10000"/>
                <a:gd name="connsiteX29" fmla="*/ 9173 w 10000"/>
                <a:gd name="connsiteY29" fmla="*/ 1444 h 10000"/>
                <a:gd name="connsiteX30" fmla="*/ 9173 w 10000"/>
                <a:gd name="connsiteY30" fmla="*/ 1031 h 10000"/>
                <a:gd name="connsiteX31" fmla="*/ 9098 w 10000"/>
                <a:gd name="connsiteY31" fmla="*/ 515 h 10000"/>
                <a:gd name="connsiteX32" fmla="*/ 8873 w 10000"/>
                <a:gd name="connsiteY32" fmla="*/ 361 h 10000"/>
                <a:gd name="connsiteX33" fmla="*/ 8497 w 10000"/>
                <a:gd name="connsiteY33" fmla="*/ 155 h 10000"/>
                <a:gd name="connsiteX34" fmla="*/ 8272 w 10000"/>
                <a:gd name="connsiteY34" fmla="*/ 0 h 10000"/>
                <a:gd name="connsiteX35" fmla="*/ 7821 w 10000"/>
                <a:gd name="connsiteY35" fmla="*/ 206 h 10000"/>
                <a:gd name="connsiteX36" fmla="*/ 7370 w 10000"/>
                <a:gd name="connsiteY36" fmla="*/ 515 h 10000"/>
                <a:gd name="connsiteX37" fmla="*/ 6769 w 10000"/>
                <a:gd name="connsiteY37" fmla="*/ 515 h 10000"/>
                <a:gd name="connsiteX38" fmla="*/ 5717 w 10000"/>
                <a:gd name="connsiteY38" fmla="*/ 515 h 10000"/>
                <a:gd name="connsiteX39" fmla="*/ 5717 w 10000"/>
                <a:gd name="connsiteY39" fmla="*/ 464 h 10000"/>
                <a:gd name="connsiteX40" fmla="*/ 5643 w 10000"/>
                <a:gd name="connsiteY40" fmla="*/ 515 h 10000"/>
                <a:gd name="connsiteX41" fmla="*/ 1961 w 10000"/>
                <a:gd name="connsiteY41" fmla="*/ 515 h 10000"/>
                <a:gd name="connsiteX42" fmla="*/ 1961 w 10000"/>
                <a:gd name="connsiteY42" fmla="*/ 1598 h 10000"/>
                <a:gd name="connsiteX43" fmla="*/ 1285 w 10000"/>
                <a:gd name="connsiteY43" fmla="*/ 1598 h 10000"/>
                <a:gd name="connsiteX44" fmla="*/ 1285 w 10000"/>
                <a:gd name="connsiteY44" fmla="*/ 1804 h 10000"/>
                <a:gd name="connsiteX45" fmla="*/ 1285 w 10000"/>
                <a:gd name="connsiteY45" fmla="*/ 3659 h 10000"/>
                <a:gd name="connsiteX46" fmla="*/ 1135 w 10000"/>
                <a:gd name="connsiteY46" fmla="*/ 3762 h 10000"/>
                <a:gd name="connsiteX47" fmla="*/ 684 w 10000"/>
                <a:gd name="connsiteY47" fmla="*/ 3969 h 10000"/>
                <a:gd name="connsiteX48" fmla="*/ 609 w 10000"/>
                <a:gd name="connsiteY48" fmla="*/ 4227 h 10000"/>
                <a:gd name="connsiteX49" fmla="*/ 384 w 10000"/>
                <a:gd name="connsiteY49" fmla="*/ 4485 h 10000"/>
                <a:gd name="connsiteX50" fmla="*/ 234 w 10000"/>
                <a:gd name="connsiteY50" fmla="*/ 4897 h 10000"/>
                <a:gd name="connsiteX51" fmla="*/ 8 w 10000"/>
                <a:gd name="connsiteY51" fmla="*/ 5361 h 10000"/>
                <a:gd name="connsiteX52" fmla="*/ 384 w 10000"/>
                <a:gd name="connsiteY52" fmla="*/ 5412 h 10000"/>
                <a:gd name="connsiteX53" fmla="*/ 458 w 10000"/>
                <a:gd name="connsiteY53" fmla="*/ 5824 h 10000"/>
                <a:gd name="connsiteX54" fmla="*/ 684 w 10000"/>
                <a:gd name="connsiteY54" fmla="*/ 6237 h 10000"/>
                <a:gd name="connsiteX55" fmla="*/ 1059 w 10000"/>
                <a:gd name="connsiteY55" fmla="*/ 7062 h 10000"/>
                <a:gd name="connsiteX56" fmla="*/ 1961 w 10000"/>
                <a:gd name="connsiteY56" fmla="*/ 7680 h 10000"/>
                <a:gd name="connsiteX57" fmla="*/ 2337 w 10000"/>
                <a:gd name="connsiteY57" fmla="*/ 8093 h 10000"/>
                <a:gd name="connsiteX58" fmla="*/ 2788 w 10000"/>
                <a:gd name="connsiteY58" fmla="*/ 8505 h 10000"/>
                <a:gd name="connsiteX59" fmla="*/ 3088 w 10000"/>
                <a:gd name="connsiteY59" fmla="*/ 8814 h 10000"/>
                <a:gd name="connsiteX60" fmla="*/ 3463 w 10000"/>
                <a:gd name="connsiteY60" fmla="*/ 9227 h 10000"/>
                <a:gd name="connsiteX0" fmla="*/ 3463 w 10000"/>
                <a:gd name="connsiteY0" fmla="*/ 9227 h 10000"/>
                <a:gd name="connsiteX1" fmla="*/ 4064 w 10000"/>
                <a:gd name="connsiteY1" fmla="*/ 9536 h 10000"/>
                <a:gd name="connsiteX2" fmla="*/ 4515 w 10000"/>
                <a:gd name="connsiteY2" fmla="*/ 9433 h 10000"/>
                <a:gd name="connsiteX3" fmla="*/ 5417 w 10000"/>
                <a:gd name="connsiteY3" fmla="*/ 10000 h 10000"/>
                <a:gd name="connsiteX4" fmla="*/ 5868 w 10000"/>
                <a:gd name="connsiteY4" fmla="*/ 9845 h 10000"/>
                <a:gd name="connsiteX5" fmla="*/ 6093 w 10000"/>
                <a:gd name="connsiteY5" fmla="*/ 9948 h 10000"/>
                <a:gd name="connsiteX6" fmla="*/ 6769 w 10000"/>
                <a:gd name="connsiteY6" fmla="*/ 9742 h 10000"/>
                <a:gd name="connsiteX7" fmla="*/ 6919 w 10000"/>
                <a:gd name="connsiteY7" fmla="*/ 9845 h 10000"/>
                <a:gd name="connsiteX8" fmla="*/ 7220 w 10000"/>
                <a:gd name="connsiteY8" fmla="*/ 9588 h 10000"/>
                <a:gd name="connsiteX9" fmla="*/ 7671 w 10000"/>
                <a:gd name="connsiteY9" fmla="*/ 9279 h 10000"/>
                <a:gd name="connsiteX10" fmla="*/ 8197 w 10000"/>
                <a:gd name="connsiteY10" fmla="*/ 9279 h 10000"/>
                <a:gd name="connsiteX11" fmla="*/ 8422 w 10000"/>
                <a:gd name="connsiteY11" fmla="*/ 9433 h 10000"/>
                <a:gd name="connsiteX12" fmla="*/ 8272 w 10000"/>
                <a:gd name="connsiteY12" fmla="*/ 9021 h 10000"/>
                <a:gd name="connsiteX13" fmla="*/ 7821 w 10000"/>
                <a:gd name="connsiteY13" fmla="*/ 8556 h 10000"/>
                <a:gd name="connsiteX14" fmla="*/ 7370 w 10000"/>
                <a:gd name="connsiteY14" fmla="*/ 8093 h 10000"/>
                <a:gd name="connsiteX15" fmla="*/ 6769 w 10000"/>
                <a:gd name="connsiteY15" fmla="*/ 7680 h 10000"/>
                <a:gd name="connsiteX16" fmla="*/ 7145 w 10000"/>
                <a:gd name="connsiteY16" fmla="*/ 7526 h 10000"/>
                <a:gd name="connsiteX17" fmla="*/ 7446 w 10000"/>
                <a:gd name="connsiteY17" fmla="*/ 6701 h 10000"/>
                <a:gd name="connsiteX18" fmla="*/ 7446 w 10000"/>
                <a:gd name="connsiteY18" fmla="*/ 6341 h 10000"/>
                <a:gd name="connsiteX19" fmla="*/ 7821 w 10000"/>
                <a:gd name="connsiteY19" fmla="*/ 6341 h 10000"/>
                <a:gd name="connsiteX20" fmla="*/ 8047 w 10000"/>
                <a:gd name="connsiteY20" fmla="*/ 5670 h 10000"/>
                <a:gd name="connsiteX21" fmla="*/ 8648 w 10000"/>
                <a:gd name="connsiteY21" fmla="*/ 5258 h 10000"/>
                <a:gd name="connsiteX22" fmla="*/ 8873 w 10000"/>
                <a:gd name="connsiteY22" fmla="*/ 4485 h 10000"/>
                <a:gd name="connsiteX23" fmla="*/ 8722 w 10000"/>
                <a:gd name="connsiteY23" fmla="*/ 4073 h 10000"/>
                <a:gd name="connsiteX24" fmla="*/ 9098 w 10000"/>
                <a:gd name="connsiteY24" fmla="*/ 3196 h 10000"/>
                <a:gd name="connsiteX25" fmla="*/ 9399 w 10000"/>
                <a:gd name="connsiteY25" fmla="*/ 2938 h 10000"/>
                <a:gd name="connsiteX26" fmla="*/ 10000 w 10000"/>
                <a:gd name="connsiteY26" fmla="*/ 2526 h 10000"/>
                <a:gd name="connsiteX27" fmla="*/ 9774 w 10000"/>
                <a:gd name="connsiteY27" fmla="*/ 2474 h 10000"/>
                <a:gd name="connsiteX28" fmla="*/ 9399 w 10000"/>
                <a:gd name="connsiteY28" fmla="*/ 2217 h 10000"/>
                <a:gd name="connsiteX29" fmla="*/ 9173 w 10000"/>
                <a:gd name="connsiteY29" fmla="*/ 1444 h 10000"/>
                <a:gd name="connsiteX30" fmla="*/ 9173 w 10000"/>
                <a:gd name="connsiteY30" fmla="*/ 1031 h 10000"/>
                <a:gd name="connsiteX31" fmla="*/ 9098 w 10000"/>
                <a:gd name="connsiteY31" fmla="*/ 515 h 10000"/>
                <a:gd name="connsiteX32" fmla="*/ 8873 w 10000"/>
                <a:gd name="connsiteY32" fmla="*/ 361 h 10000"/>
                <a:gd name="connsiteX33" fmla="*/ 8497 w 10000"/>
                <a:gd name="connsiteY33" fmla="*/ 155 h 10000"/>
                <a:gd name="connsiteX34" fmla="*/ 8272 w 10000"/>
                <a:gd name="connsiteY34" fmla="*/ 0 h 10000"/>
                <a:gd name="connsiteX35" fmla="*/ 7821 w 10000"/>
                <a:gd name="connsiteY35" fmla="*/ 206 h 10000"/>
                <a:gd name="connsiteX36" fmla="*/ 7370 w 10000"/>
                <a:gd name="connsiteY36" fmla="*/ 515 h 10000"/>
                <a:gd name="connsiteX37" fmla="*/ 6769 w 10000"/>
                <a:gd name="connsiteY37" fmla="*/ 515 h 10000"/>
                <a:gd name="connsiteX38" fmla="*/ 5717 w 10000"/>
                <a:gd name="connsiteY38" fmla="*/ 515 h 10000"/>
                <a:gd name="connsiteX39" fmla="*/ 5717 w 10000"/>
                <a:gd name="connsiteY39" fmla="*/ 464 h 10000"/>
                <a:gd name="connsiteX40" fmla="*/ 5643 w 10000"/>
                <a:gd name="connsiteY40" fmla="*/ 515 h 10000"/>
                <a:gd name="connsiteX41" fmla="*/ 1961 w 10000"/>
                <a:gd name="connsiteY41" fmla="*/ 515 h 10000"/>
                <a:gd name="connsiteX42" fmla="*/ 1961 w 10000"/>
                <a:gd name="connsiteY42" fmla="*/ 1598 h 10000"/>
                <a:gd name="connsiteX43" fmla="*/ 1285 w 10000"/>
                <a:gd name="connsiteY43" fmla="*/ 1598 h 10000"/>
                <a:gd name="connsiteX44" fmla="*/ 1285 w 10000"/>
                <a:gd name="connsiteY44" fmla="*/ 1804 h 10000"/>
                <a:gd name="connsiteX45" fmla="*/ 1285 w 10000"/>
                <a:gd name="connsiteY45" fmla="*/ 3659 h 10000"/>
                <a:gd name="connsiteX46" fmla="*/ 1135 w 10000"/>
                <a:gd name="connsiteY46" fmla="*/ 3762 h 10000"/>
                <a:gd name="connsiteX47" fmla="*/ 684 w 10000"/>
                <a:gd name="connsiteY47" fmla="*/ 3969 h 10000"/>
                <a:gd name="connsiteX48" fmla="*/ 609 w 10000"/>
                <a:gd name="connsiteY48" fmla="*/ 4227 h 10000"/>
                <a:gd name="connsiteX49" fmla="*/ 384 w 10000"/>
                <a:gd name="connsiteY49" fmla="*/ 4485 h 10000"/>
                <a:gd name="connsiteX50" fmla="*/ 234 w 10000"/>
                <a:gd name="connsiteY50" fmla="*/ 4897 h 10000"/>
                <a:gd name="connsiteX51" fmla="*/ 8 w 10000"/>
                <a:gd name="connsiteY51" fmla="*/ 5361 h 10000"/>
                <a:gd name="connsiteX52" fmla="*/ 384 w 10000"/>
                <a:gd name="connsiteY52" fmla="*/ 5412 h 10000"/>
                <a:gd name="connsiteX53" fmla="*/ 458 w 10000"/>
                <a:gd name="connsiteY53" fmla="*/ 5824 h 10000"/>
                <a:gd name="connsiteX54" fmla="*/ 684 w 10000"/>
                <a:gd name="connsiteY54" fmla="*/ 6237 h 10000"/>
                <a:gd name="connsiteX55" fmla="*/ 1059 w 10000"/>
                <a:gd name="connsiteY55" fmla="*/ 7062 h 10000"/>
                <a:gd name="connsiteX56" fmla="*/ 2337 w 10000"/>
                <a:gd name="connsiteY56" fmla="*/ 8093 h 10000"/>
                <a:gd name="connsiteX57" fmla="*/ 2788 w 10000"/>
                <a:gd name="connsiteY57" fmla="*/ 8505 h 10000"/>
                <a:gd name="connsiteX58" fmla="*/ 3088 w 10000"/>
                <a:gd name="connsiteY58" fmla="*/ 8814 h 10000"/>
                <a:gd name="connsiteX59" fmla="*/ 3463 w 10000"/>
                <a:gd name="connsiteY59" fmla="*/ 9227 h 10000"/>
                <a:gd name="connsiteX0" fmla="*/ 3463 w 10000"/>
                <a:gd name="connsiteY0" fmla="*/ 9227 h 10000"/>
                <a:gd name="connsiteX1" fmla="*/ 4064 w 10000"/>
                <a:gd name="connsiteY1" fmla="*/ 9536 h 10000"/>
                <a:gd name="connsiteX2" fmla="*/ 4515 w 10000"/>
                <a:gd name="connsiteY2" fmla="*/ 9433 h 10000"/>
                <a:gd name="connsiteX3" fmla="*/ 5417 w 10000"/>
                <a:gd name="connsiteY3" fmla="*/ 10000 h 10000"/>
                <a:gd name="connsiteX4" fmla="*/ 5868 w 10000"/>
                <a:gd name="connsiteY4" fmla="*/ 9845 h 10000"/>
                <a:gd name="connsiteX5" fmla="*/ 6093 w 10000"/>
                <a:gd name="connsiteY5" fmla="*/ 9948 h 10000"/>
                <a:gd name="connsiteX6" fmla="*/ 6769 w 10000"/>
                <a:gd name="connsiteY6" fmla="*/ 9742 h 10000"/>
                <a:gd name="connsiteX7" fmla="*/ 6919 w 10000"/>
                <a:gd name="connsiteY7" fmla="*/ 9845 h 10000"/>
                <a:gd name="connsiteX8" fmla="*/ 7220 w 10000"/>
                <a:gd name="connsiteY8" fmla="*/ 9588 h 10000"/>
                <a:gd name="connsiteX9" fmla="*/ 7671 w 10000"/>
                <a:gd name="connsiteY9" fmla="*/ 9279 h 10000"/>
                <a:gd name="connsiteX10" fmla="*/ 8197 w 10000"/>
                <a:gd name="connsiteY10" fmla="*/ 9279 h 10000"/>
                <a:gd name="connsiteX11" fmla="*/ 8422 w 10000"/>
                <a:gd name="connsiteY11" fmla="*/ 9433 h 10000"/>
                <a:gd name="connsiteX12" fmla="*/ 8272 w 10000"/>
                <a:gd name="connsiteY12" fmla="*/ 9021 h 10000"/>
                <a:gd name="connsiteX13" fmla="*/ 7821 w 10000"/>
                <a:gd name="connsiteY13" fmla="*/ 8556 h 10000"/>
                <a:gd name="connsiteX14" fmla="*/ 7370 w 10000"/>
                <a:gd name="connsiteY14" fmla="*/ 8093 h 10000"/>
                <a:gd name="connsiteX15" fmla="*/ 6769 w 10000"/>
                <a:gd name="connsiteY15" fmla="*/ 7680 h 10000"/>
                <a:gd name="connsiteX16" fmla="*/ 7145 w 10000"/>
                <a:gd name="connsiteY16" fmla="*/ 7526 h 10000"/>
                <a:gd name="connsiteX17" fmla="*/ 7446 w 10000"/>
                <a:gd name="connsiteY17" fmla="*/ 6701 h 10000"/>
                <a:gd name="connsiteX18" fmla="*/ 7446 w 10000"/>
                <a:gd name="connsiteY18" fmla="*/ 6341 h 10000"/>
                <a:gd name="connsiteX19" fmla="*/ 7821 w 10000"/>
                <a:gd name="connsiteY19" fmla="*/ 6341 h 10000"/>
                <a:gd name="connsiteX20" fmla="*/ 8047 w 10000"/>
                <a:gd name="connsiteY20" fmla="*/ 5670 h 10000"/>
                <a:gd name="connsiteX21" fmla="*/ 8648 w 10000"/>
                <a:gd name="connsiteY21" fmla="*/ 5258 h 10000"/>
                <a:gd name="connsiteX22" fmla="*/ 8873 w 10000"/>
                <a:gd name="connsiteY22" fmla="*/ 4485 h 10000"/>
                <a:gd name="connsiteX23" fmla="*/ 8722 w 10000"/>
                <a:gd name="connsiteY23" fmla="*/ 4073 h 10000"/>
                <a:gd name="connsiteX24" fmla="*/ 9098 w 10000"/>
                <a:gd name="connsiteY24" fmla="*/ 3196 h 10000"/>
                <a:gd name="connsiteX25" fmla="*/ 9399 w 10000"/>
                <a:gd name="connsiteY25" fmla="*/ 2938 h 10000"/>
                <a:gd name="connsiteX26" fmla="*/ 10000 w 10000"/>
                <a:gd name="connsiteY26" fmla="*/ 2526 h 10000"/>
                <a:gd name="connsiteX27" fmla="*/ 9774 w 10000"/>
                <a:gd name="connsiteY27" fmla="*/ 2474 h 10000"/>
                <a:gd name="connsiteX28" fmla="*/ 9399 w 10000"/>
                <a:gd name="connsiteY28" fmla="*/ 2217 h 10000"/>
                <a:gd name="connsiteX29" fmla="*/ 9173 w 10000"/>
                <a:gd name="connsiteY29" fmla="*/ 1444 h 10000"/>
                <a:gd name="connsiteX30" fmla="*/ 9173 w 10000"/>
                <a:gd name="connsiteY30" fmla="*/ 1031 h 10000"/>
                <a:gd name="connsiteX31" fmla="*/ 9098 w 10000"/>
                <a:gd name="connsiteY31" fmla="*/ 515 h 10000"/>
                <a:gd name="connsiteX32" fmla="*/ 8873 w 10000"/>
                <a:gd name="connsiteY32" fmla="*/ 361 h 10000"/>
                <a:gd name="connsiteX33" fmla="*/ 8497 w 10000"/>
                <a:gd name="connsiteY33" fmla="*/ 155 h 10000"/>
                <a:gd name="connsiteX34" fmla="*/ 8272 w 10000"/>
                <a:gd name="connsiteY34" fmla="*/ 0 h 10000"/>
                <a:gd name="connsiteX35" fmla="*/ 7821 w 10000"/>
                <a:gd name="connsiteY35" fmla="*/ 206 h 10000"/>
                <a:gd name="connsiteX36" fmla="*/ 7370 w 10000"/>
                <a:gd name="connsiteY36" fmla="*/ 515 h 10000"/>
                <a:gd name="connsiteX37" fmla="*/ 6769 w 10000"/>
                <a:gd name="connsiteY37" fmla="*/ 515 h 10000"/>
                <a:gd name="connsiteX38" fmla="*/ 5717 w 10000"/>
                <a:gd name="connsiteY38" fmla="*/ 515 h 10000"/>
                <a:gd name="connsiteX39" fmla="*/ 5717 w 10000"/>
                <a:gd name="connsiteY39" fmla="*/ 464 h 10000"/>
                <a:gd name="connsiteX40" fmla="*/ 5643 w 10000"/>
                <a:gd name="connsiteY40" fmla="*/ 515 h 10000"/>
                <a:gd name="connsiteX41" fmla="*/ 1961 w 10000"/>
                <a:gd name="connsiteY41" fmla="*/ 515 h 10000"/>
                <a:gd name="connsiteX42" fmla="*/ 1961 w 10000"/>
                <a:gd name="connsiteY42" fmla="*/ 1598 h 10000"/>
                <a:gd name="connsiteX43" fmla="*/ 1285 w 10000"/>
                <a:gd name="connsiteY43" fmla="*/ 1598 h 10000"/>
                <a:gd name="connsiteX44" fmla="*/ 1285 w 10000"/>
                <a:gd name="connsiteY44" fmla="*/ 1804 h 10000"/>
                <a:gd name="connsiteX45" fmla="*/ 1285 w 10000"/>
                <a:gd name="connsiteY45" fmla="*/ 3659 h 10000"/>
                <a:gd name="connsiteX46" fmla="*/ 1135 w 10000"/>
                <a:gd name="connsiteY46" fmla="*/ 3762 h 10000"/>
                <a:gd name="connsiteX47" fmla="*/ 684 w 10000"/>
                <a:gd name="connsiteY47" fmla="*/ 3969 h 10000"/>
                <a:gd name="connsiteX48" fmla="*/ 609 w 10000"/>
                <a:gd name="connsiteY48" fmla="*/ 4227 h 10000"/>
                <a:gd name="connsiteX49" fmla="*/ 384 w 10000"/>
                <a:gd name="connsiteY49" fmla="*/ 4485 h 10000"/>
                <a:gd name="connsiteX50" fmla="*/ 234 w 10000"/>
                <a:gd name="connsiteY50" fmla="*/ 4897 h 10000"/>
                <a:gd name="connsiteX51" fmla="*/ 8 w 10000"/>
                <a:gd name="connsiteY51" fmla="*/ 5361 h 10000"/>
                <a:gd name="connsiteX52" fmla="*/ 384 w 10000"/>
                <a:gd name="connsiteY52" fmla="*/ 5412 h 10000"/>
                <a:gd name="connsiteX53" fmla="*/ 458 w 10000"/>
                <a:gd name="connsiteY53" fmla="*/ 5824 h 10000"/>
                <a:gd name="connsiteX54" fmla="*/ 684 w 10000"/>
                <a:gd name="connsiteY54" fmla="*/ 6237 h 10000"/>
                <a:gd name="connsiteX55" fmla="*/ 1059 w 10000"/>
                <a:gd name="connsiteY55" fmla="*/ 7062 h 10000"/>
                <a:gd name="connsiteX56" fmla="*/ 2337 w 10000"/>
                <a:gd name="connsiteY56" fmla="*/ 8093 h 10000"/>
                <a:gd name="connsiteX57" fmla="*/ 3088 w 10000"/>
                <a:gd name="connsiteY57" fmla="*/ 8814 h 10000"/>
                <a:gd name="connsiteX58" fmla="*/ 3463 w 10000"/>
                <a:gd name="connsiteY58" fmla="*/ 9227 h 10000"/>
                <a:gd name="connsiteX0" fmla="*/ 3463 w 10000"/>
                <a:gd name="connsiteY0" fmla="*/ 9227 h 10000"/>
                <a:gd name="connsiteX1" fmla="*/ 4064 w 10000"/>
                <a:gd name="connsiteY1" fmla="*/ 9536 h 10000"/>
                <a:gd name="connsiteX2" fmla="*/ 4515 w 10000"/>
                <a:gd name="connsiteY2" fmla="*/ 9433 h 10000"/>
                <a:gd name="connsiteX3" fmla="*/ 5417 w 10000"/>
                <a:gd name="connsiteY3" fmla="*/ 10000 h 10000"/>
                <a:gd name="connsiteX4" fmla="*/ 5868 w 10000"/>
                <a:gd name="connsiteY4" fmla="*/ 9845 h 10000"/>
                <a:gd name="connsiteX5" fmla="*/ 6093 w 10000"/>
                <a:gd name="connsiteY5" fmla="*/ 9948 h 10000"/>
                <a:gd name="connsiteX6" fmla="*/ 6769 w 10000"/>
                <a:gd name="connsiteY6" fmla="*/ 9742 h 10000"/>
                <a:gd name="connsiteX7" fmla="*/ 6919 w 10000"/>
                <a:gd name="connsiteY7" fmla="*/ 9845 h 10000"/>
                <a:gd name="connsiteX8" fmla="*/ 7220 w 10000"/>
                <a:gd name="connsiteY8" fmla="*/ 9588 h 10000"/>
                <a:gd name="connsiteX9" fmla="*/ 7671 w 10000"/>
                <a:gd name="connsiteY9" fmla="*/ 9279 h 10000"/>
                <a:gd name="connsiteX10" fmla="*/ 8197 w 10000"/>
                <a:gd name="connsiteY10" fmla="*/ 9279 h 10000"/>
                <a:gd name="connsiteX11" fmla="*/ 8422 w 10000"/>
                <a:gd name="connsiteY11" fmla="*/ 9433 h 10000"/>
                <a:gd name="connsiteX12" fmla="*/ 8272 w 10000"/>
                <a:gd name="connsiteY12" fmla="*/ 9021 h 10000"/>
                <a:gd name="connsiteX13" fmla="*/ 7821 w 10000"/>
                <a:gd name="connsiteY13" fmla="*/ 8556 h 10000"/>
                <a:gd name="connsiteX14" fmla="*/ 7370 w 10000"/>
                <a:gd name="connsiteY14" fmla="*/ 8093 h 10000"/>
                <a:gd name="connsiteX15" fmla="*/ 6769 w 10000"/>
                <a:gd name="connsiteY15" fmla="*/ 7680 h 10000"/>
                <a:gd name="connsiteX16" fmla="*/ 7145 w 10000"/>
                <a:gd name="connsiteY16" fmla="*/ 7526 h 10000"/>
                <a:gd name="connsiteX17" fmla="*/ 7446 w 10000"/>
                <a:gd name="connsiteY17" fmla="*/ 6701 h 10000"/>
                <a:gd name="connsiteX18" fmla="*/ 7446 w 10000"/>
                <a:gd name="connsiteY18" fmla="*/ 6341 h 10000"/>
                <a:gd name="connsiteX19" fmla="*/ 7821 w 10000"/>
                <a:gd name="connsiteY19" fmla="*/ 6341 h 10000"/>
                <a:gd name="connsiteX20" fmla="*/ 8047 w 10000"/>
                <a:gd name="connsiteY20" fmla="*/ 5670 h 10000"/>
                <a:gd name="connsiteX21" fmla="*/ 8648 w 10000"/>
                <a:gd name="connsiteY21" fmla="*/ 5258 h 10000"/>
                <a:gd name="connsiteX22" fmla="*/ 8873 w 10000"/>
                <a:gd name="connsiteY22" fmla="*/ 4485 h 10000"/>
                <a:gd name="connsiteX23" fmla="*/ 8722 w 10000"/>
                <a:gd name="connsiteY23" fmla="*/ 4073 h 10000"/>
                <a:gd name="connsiteX24" fmla="*/ 9098 w 10000"/>
                <a:gd name="connsiteY24" fmla="*/ 3196 h 10000"/>
                <a:gd name="connsiteX25" fmla="*/ 9399 w 10000"/>
                <a:gd name="connsiteY25" fmla="*/ 2938 h 10000"/>
                <a:gd name="connsiteX26" fmla="*/ 10000 w 10000"/>
                <a:gd name="connsiteY26" fmla="*/ 2526 h 10000"/>
                <a:gd name="connsiteX27" fmla="*/ 9774 w 10000"/>
                <a:gd name="connsiteY27" fmla="*/ 2474 h 10000"/>
                <a:gd name="connsiteX28" fmla="*/ 9399 w 10000"/>
                <a:gd name="connsiteY28" fmla="*/ 2217 h 10000"/>
                <a:gd name="connsiteX29" fmla="*/ 9173 w 10000"/>
                <a:gd name="connsiteY29" fmla="*/ 1444 h 10000"/>
                <a:gd name="connsiteX30" fmla="*/ 9173 w 10000"/>
                <a:gd name="connsiteY30" fmla="*/ 1031 h 10000"/>
                <a:gd name="connsiteX31" fmla="*/ 9098 w 10000"/>
                <a:gd name="connsiteY31" fmla="*/ 515 h 10000"/>
                <a:gd name="connsiteX32" fmla="*/ 8873 w 10000"/>
                <a:gd name="connsiteY32" fmla="*/ 361 h 10000"/>
                <a:gd name="connsiteX33" fmla="*/ 8497 w 10000"/>
                <a:gd name="connsiteY33" fmla="*/ 155 h 10000"/>
                <a:gd name="connsiteX34" fmla="*/ 8272 w 10000"/>
                <a:gd name="connsiteY34" fmla="*/ 0 h 10000"/>
                <a:gd name="connsiteX35" fmla="*/ 7821 w 10000"/>
                <a:gd name="connsiteY35" fmla="*/ 206 h 10000"/>
                <a:gd name="connsiteX36" fmla="*/ 7370 w 10000"/>
                <a:gd name="connsiteY36" fmla="*/ 515 h 10000"/>
                <a:gd name="connsiteX37" fmla="*/ 6769 w 10000"/>
                <a:gd name="connsiteY37" fmla="*/ 515 h 10000"/>
                <a:gd name="connsiteX38" fmla="*/ 5717 w 10000"/>
                <a:gd name="connsiteY38" fmla="*/ 515 h 10000"/>
                <a:gd name="connsiteX39" fmla="*/ 5717 w 10000"/>
                <a:gd name="connsiteY39" fmla="*/ 464 h 10000"/>
                <a:gd name="connsiteX40" fmla="*/ 5643 w 10000"/>
                <a:gd name="connsiteY40" fmla="*/ 515 h 10000"/>
                <a:gd name="connsiteX41" fmla="*/ 1961 w 10000"/>
                <a:gd name="connsiteY41" fmla="*/ 515 h 10000"/>
                <a:gd name="connsiteX42" fmla="*/ 1961 w 10000"/>
                <a:gd name="connsiteY42" fmla="*/ 1598 h 10000"/>
                <a:gd name="connsiteX43" fmla="*/ 1285 w 10000"/>
                <a:gd name="connsiteY43" fmla="*/ 1598 h 10000"/>
                <a:gd name="connsiteX44" fmla="*/ 1285 w 10000"/>
                <a:gd name="connsiteY44" fmla="*/ 1804 h 10000"/>
                <a:gd name="connsiteX45" fmla="*/ 1285 w 10000"/>
                <a:gd name="connsiteY45" fmla="*/ 3659 h 10000"/>
                <a:gd name="connsiteX46" fmla="*/ 1135 w 10000"/>
                <a:gd name="connsiteY46" fmla="*/ 3762 h 10000"/>
                <a:gd name="connsiteX47" fmla="*/ 684 w 10000"/>
                <a:gd name="connsiteY47" fmla="*/ 3969 h 10000"/>
                <a:gd name="connsiteX48" fmla="*/ 609 w 10000"/>
                <a:gd name="connsiteY48" fmla="*/ 4227 h 10000"/>
                <a:gd name="connsiteX49" fmla="*/ 384 w 10000"/>
                <a:gd name="connsiteY49" fmla="*/ 4485 h 10000"/>
                <a:gd name="connsiteX50" fmla="*/ 234 w 10000"/>
                <a:gd name="connsiteY50" fmla="*/ 4897 h 10000"/>
                <a:gd name="connsiteX51" fmla="*/ 8 w 10000"/>
                <a:gd name="connsiteY51" fmla="*/ 5361 h 10000"/>
                <a:gd name="connsiteX52" fmla="*/ 384 w 10000"/>
                <a:gd name="connsiteY52" fmla="*/ 5412 h 10000"/>
                <a:gd name="connsiteX53" fmla="*/ 458 w 10000"/>
                <a:gd name="connsiteY53" fmla="*/ 5824 h 10000"/>
                <a:gd name="connsiteX54" fmla="*/ 684 w 10000"/>
                <a:gd name="connsiteY54" fmla="*/ 6237 h 10000"/>
                <a:gd name="connsiteX55" fmla="*/ 1059 w 10000"/>
                <a:gd name="connsiteY55" fmla="*/ 7062 h 10000"/>
                <a:gd name="connsiteX56" fmla="*/ 3088 w 10000"/>
                <a:gd name="connsiteY56" fmla="*/ 8814 h 10000"/>
                <a:gd name="connsiteX57" fmla="*/ 3463 w 10000"/>
                <a:gd name="connsiteY57" fmla="*/ 9227 h 10000"/>
                <a:gd name="connsiteX0" fmla="*/ 3463 w 10000"/>
                <a:gd name="connsiteY0" fmla="*/ 9227 h 10000"/>
                <a:gd name="connsiteX1" fmla="*/ 4064 w 10000"/>
                <a:gd name="connsiteY1" fmla="*/ 9536 h 10000"/>
                <a:gd name="connsiteX2" fmla="*/ 4515 w 10000"/>
                <a:gd name="connsiteY2" fmla="*/ 9433 h 10000"/>
                <a:gd name="connsiteX3" fmla="*/ 5417 w 10000"/>
                <a:gd name="connsiteY3" fmla="*/ 10000 h 10000"/>
                <a:gd name="connsiteX4" fmla="*/ 5868 w 10000"/>
                <a:gd name="connsiteY4" fmla="*/ 9845 h 10000"/>
                <a:gd name="connsiteX5" fmla="*/ 6093 w 10000"/>
                <a:gd name="connsiteY5" fmla="*/ 9948 h 10000"/>
                <a:gd name="connsiteX6" fmla="*/ 6769 w 10000"/>
                <a:gd name="connsiteY6" fmla="*/ 9742 h 10000"/>
                <a:gd name="connsiteX7" fmla="*/ 6919 w 10000"/>
                <a:gd name="connsiteY7" fmla="*/ 9845 h 10000"/>
                <a:gd name="connsiteX8" fmla="*/ 7220 w 10000"/>
                <a:gd name="connsiteY8" fmla="*/ 9588 h 10000"/>
                <a:gd name="connsiteX9" fmla="*/ 7671 w 10000"/>
                <a:gd name="connsiteY9" fmla="*/ 9279 h 10000"/>
                <a:gd name="connsiteX10" fmla="*/ 8197 w 10000"/>
                <a:gd name="connsiteY10" fmla="*/ 9279 h 10000"/>
                <a:gd name="connsiteX11" fmla="*/ 8422 w 10000"/>
                <a:gd name="connsiteY11" fmla="*/ 9433 h 10000"/>
                <a:gd name="connsiteX12" fmla="*/ 8272 w 10000"/>
                <a:gd name="connsiteY12" fmla="*/ 9021 h 10000"/>
                <a:gd name="connsiteX13" fmla="*/ 7821 w 10000"/>
                <a:gd name="connsiteY13" fmla="*/ 8556 h 10000"/>
                <a:gd name="connsiteX14" fmla="*/ 7370 w 10000"/>
                <a:gd name="connsiteY14" fmla="*/ 8093 h 10000"/>
                <a:gd name="connsiteX15" fmla="*/ 6769 w 10000"/>
                <a:gd name="connsiteY15" fmla="*/ 7680 h 10000"/>
                <a:gd name="connsiteX16" fmla="*/ 7145 w 10000"/>
                <a:gd name="connsiteY16" fmla="*/ 7526 h 10000"/>
                <a:gd name="connsiteX17" fmla="*/ 7446 w 10000"/>
                <a:gd name="connsiteY17" fmla="*/ 6701 h 10000"/>
                <a:gd name="connsiteX18" fmla="*/ 7446 w 10000"/>
                <a:gd name="connsiteY18" fmla="*/ 6341 h 10000"/>
                <a:gd name="connsiteX19" fmla="*/ 7821 w 10000"/>
                <a:gd name="connsiteY19" fmla="*/ 6341 h 10000"/>
                <a:gd name="connsiteX20" fmla="*/ 8047 w 10000"/>
                <a:gd name="connsiteY20" fmla="*/ 5670 h 10000"/>
                <a:gd name="connsiteX21" fmla="*/ 8648 w 10000"/>
                <a:gd name="connsiteY21" fmla="*/ 5258 h 10000"/>
                <a:gd name="connsiteX22" fmla="*/ 8873 w 10000"/>
                <a:gd name="connsiteY22" fmla="*/ 4485 h 10000"/>
                <a:gd name="connsiteX23" fmla="*/ 8722 w 10000"/>
                <a:gd name="connsiteY23" fmla="*/ 4073 h 10000"/>
                <a:gd name="connsiteX24" fmla="*/ 9098 w 10000"/>
                <a:gd name="connsiteY24" fmla="*/ 3196 h 10000"/>
                <a:gd name="connsiteX25" fmla="*/ 9399 w 10000"/>
                <a:gd name="connsiteY25" fmla="*/ 2938 h 10000"/>
                <a:gd name="connsiteX26" fmla="*/ 10000 w 10000"/>
                <a:gd name="connsiteY26" fmla="*/ 2526 h 10000"/>
                <a:gd name="connsiteX27" fmla="*/ 9774 w 10000"/>
                <a:gd name="connsiteY27" fmla="*/ 2474 h 10000"/>
                <a:gd name="connsiteX28" fmla="*/ 9399 w 10000"/>
                <a:gd name="connsiteY28" fmla="*/ 2217 h 10000"/>
                <a:gd name="connsiteX29" fmla="*/ 9173 w 10000"/>
                <a:gd name="connsiteY29" fmla="*/ 1444 h 10000"/>
                <a:gd name="connsiteX30" fmla="*/ 9173 w 10000"/>
                <a:gd name="connsiteY30" fmla="*/ 1031 h 10000"/>
                <a:gd name="connsiteX31" fmla="*/ 9098 w 10000"/>
                <a:gd name="connsiteY31" fmla="*/ 515 h 10000"/>
                <a:gd name="connsiteX32" fmla="*/ 8873 w 10000"/>
                <a:gd name="connsiteY32" fmla="*/ 361 h 10000"/>
                <a:gd name="connsiteX33" fmla="*/ 8497 w 10000"/>
                <a:gd name="connsiteY33" fmla="*/ 155 h 10000"/>
                <a:gd name="connsiteX34" fmla="*/ 8272 w 10000"/>
                <a:gd name="connsiteY34" fmla="*/ 0 h 10000"/>
                <a:gd name="connsiteX35" fmla="*/ 7821 w 10000"/>
                <a:gd name="connsiteY35" fmla="*/ 206 h 10000"/>
                <a:gd name="connsiteX36" fmla="*/ 7370 w 10000"/>
                <a:gd name="connsiteY36" fmla="*/ 515 h 10000"/>
                <a:gd name="connsiteX37" fmla="*/ 6769 w 10000"/>
                <a:gd name="connsiteY37" fmla="*/ 515 h 10000"/>
                <a:gd name="connsiteX38" fmla="*/ 5717 w 10000"/>
                <a:gd name="connsiteY38" fmla="*/ 515 h 10000"/>
                <a:gd name="connsiteX39" fmla="*/ 5717 w 10000"/>
                <a:gd name="connsiteY39" fmla="*/ 464 h 10000"/>
                <a:gd name="connsiteX40" fmla="*/ 5643 w 10000"/>
                <a:gd name="connsiteY40" fmla="*/ 515 h 10000"/>
                <a:gd name="connsiteX41" fmla="*/ 1961 w 10000"/>
                <a:gd name="connsiteY41" fmla="*/ 515 h 10000"/>
                <a:gd name="connsiteX42" fmla="*/ 1961 w 10000"/>
                <a:gd name="connsiteY42" fmla="*/ 1598 h 10000"/>
                <a:gd name="connsiteX43" fmla="*/ 1285 w 10000"/>
                <a:gd name="connsiteY43" fmla="*/ 1598 h 10000"/>
                <a:gd name="connsiteX44" fmla="*/ 1285 w 10000"/>
                <a:gd name="connsiteY44" fmla="*/ 1804 h 10000"/>
                <a:gd name="connsiteX45" fmla="*/ 1285 w 10000"/>
                <a:gd name="connsiteY45" fmla="*/ 3659 h 10000"/>
                <a:gd name="connsiteX46" fmla="*/ 1135 w 10000"/>
                <a:gd name="connsiteY46" fmla="*/ 3762 h 10000"/>
                <a:gd name="connsiteX47" fmla="*/ 684 w 10000"/>
                <a:gd name="connsiteY47" fmla="*/ 3969 h 10000"/>
                <a:gd name="connsiteX48" fmla="*/ 609 w 10000"/>
                <a:gd name="connsiteY48" fmla="*/ 4227 h 10000"/>
                <a:gd name="connsiteX49" fmla="*/ 384 w 10000"/>
                <a:gd name="connsiteY49" fmla="*/ 4485 h 10000"/>
                <a:gd name="connsiteX50" fmla="*/ 234 w 10000"/>
                <a:gd name="connsiteY50" fmla="*/ 4897 h 10000"/>
                <a:gd name="connsiteX51" fmla="*/ 8 w 10000"/>
                <a:gd name="connsiteY51" fmla="*/ 5361 h 10000"/>
                <a:gd name="connsiteX52" fmla="*/ 384 w 10000"/>
                <a:gd name="connsiteY52" fmla="*/ 5412 h 10000"/>
                <a:gd name="connsiteX53" fmla="*/ 458 w 10000"/>
                <a:gd name="connsiteY53" fmla="*/ 5824 h 10000"/>
                <a:gd name="connsiteX54" fmla="*/ 684 w 10000"/>
                <a:gd name="connsiteY54" fmla="*/ 6237 h 10000"/>
                <a:gd name="connsiteX55" fmla="*/ 1059 w 10000"/>
                <a:gd name="connsiteY55" fmla="*/ 7062 h 10000"/>
                <a:gd name="connsiteX56" fmla="*/ 3463 w 10000"/>
                <a:gd name="connsiteY56" fmla="*/ 9227 h 10000"/>
                <a:gd name="connsiteX0" fmla="*/ 3463 w 10000"/>
                <a:gd name="connsiteY0" fmla="*/ 9227 h 10000"/>
                <a:gd name="connsiteX1" fmla="*/ 4064 w 10000"/>
                <a:gd name="connsiteY1" fmla="*/ 9536 h 10000"/>
                <a:gd name="connsiteX2" fmla="*/ 4515 w 10000"/>
                <a:gd name="connsiteY2" fmla="*/ 9433 h 10000"/>
                <a:gd name="connsiteX3" fmla="*/ 5417 w 10000"/>
                <a:gd name="connsiteY3" fmla="*/ 10000 h 10000"/>
                <a:gd name="connsiteX4" fmla="*/ 5868 w 10000"/>
                <a:gd name="connsiteY4" fmla="*/ 9845 h 10000"/>
                <a:gd name="connsiteX5" fmla="*/ 6093 w 10000"/>
                <a:gd name="connsiteY5" fmla="*/ 9948 h 10000"/>
                <a:gd name="connsiteX6" fmla="*/ 6769 w 10000"/>
                <a:gd name="connsiteY6" fmla="*/ 9742 h 10000"/>
                <a:gd name="connsiteX7" fmla="*/ 6919 w 10000"/>
                <a:gd name="connsiteY7" fmla="*/ 9845 h 10000"/>
                <a:gd name="connsiteX8" fmla="*/ 7220 w 10000"/>
                <a:gd name="connsiteY8" fmla="*/ 9588 h 10000"/>
                <a:gd name="connsiteX9" fmla="*/ 7671 w 10000"/>
                <a:gd name="connsiteY9" fmla="*/ 9279 h 10000"/>
                <a:gd name="connsiteX10" fmla="*/ 8197 w 10000"/>
                <a:gd name="connsiteY10" fmla="*/ 9279 h 10000"/>
                <a:gd name="connsiteX11" fmla="*/ 8422 w 10000"/>
                <a:gd name="connsiteY11" fmla="*/ 9433 h 10000"/>
                <a:gd name="connsiteX12" fmla="*/ 8272 w 10000"/>
                <a:gd name="connsiteY12" fmla="*/ 9021 h 10000"/>
                <a:gd name="connsiteX13" fmla="*/ 7821 w 10000"/>
                <a:gd name="connsiteY13" fmla="*/ 8556 h 10000"/>
                <a:gd name="connsiteX14" fmla="*/ 7370 w 10000"/>
                <a:gd name="connsiteY14" fmla="*/ 8093 h 10000"/>
                <a:gd name="connsiteX15" fmla="*/ 6769 w 10000"/>
                <a:gd name="connsiteY15" fmla="*/ 7680 h 10000"/>
                <a:gd name="connsiteX16" fmla="*/ 7145 w 10000"/>
                <a:gd name="connsiteY16" fmla="*/ 7526 h 10000"/>
                <a:gd name="connsiteX17" fmla="*/ 7446 w 10000"/>
                <a:gd name="connsiteY17" fmla="*/ 6701 h 10000"/>
                <a:gd name="connsiteX18" fmla="*/ 7446 w 10000"/>
                <a:gd name="connsiteY18" fmla="*/ 6341 h 10000"/>
                <a:gd name="connsiteX19" fmla="*/ 7821 w 10000"/>
                <a:gd name="connsiteY19" fmla="*/ 6341 h 10000"/>
                <a:gd name="connsiteX20" fmla="*/ 8047 w 10000"/>
                <a:gd name="connsiteY20" fmla="*/ 5670 h 10000"/>
                <a:gd name="connsiteX21" fmla="*/ 8648 w 10000"/>
                <a:gd name="connsiteY21" fmla="*/ 5258 h 10000"/>
                <a:gd name="connsiteX22" fmla="*/ 8873 w 10000"/>
                <a:gd name="connsiteY22" fmla="*/ 4485 h 10000"/>
                <a:gd name="connsiteX23" fmla="*/ 8722 w 10000"/>
                <a:gd name="connsiteY23" fmla="*/ 4073 h 10000"/>
                <a:gd name="connsiteX24" fmla="*/ 9098 w 10000"/>
                <a:gd name="connsiteY24" fmla="*/ 3196 h 10000"/>
                <a:gd name="connsiteX25" fmla="*/ 9399 w 10000"/>
                <a:gd name="connsiteY25" fmla="*/ 2938 h 10000"/>
                <a:gd name="connsiteX26" fmla="*/ 10000 w 10000"/>
                <a:gd name="connsiteY26" fmla="*/ 2526 h 10000"/>
                <a:gd name="connsiteX27" fmla="*/ 9774 w 10000"/>
                <a:gd name="connsiteY27" fmla="*/ 2474 h 10000"/>
                <a:gd name="connsiteX28" fmla="*/ 9399 w 10000"/>
                <a:gd name="connsiteY28" fmla="*/ 2217 h 10000"/>
                <a:gd name="connsiteX29" fmla="*/ 9173 w 10000"/>
                <a:gd name="connsiteY29" fmla="*/ 1444 h 10000"/>
                <a:gd name="connsiteX30" fmla="*/ 9173 w 10000"/>
                <a:gd name="connsiteY30" fmla="*/ 1031 h 10000"/>
                <a:gd name="connsiteX31" fmla="*/ 9098 w 10000"/>
                <a:gd name="connsiteY31" fmla="*/ 515 h 10000"/>
                <a:gd name="connsiteX32" fmla="*/ 8873 w 10000"/>
                <a:gd name="connsiteY32" fmla="*/ 361 h 10000"/>
                <a:gd name="connsiteX33" fmla="*/ 8497 w 10000"/>
                <a:gd name="connsiteY33" fmla="*/ 155 h 10000"/>
                <a:gd name="connsiteX34" fmla="*/ 8272 w 10000"/>
                <a:gd name="connsiteY34" fmla="*/ 0 h 10000"/>
                <a:gd name="connsiteX35" fmla="*/ 7821 w 10000"/>
                <a:gd name="connsiteY35" fmla="*/ 206 h 10000"/>
                <a:gd name="connsiteX36" fmla="*/ 7370 w 10000"/>
                <a:gd name="connsiteY36" fmla="*/ 515 h 10000"/>
                <a:gd name="connsiteX37" fmla="*/ 6769 w 10000"/>
                <a:gd name="connsiteY37" fmla="*/ 515 h 10000"/>
                <a:gd name="connsiteX38" fmla="*/ 5717 w 10000"/>
                <a:gd name="connsiteY38" fmla="*/ 515 h 10000"/>
                <a:gd name="connsiteX39" fmla="*/ 5717 w 10000"/>
                <a:gd name="connsiteY39" fmla="*/ 464 h 10000"/>
                <a:gd name="connsiteX40" fmla="*/ 5643 w 10000"/>
                <a:gd name="connsiteY40" fmla="*/ 515 h 10000"/>
                <a:gd name="connsiteX41" fmla="*/ 1961 w 10000"/>
                <a:gd name="connsiteY41" fmla="*/ 515 h 10000"/>
                <a:gd name="connsiteX42" fmla="*/ 1961 w 10000"/>
                <a:gd name="connsiteY42" fmla="*/ 1598 h 10000"/>
                <a:gd name="connsiteX43" fmla="*/ 1285 w 10000"/>
                <a:gd name="connsiteY43" fmla="*/ 1598 h 10000"/>
                <a:gd name="connsiteX44" fmla="*/ 1285 w 10000"/>
                <a:gd name="connsiteY44" fmla="*/ 1804 h 10000"/>
                <a:gd name="connsiteX45" fmla="*/ 1285 w 10000"/>
                <a:gd name="connsiteY45" fmla="*/ 3659 h 10000"/>
                <a:gd name="connsiteX46" fmla="*/ 1135 w 10000"/>
                <a:gd name="connsiteY46" fmla="*/ 3762 h 10000"/>
                <a:gd name="connsiteX47" fmla="*/ 684 w 10000"/>
                <a:gd name="connsiteY47" fmla="*/ 3969 h 10000"/>
                <a:gd name="connsiteX48" fmla="*/ 609 w 10000"/>
                <a:gd name="connsiteY48" fmla="*/ 4227 h 10000"/>
                <a:gd name="connsiteX49" fmla="*/ 384 w 10000"/>
                <a:gd name="connsiteY49" fmla="*/ 4485 h 10000"/>
                <a:gd name="connsiteX50" fmla="*/ 234 w 10000"/>
                <a:gd name="connsiteY50" fmla="*/ 4897 h 10000"/>
                <a:gd name="connsiteX51" fmla="*/ 8 w 10000"/>
                <a:gd name="connsiteY51" fmla="*/ 5361 h 10000"/>
                <a:gd name="connsiteX52" fmla="*/ 384 w 10000"/>
                <a:gd name="connsiteY52" fmla="*/ 5412 h 10000"/>
                <a:gd name="connsiteX53" fmla="*/ 458 w 10000"/>
                <a:gd name="connsiteY53" fmla="*/ 5824 h 10000"/>
                <a:gd name="connsiteX54" fmla="*/ 684 w 10000"/>
                <a:gd name="connsiteY54" fmla="*/ 6237 h 10000"/>
                <a:gd name="connsiteX55" fmla="*/ 1059 w 10000"/>
                <a:gd name="connsiteY55" fmla="*/ 7062 h 10000"/>
                <a:gd name="connsiteX0" fmla="*/ 4064 w 10000"/>
                <a:gd name="connsiteY0" fmla="*/ 9536 h 10000"/>
                <a:gd name="connsiteX1" fmla="*/ 4515 w 10000"/>
                <a:gd name="connsiteY1" fmla="*/ 9433 h 10000"/>
                <a:gd name="connsiteX2" fmla="*/ 5417 w 10000"/>
                <a:gd name="connsiteY2" fmla="*/ 10000 h 10000"/>
                <a:gd name="connsiteX3" fmla="*/ 5868 w 10000"/>
                <a:gd name="connsiteY3" fmla="*/ 9845 h 10000"/>
                <a:gd name="connsiteX4" fmla="*/ 6093 w 10000"/>
                <a:gd name="connsiteY4" fmla="*/ 9948 h 10000"/>
                <a:gd name="connsiteX5" fmla="*/ 6769 w 10000"/>
                <a:gd name="connsiteY5" fmla="*/ 9742 h 10000"/>
                <a:gd name="connsiteX6" fmla="*/ 6919 w 10000"/>
                <a:gd name="connsiteY6" fmla="*/ 9845 h 10000"/>
                <a:gd name="connsiteX7" fmla="*/ 7220 w 10000"/>
                <a:gd name="connsiteY7" fmla="*/ 9588 h 10000"/>
                <a:gd name="connsiteX8" fmla="*/ 7671 w 10000"/>
                <a:gd name="connsiteY8" fmla="*/ 9279 h 10000"/>
                <a:gd name="connsiteX9" fmla="*/ 8197 w 10000"/>
                <a:gd name="connsiteY9" fmla="*/ 9279 h 10000"/>
                <a:gd name="connsiteX10" fmla="*/ 8422 w 10000"/>
                <a:gd name="connsiteY10" fmla="*/ 9433 h 10000"/>
                <a:gd name="connsiteX11" fmla="*/ 8272 w 10000"/>
                <a:gd name="connsiteY11" fmla="*/ 9021 h 10000"/>
                <a:gd name="connsiteX12" fmla="*/ 7821 w 10000"/>
                <a:gd name="connsiteY12" fmla="*/ 8556 h 10000"/>
                <a:gd name="connsiteX13" fmla="*/ 7370 w 10000"/>
                <a:gd name="connsiteY13" fmla="*/ 8093 h 10000"/>
                <a:gd name="connsiteX14" fmla="*/ 6769 w 10000"/>
                <a:gd name="connsiteY14" fmla="*/ 7680 h 10000"/>
                <a:gd name="connsiteX15" fmla="*/ 7145 w 10000"/>
                <a:gd name="connsiteY15" fmla="*/ 7526 h 10000"/>
                <a:gd name="connsiteX16" fmla="*/ 7446 w 10000"/>
                <a:gd name="connsiteY16" fmla="*/ 6701 h 10000"/>
                <a:gd name="connsiteX17" fmla="*/ 7446 w 10000"/>
                <a:gd name="connsiteY17" fmla="*/ 6341 h 10000"/>
                <a:gd name="connsiteX18" fmla="*/ 7821 w 10000"/>
                <a:gd name="connsiteY18" fmla="*/ 6341 h 10000"/>
                <a:gd name="connsiteX19" fmla="*/ 8047 w 10000"/>
                <a:gd name="connsiteY19" fmla="*/ 5670 h 10000"/>
                <a:gd name="connsiteX20" fmla="*/ 8648 w 10000"/>
                <a:gd name="connsiteY20" fmla="*/ 5258 h 10000"/>
                <a:gd name="connsiteX21" fmla="*/ 8873 w 10000"/>
                <a:gd name="connsiteY21" fmla="*/ 4485 h 10000"/>
                <a:gd name="connsiteX22" fmla="*/ 8722 w 10000"/>
                <a:gd name="connsiteY22" fmla="*/ 4073 h 10000"/>
                <a:gd name="connsiteX23" fmla="*/ 9098 w 10000"/>
                <a:gd name="connsiteY23" fmla="*/ 3196 h 10000"/>
                <a:gd name="connsiteX24" fmla="*/ 9399 w 10000"/>
                <a:gd name="connsiteY24" fmla="*/ 2938 h 10000"/>
                <a:gd name="connsiteX25" fmla="*/ 10000 w 10000"/>
                <a:gd name="connsiteY25" fmla="*/ 2526 h 10000"/>
                <a:gd name="connsiteX26" fmla="*/ 9774 w 10000"/>
                <a:gd name="connsiteY26" fmla="*/ 2474 h 10000"/>
                <a:gd name="connsiteX27" fmla="*/ 9399 w 10000"/>
                <a:gd name="connsiteY27" fmla="*/ 2217 h 10000"/>
                <a:gd name="connsiteX28" fmla="*/ 9173 w 10000"/>
                <a:gd name="connsiteY28" fmla="*/ 1444 h 10000"/>
                <a:gd name="connsiteX29" fmla="*/ 9173 w 10000"/>
                <a:gd name="connsiteY29" fmla="*/ 1031 h 10000"/>
                <a:gd name="connsiteX30" fmla="*/ 9098 w 10000"/>
                <a:gd name="connsiteY30" fmla="*/ 515 h 10000"/>
                <a:gd name="connsiteX31" fmla="*/ 8873 w 10000"/>
                <a:gd name="connsiteY31" fmla="*/ 361 h 10000"/>
                <a:gd name="connsiteX32" fmla="*/ 8497 w 10000"/>
                <a:gd name="connsiteY32" fmla="*/ 155 h 10000"/>
                <a:gd name="connsiteX33" fmla="*/ 8272 w 10000"/>
                <a:gd name="connsiteY33" fmla="*/ 0 h 10000"/>
                <a:gd name="connsiteX34" fmla="*/ 7821 w 10000"/>
                <a:gd name="connsiteY34" fmla="*/ 206 h 10000"/>
                <a:gd name="connsiteX35" fmla="*/ 7370 w 10000"/>
                <a:gd name="connsiteY35" fmla="*/ 515 h 10000"/>
                <a:gd name="connsiteX36" fmla="*/ 6769 w 10000"/>
                <a:gd name="connsiteY36" fmla="*/ 515 h 10000"/>
                <a:gd name="connsiteX37" fmla="*/ 5717 w 10000"/>
                <a:gd name="connsiteY37" fmla="*/ 515 h 10000"/>
                <a:gd name="connsiteX38" fmla="*/ 5717 w 10000"/>
                <a:gd name="connsiteY38" fmla="*/ 464 h 10000"/>
                <a:gd name="connsiteX39" fmla="*/ 5643 w 10000"/>
                <a:gd name="connsiteY39" fmla="*/ 515 h 10000"/>
                <a:gd name="connsiteX40" fmla="*/ 1961 w 10000"/>
                <a:gd name="connsiteY40" fmla="*/ 515 h 10000"/>
                <a:gd name="connsiteX41" fmla="*/ 1961 w 10000"/>
                <a:gd name="connsiteY41" fmla="*/ 1598 h 10000"/>
                <a:gd name="connsiteX42" fmla="*/ 1285 w 10000"/>
                <a:gd name="connsiteY42" fmla="*/ 1598 h 10000"/>
                <a:gd name="connsiteX43" fmla="*/ 1285 w 10000"/>
                <a:gd name="connsiteY43" fmla="*/ 1804 h 10000"/>
                <a:gd name="connsiteX44" fmla="*/ 1285 w 10000"/>
                <a:gd name="connsiteY44" fmla="*/ 3659 h 10000"/>
                <a:gd name="connsiteX45" fmla="*/ 1135 w 10000"/>
                <a:gd name="connsiteY45" fmla="*/ 3762 h 10000"/>
                <a:gd name="connsiteX46" fmla="*/ 684 w 10000"/>
                <a:gd name="connsiteY46" fmla="*/ 3969 h 10000"/>
                <a:gd name="connsiteX47" fmla="*/ 609 w 10000"/>
                <a:gd name="connsiteY47" fmla="*/ 4227 h 10000"/>
                <a:gd name="connsiteX48" fmla="*/ 384 w 10000"/>
                <a:gd name="connsiteY48" fmla="*/ 4485 h 10000"/>
                <a:gd name="connsiteX49" fmla="*/ 234 w 10000"/>
                <a:gd name="connsiteY49" fmla="*/ 4897 h 10000"/>
                <a:gd name="connsiteX50" fmla="*/ 8 w 10000"/>
                <a:gd name="connsiteY50" fmla="*/ 5361 h 10000"/>
                <a:gd name="connsiteX51" fmla="*/ 384 w 10000"/>
                <a:gd name="connsiteY51" fmla="*/ 5412 h 10000"/>
                <a:gd name="connsiteX52" fmla="*/ 458 w 10000"/>
                <a:gd name="connsiteY52" fmla="*/ 5824 h 10000"/>
                <a:gd name="connsiteX53" fmla="*/ 684 w 10000"/>
                <a:gd name="connsiteY53" fmla="*/ 6237 h 10000"/>
                <a:gd name="connsiteX54" fmla="*/ 1059 w 10000"/>
                <a:gd name="connsiteY54" fmla="*/ 7062 h 10000"/>
                <a:gd name="connsiteX0" fmla="*/ 4515 w 10000"/>
                <a:gd name="connsiteY0" fmla="*/ 9433 h 10000"/>
                <a:gd name="connsiteX1" fmla="*/ 5417 w 10000"/>
                <a:gd name="connsiteY1" fmla="*/ 10000 h 10000"/>
                <a:gd name="connsiteX2" fmla="*/ 5868 w 10000"/>
                <a:gd name="connsiteY2" fmla="*/ 9845 h 10000"/>
                <a:gd name="connsiteX3" fmla="*/ 6093 w 10000"/>
                <a:gd name="connsiteY3" fmla="*/ 9948 h 10000"/>
                <a:gd name="connsiteX4" fmla="*/ 6769 w 10000"/>
                <a:gd name="connsiteY4" fmla="*/ 9742 h 10000"/>
                <a:gd name="connsiteX5" fmla="*/ 6919 w 10000"/>
                <a:gd name="connsiteY5" fmla="*/ 9845 h 10000"/>
                <a:gd name="connsiteX6" fmla="*/ 7220 w 10000"/>
                <a:gd name="connsiteY6" fmla="*/ 9588 h 10000"/>
                <a:gd name="connsiteX7" fmla="*/ 7671 w 10000"/>
                <a:gd name="connsiteY7" fmla="*/ 9279 h 10000"/>
                <a:gd name="connsiteX8" fmla="*/ 8197 w 10000"/>
                <a:gd name="connsiteY8" fmla="*/ 9279 h 10000"/>
                <a:gd name="connsiteX9" fmla="*/ 8422 w 10000"/>
                <a:gd name="connsiteY9" fmla="*/ 9433 h 10000"/>
                <a:gd name="connsiteX10" fmla="*/ 8272 w 10000"/>
                <a:gd name="connsiteY10" fmla="*/ 9021 h 10000"/>
                <a:gd name="connsiteX11" fmla="*/ 7821 w 10000"/>
                <a:gd name="connsiteY11" fmla="*/ 8556 h 10000"/>
                <a:gd name="connsiteX12" fmla="*/ 7370 w 10000"/>
                <a:gd name="connsiteY12" fmla="*/ 8093 h 10000"/>
                <a:gd name="connsiteX13" fmla="*/ 6769 w 10000"/>
                <a:gd name="connsiteY13" fmla="*/ 7680 h 10000"/>
                <a:gd name="connsiteX14" fmla="*/ 7145 w 10000"/>
                <a:gd name="connsiteY14" fmla="*/ 7526 h 10000"/>
                <a:gd name="connsiteX15" fmla="*/ 7446 w 10000"/>
                <a:gd name="connsiteY15" fmla="*/ 6701 h 10000"/>
                <a:gd name="connsiteX16" fmla="*/ 7446 w 10000"/>
                <a:gd name="connsiteY16" fmla="*/ 6341 h 10000"/>
                <a:gd name="connsiteX17" fmla="*/ 7821 w 10000"/>
                <a:gd name="connsiteY17" fmla="*/ 6341 h 10000"/>
                <a:gd name="connsiteX18" fmla="*/ 8047 w 10000"/>
                <a:gd name="connsiteY18" fmla="*/ 5670 h 10000"/>
                <a:gd name="connsiteX19" fmla="*/ 8648 w 10000"/>
                <a:gd name="connsiteY19" fmla="*/ 5258 h 10000"/>
                <a:gd name="connsiteX20" fmla="*/ 8873 w 10000"/>
                <a:gd name="connsiteY20" fmla="*/ 4485 h 10000"/>
                <a:gd name="connsiteX21" fmla="*/ 8722 w 10000"/>
                <a:gd name="connsiteY21" fmla="*/ 4073 h 10000"/>
                <a:gd name="connsiteX22" fmla="*/ 9098 w 10000"/>
                <a:gd name="connsiteY22" fmla="*/ 3196 h 10000"/>
                <a:gd name="connsiteX23" fmla="*/ 9399 w 10000"/>
                <a:gd name="connsiteY23" fmla="*/ 2938 h 10000"/>
                <a:gd name="connsiteX24" fmla="*/ 10000 w 10000"/>
                <a:gd name="connsiteY24" fmla="*/ 2526 h 10000"/>
                <a:gd name="connsiteX25" fmla="*/ 9774 w 10000"/>
                <a:gd name="connsiteY25" fmla="*/ 2474 h 10000"/>
                <a:gd name="connsiteX26" fmla="*/ 9399 w 10000"/>
                <a:gd name="connsiteY26" fmla="*/ 2217 h 10000"/>
                <a:gd name="connsiteX27" fmla="*/ 9173 w 10000"/>
                <a:gd name="connsiteY27" fmla="*/ 1444 h 10000"/>
                <a:gd name="connsiteX28" fmla="*/ 9173 w 10000"/>
                <a:gd name="connsiteY28" fmla="*/ 1031 h 10000"/>
                <a:gd name="connsiteX29" fmla="*/ 9098 w 10000"/>
                <a:gd name="connsiteY29" fmla="*/ 515 h 10000"/>
                <a:gd name="connsiteX30" fmla="*/ 8873 w 10000"/>
                <a:gd name="connsiteY30" fmla="*/ 361 h 10000"/>
                <a:gd name="connsiteX31" fmla="*/ 8497 w 10000"/>
                <a:gd name="connsiteY31" fmla="*/ 155 h 10000"/>
                <a:gd name="connsiteX32" fmla="*/ 8272 w 10000"/>
                <a:gd name="connsiteY32" fmla="*/ 0 h 10000"/>
                <a:gd name="connsiteX33" fmla="*/ 7821 w 10000"/>
                <a:gd name="connsiteY33" fmla="*/ 206 h 10000"/>
                <a:gd name="connsiteX34" fmla="*/ 7370 w 10000"/>
                <a:gd name="connsiteY34" fmla="*/ 515 h 10000"/>
                <a:gd name="connsiteX35" fmla="*/ 6769 w 10000"/>
                <a:gd name="connsiteY35" fmla="*/ 515 h 10000"/>
                <a:gd name="connsiteX36" fmla="*/ 5717 w 10000"/>
                <a:gd name="connsiteY36" fmla="*/ 515 h 10000"/>
                <a:gd name="connsiteX37" fmla="*/ 5717 w 10000"/>
                <a:gd name="connsiteY37" fmla="*/ 464 h 10000"/>
                <a:gd name="connsiteX38" fmla="*/ 5643 w 10000"/>
                <a:gd name="connsiteY38" fmla="*/ 515 h 10000"/>
                <a:gd name="connsiteX39" fmla="*/ 1961 w 10000"/>
                <a:gd name="connsiteY39" fmla="*/ 515 h 10000"/>
                <a:gd name="connsiteX40" fmla="*/ 1961 w 10000"/>
                <a:gd name="connsiteY40" fmla="*/ 1598 h 10000"/>
                <a:gd name="connsiteX41" fmla="*/ 1285 w 10000"/>
                <a:gd name="connsiteY41" fmla="*/ 1598 h 10000"/>
                <a:gd name="connsiteX42" fmla="*/ 1285 w 10000"/>
                <a:gd name="connsiteY42" fmla="*/ 1804 h 10000"/>
                <a:gd name="connsiteX43" fmla="*/ 1285 w 10000"/>
                <a:gd name="connsiteY43" fmla="*/ 3659 h 10000"/>
                <a:gd name="connsiteX44" fmla="*/ 1135 w 10000"/>
                <a:gd name="connsiteY44" fmla="*/ 3762 h 10000"/>
                <a:gd name="connsiteX45" fmla="*/ 684 w 10000"/>
                <a:gd name="connsiteY45" fmla="*/ 3969 h 10000"/>
                <a:gd name="connsiteX46" fmla="*/ 609 w 10000"/>
                <a:gd name="connsiteY46" fmla="*/ 4227 h 10000"/>
                <a:gd name="connsiteX47" fmla="*/ 384 w 10000"/>
                <a:gd name="connsiteY47" fmla="*/ 4485 h 10000"/>
                <a:gd name="connsiteX48" fmla="*/ 234 w 10000"/>
                <a:gd name="connsiteY48" fmla="*/ 4897 h 10000"/>
                <a:gd name="connsiteX49" fmla="*/ 8 w 10000"/>
                <a:gd name="connsiteY49" fmla="*/ 5361 h 10000"/>
                <a:gd name="connsiteX50" fmla="*/ 384 w 10000"/>
                <a:gd name="connsiteY50" fmla="*/ 5412 h 10000"/>
                <a:gd name="connsiteX51" fmla="*/ 458 w 10000"/>
                <a:gd name="connsiteY51" fmla="*/ 5824 h 10000"/>
                <a:gd name="connsiteX52" fmla="*/ 684 w 10000"/>
                <a:gd name="connsiteY52" fmla="*/ 6237 h 10000"/>
                <a:gd name="connsiteX53" fmla="*/ 1059 w 10000"/>
                <a:gd name="connsiteY53" fmla="*/ 7062 h 10000"/>
                <a:gd name="connsiteX0" fmla="*/ 5417 w 10000"/>
                <a:gd name="connsiteY0" fmla="*/ 10000 h 10000"/>
                <a:gd name="connsiteX1" fmla="*/ 5868 w 10000"/>
                <a:gd name="connsiteY1" fmla="*/ 9845 h 10000"/>
                <a:gd name="connsiteX2" fmla="*/ 6093 w 10000"/>
                <a:gd name="connsiteY2" fmla="*/ 9948 h 10000"/>
                <a:gd name="connsiteX3" fmla="*/ 6769 w 10000"/>
                <a:gd name="connsiteY3" fmla="*/ 9742 h 10000"/>
                <a:gd name="connsiteX4" fmla="*/ 6919 w 10000"/>
                <a:gd name="connsiteY4" fmla="*/ 9845 h 10000"/>
                <a:gd name="connsiteX5" fmla="*/ 7220 w 10000"/>
                <a:gd name="connsiteY5" fmla="*/ 9588 h 10000"/>
                <a:gd name="connsiteX6" fmla="*/ 7671 w 10000"/>
                <a:gd name="connsiteY6" fmla="*/ 9279 h 10000"/>
                <a:gd name="connsiteX7" fmla="*/ 8197 w 10000"/>
                <a:gd name="connsiteY7" fmla="*/ 9279 h 10000"/>
                <a:gd name="connsiteX8" fmla="*/ 8422 w 10000"/>
                <a:gd name="connsiteY8" fmla="*/ 9433 h 10000"/>
                <a:gd name="connsiteX9" fmla="*/ 8272 w 10000"/>
                <a:gd name="connsiteY9" fmla="*/ 9021 h 10000"/>
                <a:gd name="connsiteX10" fmla="*/ 7821 w 10000"/>
                <a:gd name="connsiteY10" fmla="*/ 8556 h 10000"/>
                <a:gd name="connsiteX11" fmla="*/ 7370 w 10000"/>
                <a:gd name="connsiteY11" fmla="*/ 8093 h 10000"/>
                <a:gd name="connsiteX12" fmla="*/ 6769 w 10000"/>
                <a:gd name="connsiteY12" fmla="*/ 7680 h 10000"/>
                <a:gd name="connsiteX13" fmla="*/ 7145 w 10000"/>
                <a:gd name="connsiteY13" fmla="*/ 7526 h 10000"/>
                <a:gd name="connsiteX14" fmla="*/ 7446 w 10000"/>
                <a:gd name="connsiteY14" fmla="*/ 6701 h 10000"/>
                <a:gd name="connsiteX15" fmla="*/ 7446 w 10000"/>
                <a:gd name="connsiteY15" fmla="*/ 6341 h 10000"/>
                <a:gd name="connsiteX16" fmla="*/ 7821 w 10000"/>
                <a:gd name="connsiteY16" fmla="*/ 6341 h 10000"/>
                <a:gd name="connsiteX17" fmla="*/ 8047 w 10000"/>
                <a:gd name="connsiteY17" fmla="*/ 5670 h 10000"/>
                <a:gd name="connsiteX18" fmla="*/ 8648 w 10000"/>
                <a:gd name="connsiteY18" fmla="*/ 5258 h 10000"/>
                <a:gd name="connsiteX19" fmla="*/ 8873 w 10000"/>
                <a:gd name="connsiteY19" fmla="*/ 4485 h 10000"/>
                <a:gd name="connsiteX20" fmla="*/ 8722 w 10000"/>
                <a:gd name="connsiteY20" fmla="*/ 4073 h 10000"/>
                <a:gd name="connsiteX21" fmla="*/ 9098 w 10000"/>
                <a:gd name="connsiteY21" fmla="*/ 3196 h 10000"/>
                <a:gd name="connsiteX22" fmla="*/ 9399 w 10000"/>
                <a:gd name="connsiteY22" fmla="*/ 2938 h 10000"/>
                <a:gd name="connsiteX23" fmla="*/ 10000 w 10000"/>
                <a:gd name="connsiteY23" fmla="*/ 2526 h 10000"/>
                <a:gd name="connsiteX24" fmla="*/ 9774 w 10000"/>
                <a:gd name="connsiteY24" fmla="*/ 2474 h 10000"/>
                <a:gd name="connsiteX25" fmla="*/ 9399 w 10000"/>
                <a:gd name="connsiteY25" fmla="*/ 2217 h 10000"/>
                <a:gd name="connsiteX26" fmla="*/ 9173 w 10000"/>
                <a:gd name="connsiteY26" fmla="*/ 1444 h 10000"/>
                <a:gd name="connsiteX27" fmla="*/ 9173 w 10000"/>
                <a:gd name="connsiteY27" fmla="*/ 1031 h 10000"/>
                <a:gd name="connsiteX28" fmla="*/ 9098 w 10000"/>
                <a:gd name="connsiteY28" fmla="*/ 515 h 10000"/>
                <a:gd name="connsiteX29" fmla="*/ 8873 w 10000"/>
                <a:gd name="connsiteY29" fmla="*/ 361 h 10000"/>
                <a:gd name="connsiteX30" fmla="*/ 8497 w 10000"/>
                <a:gd name="connsiteY30" fmla="*/ 155 h 10000"/>
                <a:gd name="connsiteX31" fmla="*/ 8272 w 10000"/>
                <a:gd name="connsiteY31" fmla="*/ 0 h 10000"/>
                <a:gd name="connsiteX32" fmla="*/ 7821 w 10000"/>
                <a:gd name="connsiteY32" fmla="*/ 206 h 10000"/>
                <a:gd name="connsiteX33" fmla="*/ 7370 w 10000"/>
                <a:gd name="connsiteY33" fmla="*/ 515 h 10000"/>
                <a:gd name="connsiteX34" fmla="*/ 6769 w 10000"/>
                <a:gd name="connsiteY34" fmla="*/ 515 h 10000"/>
                <a:gd name="connsiteX35" fmla="*/ 5717 w 10000"/>
                <a:gd name="connsiteY35" fmla="*/ 515 h 10000"/>
                <a:gd name="connsiteX36" fmla="*/ 5717 w 10000"/>
                <a:gd name="connsiteY36" fmla="*/ 464 h 10000"/>
                <a:gd name="connsiteX37" fmla="*/ 5643 w 10000"/>
                <a:gd name="connsiteY37" fmla="*/ 515 h 10000"/>
                <a:gd name="connsiteX38" fmla="*/ 1961 w 10000"/>
                <a:gd name="connsiteY38" fmla="*/ 515 h 10000"/>
                <a:gd name="connsiteX39" fmla="*/ 1961 w 10000"/>
                <a:gd name="connsiteY39" fmla="*/ 1598 h 10000"/>
                <a:gd name="connsiteX40" fmla="*/ 1285 w 10000"/>
                <a:gd name="connsiteY40" fmla="*/ 1598 h 10000"/>
                <a:gd name="connsiteX41" fmla="*/ 1285 w 10000"/>
                <a:gd name="connsiteY41" fmla="*/ 1804 h 10000"/>
                <a:gd name="connsiteX42" fmla="*/ 1285 w 10000"/>
                <a:gd name="connsiteY42" fmla="*/ 3659 h 10000"/>
                <a:gd name="connsiteX43" fmla="*/ 1135 w 10000"/>
                <a:gd name="connsiteY43" fmla="*/ 3762 h 10000"/>
                <a:gd name="connsiteX44" fmla="*/ 684 w 10000"/>
                <a:gd name="connsiteY44" fmla="*/ 3969 h 10000"/>
                <a:gd name="connsiteX45" fmla="*/ 609 w 10000"/>
                <a:gd name="connsiteY45" fmla="*/ 4227 h 10000"/>
                <a:gd name="connsiteX46" fmla="*/ 384 w 10000"/>
                <a:gd name="connsiteY46" fmla="*/ 4485 h 10000"/>
                <a:gd name="connsiteX47" fmla="*/ 234 w 10000"/>
                <a:gd name="connsiteY47" fmla="*/ 4897 h 10000"/>
                <a:gd name="connsiteX48" fmla="*/ 8 w 10000"/>
                <a:gd name="connsiteY48" fmla="*/ 5361 h 10000"/>
                <a:gd name="connsiteX49" fmla="*/ 384 w 10000"/>
                <a:gd name="connsiteY49" fmla="*/ 5412 h 10000"/>
                <a:gd name="connsiteX50" fmla="*/ 458 w 10000"/>
                <a:gd name="connsiteY50" fmla="*/ 5824 h 10000"/>
                <a:gd name="connsiteX51" fmla="*/ 684 w 10000"/>
                <a:gd name="connsiteY51" fmla="*/ 6237 h 10000"/>
                <a:gd name="connsiteX52" fmla="*/ 1059 w 10000"/>
                <a:gd name="connsiteY52" fmla="*/ 7062 h 10000"/>
                <a:gd name="connsiteX0" fmla="*/ 5868 w 10000"/>
                <a:gd name="connsiteY0" fmla="*/ 9845 h 9986"/>
                <a:gd name="connsiteX1" fmla="*/ 6093 w 10000"/>
                <a:gd name="connsiteY1" fmla="*/ 9948 h 9986"/>
                <a:gd name="connsiteX2" fmla="*/ 6769 w 10000"/>
                <a:gd name="connsiteY2" fmla="*/ 9742 h 9986"/>
                <a:gd name="connsiteX3" fmla="*/ 6919 w 10000"/>
                <a:gd name="connsiteY3" fmla="*/ 9845 h 9986"/>
                <a:gd name="connsiteX4" fmla="*/ 7220 w 10000"/>
                <a:gd name="connsiteY4" fmla="*/ 9588 h 9986"/>
                <a:gd name="connsiteX5" fmla="*/ 7671 w 10000"/>
                <a:gd name="connsiteY5" fmla="*/ 9279 h 9986"/>
                <a:gd name="connsiteX6" fmla="*/ 8197 w 10000"/>
                <a:gd name="connsiteY6" fmla="*/ 9279 h 9986"/>
                <a:gd name="connsiteX7" fmla="*/ 8422 w 10000"/>
                <a:gd name="connsiteY7" fmla="*/ 9433 h 9986"/>
                <a:gd name="connsiteX8" fmla="*/ 8272 w 10000"/>
                <a:gd name="connsiteY8" fmla="*/ 9021 h 9986"/>
                <a:gd name="connsiteX9" fmla="*/ 7821 w 10000"/>
                <a:gd name="connsiteY9" fmla="*/ 8556 h 9986"/>
                <a:gd name="connsiteX10" fmla="*/ 7370 w 10000"/>
                <a:gd name="connsiteY10" fmla="*/ 8093 h 9986"/>
                <a:gd name="connsiteX11" fmla="*/ 6769 w 10000"/>
                <a:gd name="connsiteY11" fmla="*/ 7680 h 9986"/>
                <a:gd name="connsiteX12" fmla="*/ 7145 w 10000"/>
                <a:gd name="connsiteY12" fmla="*/ 7526 h 9986"/>
                <a:gd name="connsiteX13" fmla="*/ 7446 w 10000"/>
                <a:gd name="connsiteY13" fmla="*/ 6701 h 9986"/>
                <a:gd name="connsiteX14" fmla="*/ 7446 w 10000"/>
                <a:gd name="connsiteY14" fmla="*/ 6341 h 9986"/>
                <a:gd name="connsiteX15" fmla="*/ 7821 w 10000"/>
                <a:gd name="connsiteY15" fmla="*/ 6341 h 9986"/>
                <a:gd name="connsiteX16" fmla="*/ 8047 w 10000"/>
                <a:gd name="connsiteY16" fmla="*/ 5670 h 9986"/>
                <a:gd name="connsiteX17" fmla="*/ 8648 w 10000"/>
                <a:gd name="connsiteY17" fmla="*/ 5258 h 9986"/>
                <a:gd name="connsiteX18" fmla="*/ 8873 w 10000"/>
                <a:gd name="connsiteY18" fmla="*/ 4485 h 9986"/>
                <a:gd name="connsiteX19" fmla="*/ 8722 w 10000"/>
                <a:gd name="connsiteY19" fmla="*/ 4073 h 9986"/>
                <a:gd name="connsiteX20" fmla="*/ 9098 w 10000"/>
                <a:gd name="connsiteY20" fmla="*/ 3196 h 9986"/>
                <a:gd name="connsiteX21" fmla="*/ 9399 w 10000"/>
                <a:gd name="connsiteY21" fmla="*/ 2938 h 9986"/>
                <a:gd name="connsiteX22" fmla="*/ 10000 w 10000"/>
                <a:gd name="connsiteY22" fmla="*/ 2526 h 9986"/>
                <a:gd name="connsiteX23" fmla="*/ 9774 w 10000"/>
                <a:gd name="connsiteY23" fmla="*/ 2474 h 9986"/>
                <a:gd name="connsiteX24" fmla="*/ 9399 w 10000"/>
                <a:gd name="connsiteY24" fmla="*/ 2217 h 9986"/>
                <a:gd name="connsiteX25" fmla="*/ 9173 w 10000"/>
                <a:gd name="connsiteY25" fmla="*/ 1444 h 9986"/>
                <a:gd name="connsiteX26" fmla="*/ 9173 w 10000"/>
                <a:gd name="connsiteY26" fmla="*/ 1031 h 9986"/>
                <a:gd name="connsiteX27" fmla="*/ 9098 w 10000"/>
                <a:gd name="connsiteY27" fmla="*/ 515 h 9986"/>
                <a:gd name="connsiteX28" fmla="*/ 8873 w 10000"/>
                <a:gd name="connsiteY28" fmla="*/ 361 h 9986"/>
                <a:gd name="connsiteX29" fmla="*/ 8497 w 10000"/>
                <a:gd name="connsiteY29" fmla="*/ 155 h 9986"/>
                <a:gd name="connsiteX30" fmla="*/ 8272 w 10000"/>
                <a:gd name="connsiteY30" fmla="*/ 0 h 9986"/>
                <a:gd name="connsiteX31" fmla="*/ 7821 w 10000"/>
                <a:gd name="connsiteY31" fmla="*/ 206 h 9986"/>
                <a:gd name="connsiteX32" fmla="*/ 7370 w 10000"/>
                <a:gd name="connsiteY32" fmla="*/ 515 h 9986"/>
                <a:gd name="connsiteX33" fmla="*/ 6769 w 10000"/>
                <a:gd name="connsiteY33" fmla="*/ 515 h 9986"/>
                <a:gd name="connsiteX34" fmla="*/ 5717 w 10000"/>
                <a:gd name="connsiteY34" fmla="*/ 515 h 9986"/>
                <a:gd name="connsiteX35" fmla="*/ 5717 w 10000"/>
                <a:gd name="connsiteY35" fmla="*/ 464 h 9986"/>
                <a:gd name="connsiteX36" fmla="*/ 5643 w 10000"/>
                <a:gd name="connsiteY36" fmla="*/ 515 h 9986"/>
                <a:gd name="connsiteX37" fmla="*/ 1961 w 10000"/>
                <a:gd name="connsiteY37" fmla="*/ 515 h 9986"/>
                <a:gd name="connsiteX38" fmla="*/ 1961 w 10000"/>
                <a:gd name="connsiteY38" fmla="*/ 1598 h 9986"/>
                <a:gd name="connsiteX39" fmla="*/ 1285 w 10000"/>
                <a:gd name="connsiteY39" fmla="*/ 1598 h 9986"/>
                <a:gd name="connsiteX40" fmla="*/ 1285 w 10000"/>
                <a:gd name="connsiteY40" fmla="*/ 1804 h 9986"/>
                <a:gd name="connsiteX41" fmla="*/ 1285 w 10000"/>
                <a:gd name="connsiteY41" fmla="*/ 3659 h 9986"/>
                <a:gd name="connsiteX42" fmla="*/ 1135 w 10000"/>
                <a:gd name="connsiteY42" fmla="*/ 3762 h 9986"/>
                <a:gd name="connsiteX43" fmla="*/ 684 w 10000"/>
                <a:gd name="connsiteY43" fmla="*/ 3969 h 9986"/>
                <a:gd name="connsiteX44" fmla="*/ 609 w 10000"/>
                <a:gd name="connsiteY44" fmla="*/ 4227 h 9986"/>
                <a:gd name="connsiteX45" fmla="*/ 384 w 10000"/>
                <a:gd name="connsiteY45" fmla="*/ 4485 h 9986"/>
                <a:gd name="connsiteX46" fmla="*/ 234 w 10000"/>
                <a:gd name="connsiteY46" fmla="*/ 4897 h 9986"/>
                <a:gd name="connsiteX47" fmla="*/ 8 w 10000"/>
                <a:gd name="connsiteY47" fmla="*/ 5361 h 9986"/>
                <a:gd name="connsiteX48" fmla="*/ 384 w 10000"/>
                <a:gd name="connsiteY48" fmla="*/ 5412 h 9986"/>
                <a:gd name="connsiteX49" fmla="*/ 458 w 10000"/>
                <a:gd name="connsiteY49" fmla="*/ 5824 h 9986"/>
                <a:gd name="connsiteX50" fmla="*/ 684 w 10000"/>
                <a:gd name="connsiteY50" fmla="*/ 6237 h 9986"/>
                <a:gd name="connsiteX51" fmla="*/ 1059 w 10000"/>
                <a:gd name="connsiteY51" fmla="*/ 7062 h 9986"/>
                <a:gd name="connsiteX0" fmla="*/ 6093 w 10000"/>
                <a:gd name="connsiteY0" fmla="*/ 9962 h 10000"/>
                <a:gd name="connsiteX1" fmla="*/ 6769 w 10000"/>
                <a:gd name="connsiteY1" fmla="*/ 9756 h 10000"/>
                <a:gd name="connsiteX2" fmla="*/ 6919 w 10000"/>
                <a:gd name="connsiteY2" fmla="*/ 9859 h 10000"/>
                <a:gd name="connsiteX3" fmla="*/ 7220 w 10000"/>
                <a:gd name="connsiteY3" fmla="*/ 9601 h 10000"/>
                <a:gd name="connsiteX4" fmla="*/ 7671 w 10000"/>
                <a:gd name="connsiteY4" fmla="*/ 9292 h 10000"/>
                <a:gd name="connsiteX5" fmla="*/ 8197 w 10000"/>
                <a:gd name="connsiteY5" fmla="*/ 9292 h 10000"/>
                <a:gd name="connsiteX6" fmla="*/ 8422 w 10000"/>
                <a:gd name="connsiteY6" fmla="*/ 9446 h 10000"/>
                <a:gd name="connsiteX7" fmla="*/ 8272 w 10000"/>
                <a:gd name="connsiteY7" fmla="*/ 9034 h 10000"/>
                <a:gd name="connsiteX8" fmla="*/ 7821 w 10000"/>
                <a:gd name="connsiteY8" fmla="*/ 8568 h 10000"/>
                <a:gd name="connsiteX9" fmla="*/ 7370 w 10000"/>
                <a:gd name="connsiteY9" fmla="*/ 8104 h 10000"/>
                <a:gd name="connsiteX10" fmla="*/ 6769 w 10000"/>
                <a:gd name="connsiteY10" fmla="*/ 7691 h 10000"/>
                <a:gd name="connsiteX11" fmla="*/ 7145 w 10000"/>
                <a:gd name="connsiteY11" fmla="*/ 7537 h 10000"/>
                <a:gd name="connsiteX12" fmla="*/ 7446 w 10000"/>
                <a:gd name="connsiteY12" fmla="*/ 6710 h 10000"/>
                <a:gd name="connsiteX13" fmla="*/ 7446 w 10000"/>
                <a:gd name="connsiteY13" fmla="*/ 6350 h 10000"/>
                <a:gd name="connsiteX14" fmla="*/ 7821 w 10000"/>
                <a:gd name="connsiteY14" fmla="*/ 6350 h 10000"/>
                <a:gd name="connsiteX15" fmla="*/ 8047 w 10000"/>
                <a:gd name="connsiteY15" fmla="*/ 5678 h 10000"/>
                <a:gd name="connsiteX16" fmla="*/ 8648 w 10000"/>
                <a:gd name="connsiteY16" fmla="*/ 5265 h 10000"/>
                <a:gd name="connsiteX17" fmla="*/ 8873 w 10000"/>
                <a:gd name="connsiteY17" fmla="*/ 4491 h 10000"/>
                <a:gd name="connsiteX18" fmla="*/ 8722 w 10000"/>
                <a:gd name="connsiteY18" fmla="*/ 4079 h 10000"/>
                <a:gd name="connsiteX19" fmla="*/ 9098 w 10000"/>
                <a:gd name="connsiteY19" fmla="*/ 3200 h 10000"/>
                <a:gd name="connsiteX20" fmla="*/ 9399 w 10000"/>
                <a:gd name="connsiteY20" fmla="*/ 2942 h 10000"/>
                <a:gd name="connsiteX21" fmla="*/ 10000 w 10000"/>
                <a:gd name="connsiteY21" fmla="*/ 2530 h 10000"/>
                <a:gd name="connsiteX22" fmla="*/ 9774 w 10000"/>
                <a:gd name="connsiteY22" fmla="*/ 2477 h 10000"/>
                <a:gd name="connsiteX23" fmla="*/ 9399 w 10000"/>
                <a:gd name="connsiteY23" fmla="*/ 2220 h 10000"/>
                <a:gd name="connsiteX24" fmla="*/ 9173 w 10000"/>
                <a:gd name="connsiteY24" fmla="*/ 1446 h 10000"/>
                <a:gd name="connsiteX25" fmla="*/ 9173 w 10000"/>
                <a:gd name="connsiteY25" fmla="*/ 1032 h 10000"/>
                <a:gd name="connsiteX26" fmla="*/ 9098 w 10000"/>
                <a:gd name="connsiteY26" fmla="*/ 516 h 10000"/>
                <a:gd name="connsiteX27" fmla="*/ 8873 w 10000"/>
                <a:gd name="connsiteY27" fmla="*/ 362 h 10000"/>
                <a:gd name="connsiteX28" fmla="*/ 8497 w 10000"/>
                <a:gd name="connsiteY28" fmla="*/ 155 h 10000"/>
                <a:gd name="connsiteX29" fmla="*/ 8272 w 10000"/>
                <a:gd name="connsiteY29" fmla="*/ 0 h 10000"/>
                <a:gd name="connsiteX30" fmla="*/ 7821 w 10000"/>
                <a:gd name="connsiteY30" fmla="*/ 206 h 10000"/>
                <a:gd name="connsiteX31" fmla="*/ 7370 w 10000"/>
                <a:gd name="connsiteY31" fmla="*/ 516 h 10000"/>
                <a:gd name="connsiteX32" fmla="*/ 6769 w 10000"/>
                <a:gd name="connsiteY32" fmla="*/ 516 h 10000"/>
                <a:gd name="connsiteX33" fmla="*/ 5717 w 10000"/>
                <a:gd name="connsiteY33" fmla="*/ 516 h 10000"/>
                <a:gd name="connsiteX34" fmla="*/ 5717 w 10000"/>
                <a:gd name="connsiteY34" fmla="*/ 465 h 10000"/>
                <a:gd name="connsiteX35" fmla="*/ 5643 w 10000"/>
                <a:gd name="connsiteY35" fmla="*/ 516 h 10000"/>
                <a:gd name="connsiteX36" fmla="*/ 1961 w 10000"/>
                <a:gd name="connsiteY36" fmla="*/ 516 h 10000"/>
                <a:gd name="connsiteX37" fmla="*/ 1961 w 10000"/>
                <a:gd name="connsiteY37" fmla="*/ 1600 h 10000"/>
                <a:gd name="connsiteX38" fmla="*/ 1285 w 10000"/>
                <a:gd name="connsiteY38" fmla="*/ 1600 h 10000"/>
                <a:gd name="connsiteX39" fmla="*/ 1285 w 10000"/>
                <a:gd name="connsiteY39" fmla="*/ 1807 h 10000"/>
                <a:gd name="connsiteX40" fmla="*/ 1285 w 10000"/>
                <a:gd name="connsiteY40" fmla="*/ 3664 h 10000"/>
                <a:gd name="connsiteX41" fmla="*/ 1135 w 10000"/>
                <a:gd name="connsiteY41" fmla="*/ 3767 h 10000"/>
                <a:gd name="connsiteX42" fmla="*/ 684 w 10000"/>
                <a:gd name="connsiteY42" fmla="*/ 3975 h 10000"/>
                <a:gd name="connsiteX43" fmla="*/ 609 w 10000"/>
                <a:gd name="connsiteY43" fmla="*/ 4233 h 10000"/>
                <a:gd name="connsiteX44" fmla="*/ 384 w 10000"/>
                <a:gd name="connsiteY44" fmla="*/ 4491 h 10000"/>
                <a:gd name="connsiteX45" fmla="*/ 234 w 10000"/>
                <a:gd name="connsiteY45" fmla="*/ 4904 h 10000"/>
                <a:gd name="connsiteX46" fmla="*/ 8 w 10000"/>
                <a:gd name="connsiteY46" fmla="*/ 5369 h 10000"/>
                <a:gd name="connsiteX47" fmla="*/ 384 w 10000"/>
                <a:gd name="connsiteY47" fmla="*/ 5420 h 10000"/>
                <a:gd name="connsiteX48" fmla="*/ 458 w 10000"/>
                <a:gd name="connsiteY48" fmla="*/ 5832 h 10000"/>
                <a:gd name="connsiteX49" fmla="*/ 684 w 10000"/>
                <a:gd name="connsiteY49" fmla="*/ 6246 h 10000"/>
                <a:gd name="connsiteX50" fmla="*/ 1059 w 10000"/>
                <a:gd name="connsiteY50" fmla="*/ 7072 h 10000"/>
                <a:gd name="connsiteX0" fmla="*/ 6769 w 10000"/>
                <a:gd name="connsiteY0" fmla="*/ 9756 h 9859"/>
                <a:gd name="connsiteX1" fmla="*/ 6919 w 10000"/>
                <a:gd name="connsiteY1" fmla="*/ 9859 h 9859"/>
                <a:gd name="connsiteX2" fmla="*/ 7220 w 10000"/>
                <a:gd name="connsiteY2" fmla="*/ 9601 h 9859"/>
                <a:gd name="connsiteX3" fmla="*/ 7671 w 10000"/>
                <a:gd name="connsiteY3" fmla="*/ 9292 h 9859"/>
                <a:gd name="connsiteX4" fmla="*/ 8197 w 10000"/>
                <a:gd name="connsiteY4" fmla="*/ 9292 h 9859"/>
                <a:gd name="connsiteX5" fmla="*/ 8422 w 10000"/>
                <a:gd name="connsiteY5" fmla="*/ 9446 h 9859"/>
                <a:gd name="connsiteX6" fmla="*/ 8272 w 10000"/>
                <a:gd name="connsiteY6" fmla="*/ 9034 h 9859"/>
                <a:gd name="connsiteX7" fmla="*/ 7821 w 10000"/>
                <a:gd name="connsiteY7" fmla="*/ 8568 h 9859"/>
                <a:gd name="connsiteX8" fmla="*/ 7370 w 10000"/>
                <a:gd name="connsiteY8" fmla="*/ 8104 h 9859"/>
                <a:gd name="connsiteX9" fmla="*/ 6769 w 10000"/>
                <a:gd name="connsiteY9" fmla="*/ 7691 h 9859"/>
                <a:gd name="connsiteX10" fmla="*/ 7145 w 10000"/>
                <a:gd name="connsiteY10" fmla="*/ 7537 h 9859"/>
                <a:gd name="connsiteX11" fmla="*/ 7446 w 10000"/>
                <a:gd name="connsiteY11" fmla="*/ 6710 h 9859"/>
                <a:gd name="connsiteX12" fmla="*/ 7446 w 10000"/>
                <a:gd name="connsiteY12" fmla="*/ 6350 h 9859"/>
                <a:gd name="connsiteX13" fmla="*/ 7821 w 10000"/>
                <a:gd name="connsiteY13" fmla="*/ 6350 h 9859"/>
                <a:gd name="connsiteX14" fmla="*/ 8047 w 10000"/>
                <a:gd name="connsiteY14" fmla="*/ 5678 h 9859"/>
                <a:gd name="connsiteX15" fmla="*/ 8648 w 10000"/>
                <a:gd name="connsiteY15" fmla="*/ 5265 h 9859"/>
                <a:gd name="connsiteX16" fmla="*/ 8873 w 10000"/>
                <a:gd name="connsiteY16" fmla="*/ 4491 h 9859"/>
                <a:gd name="connsiteX17" fmla="*/ 8722 w 10000"/>
                <a:gd name="connsiteY17" fmla="*/ 4079 h 9859"/>
                <a:gd name="connsiteX18" fmla="*/ 9098 w 10000"/>
                <a:gd name="connsiteY18" fmla="*/ 3200 h 9859"/>
                <a:gd name="connsiteX19" fmla="*/ 9399 w 10000"/>
                <a:gd name="connsiteY19" fmla="*/ 2942 h 9859"/>
                <a:gd name="connsiteX20" fmla="*/ 10000 w 10000"/>
                <a:gd name="connsiteY20" fmla="*/ 2530 h 9859"/>
                <a:gd name="connsiteX21" fmla="*/ 9774 w 10000"/>
                <a:gd name="connsiteY21" fmla="*/ 2477 h 9859"/>
                <a:gd name="connsiteX22" fmla="*/ 9399 w 10000"/>
                <a:gd name="connsiteY22" fmla="*/ 2220 h 9859"/>
                <a:gd name="connsiteX23" fmla="*/ 9173 w 10000"/>
                <a:gd name="connsiteY23" fmla="*/ 1446 h 9859"/>
                <a:gd name="connsiteX24" fmla="*/ 9173 w 10000"/>
                <a:gd name="connsiteY24" fmla="*/ 1032 h 9859"/>
                <a:gd name="connsiteX25" fmla="*/ 9098 w 10000"/>
                <a:gd name="connsiteY25" fmla="*/ 516 h 9859"/>
                <a:gd name="connsiteX26" fmla="*/ 8873 w 10000"/>
                <a:gd name="connsiteY26" fmla="*/ 362 h 9859"/>
                <a:gd name="connsiteX27" fmla="*/ 8497 w 10000"/>
                <a:gd name="connsiteY27" fmla="*/ 155 h 9859"/>
                <a:gd name="connsiteX28" fmla="*/ 8272 w 10000"/>
                <a:gd name="connsiteY28" fmla="*/ 0 h 9859"/>
                <a:gd name="connsiteX29" fmla="*/ 7821 w 10000"/>
                <a:gd name="connsiteY29" fmla="*/ 206 h 9859"/>
                <a:gd name="connsiteX30" fmla="*/ 7370 w 10000"/>
                <a:gd name="connsiteY30" fmla="*/ 516 h 9859"/>
                <a:gd name="connsiteX31" fmla="*/ 6769 w 10000"/>
                <a:gd name="connsiteY31" fmla="*/ 516 h 9859"/>
                <a:gd name="connsiteX32" fmla="*/ 5717 w 10000"/>
                <a:gd name="connsiteY32" fmla="*/ 516 h 9859"/>
                <a:gd name="connsiteX33" fmla="*/ 5717 w 10000"/>
                <a:gd name="connsiteY33" fmla="*/ 465 h 9859"/>
                <a:gd name="connsiteX34" fmla="*/ 5643 w 10000"/>
                <a:gd name="connsiteY34" fmla="*/ 516 h 9859"/>
                <a:gd name="connsiteX35" fmla="*/ 1961 w 10000"/>
                <a:gd name="connsiteY35" fmla="*/ 516 h 9859"/>
                <a:gd name="connsiteX36" fmla="*/ 1961 w 10000"/>
                <a:gd name="connsiteY36" fmla="*/ 1600 h 9859"/>
                <a:gd name="connsiteX37" fmla="*/ 1285 w 10000"/>
                <a:gd name="connsiteY37" fmla="*/ 1600 h 9859"/>
                <a:gd name="connsiteX38" fmla="*/ 1285 w 10000"/>
                <a:gd name="connsiteY38" fmla="*/ 1807 h 9859"/>
                <a:gd name="connsiteX39" fmla="*/ 1285 w 10000"/>
                <a:gd name="connsiteY39" fmla="*/ 3664 h 9859"/>
                <a:gd name="connsiteX40" fmla="*/ 1135 w 10000"/>
                <a:gd name="connsiteY40" fmla="*/ 3767 h 9859"/>
                <a:gd name="connsiteX41" fmla="*/ 684 w 10000"/>
                <a:gd name="connsiteY41" fmla="*/ 3975 h 9859"/>
                <a:gd name="connsiteX42" fmla="*/ 609 w 10000"/>
                <a:gd name="connsiteY42" fmla="*/ 4233 h 9859"/>
                <a:gd name="connsiteX43" fmla="*/ 384 w 10000"/>
                <a:gd name="connsiteY43" fmla="*/ 4491 h 9859"/>
                <a:gd name="connsiteX44" fmla="*/ 234 w 10000"/>
                <a:gd name="connsiteY44" fmla="*/ 4904 h 9859"/>
                <a:gd name="connsiteX45" fmla="*/ 8 w 10000"/>
                <a:gd name="connsiteY45" fmla="*/ 5369 h 9859"/>
                <a:gd name="connsiteX46" fmla="*/ 384 w 10000"/>
                <a:gd name="connsiteY46" fmla="*/ 5420 h 9859"/>
                <a:gd name="connsiteX47" fmla="*/ 458 w 10000"/>
                <a:gd name="connsiteY47" fmla="*/ 5832 h 9859"/>
                <a:gd name="connsiteX48" fmla="*/ 684 w 10000"/>
                <a:gd name="connsiteY48" fmla="*/ 6246 h 9859"/>
                <a:gd name="connsiteX49" fmla="*/ 1059 w 10000"/>
                <a:gd name="connsiteY49" fmla="*/ 7072 h 9859"/>
                <a:gd name="connsiteX0" fmla="*/ 6919 w 10000"/>
                <a:gd name="connsiteY0" fmla="*/ 10000 h 10000"/>
                <a:gd name="connsiteX1" fmla="*/ 7220 w 10000"/>
                <a:gd name="connsiteY1" fmla="*/ 9738 h 10000"/>
                <a:gd name="connsiteX2" fmla="*/ 7671 w 10000"/>
                <a:gd name="connsiteY2" fmla="*/ 9425 h 10000"/>
                <a:gd name="connsiteX3" fmla="*/ 8197 w 10000"/>
                <a:gd name="connsiteY3" fmla="*/ 9425 h 10000"/>
                <a:gd name="connsiteX4" fmla="*/ 8422 w 10000"/>
                <a:gd name="connsiteY4" fmla="*/ 9581 h 10000"/>
                <a:gd name="connsiteX5" fmla="*/ 8272 w 10000"/>
                <a:gd name="connsiteY5" fmla="*/ 9163 h 10000"/>
                <a:gd name="connsiteX6" fmla="*/ 7821 w 10000"/>
                <a:gd name="connsiteY6" fmla="*/ 8691 h 10000"/>
                <a:gd name="connsiteX7" fmla="*/ 7370 w 10000"/>
                <a:gd name="connsiteY7" fmla="*/ 8220 h 10000"/>
                <a:gd name="connsiteX8" fmla="*/ 6769 w 10000"/>
                <a:gd name="connsiteY8" fmla="*/ 7801 h 10000"/>
                <a:gd name="connsiteX9" fmla="*/ 7145 w 10000"/>
                <a:gd name="connsiteY9" fmla="*/ 7645 h 10000"/>
                <a:gd name="connsiteX10" fmla="*/ 7446 w 10000"/>
                <a:gd name="connsiteY10" fmla="*/ 6806 h 10000"/>
                <a:gd name="connsiteX11" fmla="*/ 7446 w 10000"/>
                <a:gd name="connsiteY11" fmla="*/ 6441 h 10000"/>
                <a:gd name="connsiteX12" fmla="*/ 7821 w 10000"/>
                <a:gd name="connsiteY12" fmla="*/ 6441 h 10000"/>
                <a:gd name="connsiteX13" fmla="*/ 8047 w 10000"/>
                <a:gd name="connsiteY13" fmla="*/ 5759 h 10000"/>
                <a:gd name="connsiteX14" fmla="*/ 8648 w 10000"/>
                <a:gd name="connsiteY14" fmla="*/ 5340 h 10000"/>
                <a:gd name="connsiteX15" fmla="*/ 8873 w 10000"/>
                <a:gd name="connsiteY15" fmla="*/ 4555 h 10000"/>
                <a:gd name="connsiteX16" fmla="*/ 8722 w 10000"/>
                <a:gd name="connsiteY16" fmla="*/ 4137 h 10000"/>
                <a:gd name="connsiteX17" fmla="*/ 9098 w 10000"/>
                <a:gd name="connsiteY17" fmla="*/ 3246 h 10000"/>
                <a:gd name="connsiteX18" fmla="*/ 9399 w 10000"/>
                <a:gd name="connsiteY18" fmla="*/ 2984 h 10000"/>
                <a:gd name="connsiteX19" fmla="*/ 10000 w 10000"/>
                <a:gd name="connsiteY19" fmla="*/ 2566 h 10000"/>
                <a:gd name="connsiteX20" fmla="*/ 9774 w 10000"/>
                <a:gd name="connsiteY20" fmla="*/ 2512 h 10000"/>
                <a:gd name="connsiteX21" fmla="*/ 9399 w 10000"/>
                <a:gd name="connsiteY21" fmla="*/ 2252 h 10000"/>
                <a:gd name="connsiteX22" fmla="*/ 9173 w 10000"/>
                <a:gd name="connsiteY22" fmla="*/ 1467 h 10000"/>
                <a:gd name="connsiteX23" fmla="*/ 9173 w 10000"/>
                <a:gd name="connsiteY23" fmla="*/ 1047 h 10000"/>
                <a:gd name="connsiteX24" fmla="*/ 9098 w 10000"/>
                <a:gd name="connsiteY24" fmla="*/ 523 h 10000"/>
                <a:gd name="connsiteX25" fmla="*/ 8873 w 10000"/>
                <a:gd name="connsiteY25" fmla="*/ 367 h 10000"/>
                <a:gd name="connsiteX26" fmla="*/ 8497 w 10000"/>
                <a:gd name="connsiteY26" fmla="*/ 157 h 10000"/>
                <a:gd name="connsiteX27" fmla="*/ 8272 w 10000"/>
                <a:gd name="connsiteY27" fmla="*/ 0 h 10000"/>
                <a:gd name="connsiteX28" fmla="*/ 7821 w 10000"/>
                <a:gd name="connsiteY28" fmla="*/ 209 h 10000"/>
                <a:gd name="connsiteX29" fmla="*/ 7370 w 10000"/>
                <a:gd name="connsiteY29" fmla="*/ 523 h 10000"/>
                <a:gd name="connsiteX30" fmla="*/ 6769 w 10000"/>
                <a:gd name="connsiteY30" fmla="*/ 523 h 10000"/>
                <a:gd name="connsiteX31" fmla="*/ 5717 w 10000"/>
                <a:gd name="connsiteY31" fmla="*/ 523 h 10000"/>
                <a:gd name="connsiteX32" fmla="*/ 5717 w 10000"/>
                <a:gd name="connsiteY32" fmla="*/ 472 h 10000"/>
                <a:gd name="connsiteX33" fmla="*/ 5643 w 10000"/>
                <a:gd name="connsiteY33" fmla="*/ 523 h 10000"/>
                <a:gd name="connsiteX34" fmla="*/ 1961 w 10000"/>
                <a:gd name="connsiteY34" fmla="*/ 523 h 10000"/>
                <a:gd name="connsiteX35" fmla="*/ 1961 w 10000"/>
                <a:gd name="connsiteY35" fmla="*/ 1623 h 10000"/>
                <a:gd name="connsiteX36" fmla="*/ 1285 w 10000"/>
                <a:gd name="connsiteY36" fmla="*/ 1623 h 10000"/>
                <a:gd name="connsiteX37" fmla="*/ 1285 w 10000"/>
                <a:gd name="connsiteY37" fmla="*/ 1833 h 10000"/>
                <a:gd name="connsiteX38" fmla="*/ 1285 w 10000"/>
                <a:gd name="connsiteY38" fmla="*/ 3716 h 10000"/>
                <a:gd name="connsiteX39" fmla="*/ 1135 w 10000"/>
                <a:gd name="connsiteY39" fmla="*/ 3821 h 10000"/>
                <a:gd name="connsiteX40" fmla="*/ 684 w 10000"/>
                <a:gd name="connsiteY40" fmla="*/ 4032 h 10000"/>
                <a:gd name="connsiteX41" fmla="*/ 609 w 10000"/>
                <a:gd name="connsiteY41" fmla="*/ 4294 h 10000"/>
                <a:gd name="connsiteX42" fmla="*/ 384 w 10000"/>
                <a:gd name="connsiteY42" fmla="*/ 4555 h 10000"/>
                <a:gd name="connsiteX43" fmla="*/ 234 w 10000"/>
                <a:gd name="connsiteY43" fmla="*/ 4974 h 10000"/>
                <a:gd name="connsiteX44" fmla="*/ 8 w 10000"/>
                <a:gd name="connsiteY44" fmla="*/ 5446 h 10000"/>
                <a:gd name="connsiteX45" fmla="*/ 384 w 10000"/>
                <a:gd name="connsiteY45" fmla="*/ 5498 h 10000"/>
                <a:gd name="connsiteX46" fmla="*/ 458 w 10000"/>
                <a:gd name="connsiteY46" fmla="*/ 5915 h 10000"/>
                <a:gd name="connsiteX47" fmla="*/ 684 w 10000"/>
                <a:gd name="connsiteY47" fmla="*/ 6335 h 10000"/>
                <a:gd name="connsiteX48" fmla="*/ 1059 w 10000"/>
                <a:gd name="connsiteY48" fmla="*/ 7173 h 10000"/>
                <a:gd name="connsiteX0" fmla="*/ 7220 w 10000"/>
                <a:gd name="connsiteY0" fmla="*/ 9738 h 9738"/>
                <a:gd name="connsiteX1" fmla="*/ 7671 w 10000"/>
                <a:gd name="connsiteY1" fmla="*/ 9425 h 9738"/>
                <a:gd name="connsiteX2" fmla="*/ 8197 w 10000"/>
                <a:gd name="connsiteY2" fmla="*/ 9425 h 9738"/>
                <a:gd name="connsiteX3" fmla="*/ 8422 w 10000"/>
                <a:gd name="connsiteY3" fmla="*/ 9581 h 9738"/>
                <a:gd name="connsiteX4" fmla="*/ 8272 w 10000"/>
                <a:gd name="connsiteY4" fmla="*/ 9163 h 9738"/>
                <a:gd name="connsiteX5" fmla="*/ 7821 w 10000"/>
                <a:gd name="connsiteY5" fmla="*/ 8691 h 9738"/>
                <a:gd name="connsiteX6" fmla="*/ 7370 w 10000"/>
                <a:gd name="connsiteY6" fmla="*/ 8220 h 9738"/>
                <a:gd name="connsiteX7" fmla="*/ 6769 w 10000"/>
                <a:gd name="connsiteY7" fmla="*/ 7801 h 9738"/>
                <a:gd name="connsiteX8" fmla="*/ 7145 w 10000"/>
                <a:gd name="connsiteY8" fmla="*/ 7645 h 9738"/>
                <a:gd name="connsiteX9" fmla="*/ 7446 w 10000"/>
                <a:gd name="connsiteY9" fmla="*/ 6806 h 9738"/>
                <a:gd name="connsiteX10" fmla="*/ 7446 w 10000"/>
                <a:gd name="connsiteY10" fmla="*/ 6441 h 9738"/>
                <a:gd name="connsiteX11" fmla="*/ 7821 w 10000"/>
                <a:gd name="connsiteY11" fmla="*/ 6441 h 9738"/>
                <a:gd name="connsiteX12" fmla="*/ 8047 w 10000"/>
                <a:gd name="connsiteY12" fmla="*/ 5759 h 9738"/>
                <a:gd name="connsiteX13" fmla="*/ 8648 w 10000"/>
                <a:gd name="connsiteY13" fmla="*/ 5340 h 9738"/>
                <a:gd name="connsiteX14" fmla="*/ 8873 w 10000"/>
                <a:gd name="connsiteY14" fmla="*/ 4555 h 9738"/>
                <a:gd name="connsiteX15" fmla="*/ 8722 w 10000"/>
                <a:gd name="connsiteY15" fmla="*/ 4137 h 9738"/>
                <a:gd name="connsiteX16" fmla="*/ 9098 w 10000"/>
                <a:gd name="connsiteY16" fmla="*/ 3246 h 9738"/>
                <a:gd name="connsiteX17" fmla="*/ 9399 w 10000"/>
                <a:gd name="connsiteY17" fmla="*/ 2984 h 9738"/>
                <a:gd name="connsiteX18" fmla="*/ 10000 w 10000"/>
                <a:gd name="connsiteY18" fmla="*/ 2566 h 9738"/>
                <a:gd name="connsiteX19" fmla="*/ 9774 w 10000"/>
                <a:gd name="connsiteY19" fmla="*/ 2512 h 9738"/>
                <a:gd name="connsiteX20" fmla="*/ 9399 w 10000"/>
                <a:gd name="connsiteY20" fmla="*/ 2252 h 9738"/>
                <a:gd name="connsiteX21" fmla="*/ 9173 w 10000"/>
                <a:gd name="connsiteY21" fmla="*/ 1467 h 9738"/>
                <a:gd name="connsiteX22" fmla="*/ 9173 w 10000"/>
                <a:gd name="connsiteY22" fmla="*/ 1047 h 9738"/>
                <a:gd name="connsiteX23" fmla="*/ 9098 w 10000"/>
                <a:gd name="connsiteY23" fmla="*/ 523 h 9738"/>
                <a:gd name="connsiteX24" fmla="*/ 8873 w 10000"/>
                <a:gd name="connsiteY24" fmla="*/ 367 h 9738"/>
                <a:gd name="connsiteX25" fmla="*/ 8497 w 10000"/>
                <a:gd name="connsiteY25" fmla="*/ 157 h 9738"/>
                <a:gd name="connsiteX26" fmla="*/ 8272 w 10000"/>
                <a:gd name="connsiteY26" fmla="*/ 0 h 9738"/>
                <a:gd name="connsiteX27" fmla="*/ 7821 w 10000"/>
                <a:gd name="connsiteY27" fmla="*/ 209 h 9738"/>
                <a:gd name="connsiteX28" fmla="*/ 7370 w 10000"/>
                <a:gd name="connsiteY28" fmla="*/ 523 h 9738"/>
                <a:gd name="connsiteX29" fmla="*/ 6769 w 10000"/>
                <a:gd name="connsiteY29" fmla="*/ 523 h 9738"/>
                <a:gd name="connsiteX30" fmla="*/ 5717 w 10000"/>
                <a:gd name="connsiteY30" fmla="*/ 523 h 9738"/>
                <a:gd name="connsiteX31" fmla="*/ 5717 w 10000"/>
                <a:gd name="connsiteY31" fmla="*/ 472 h 9738"/>
                <a:gd name="connsiteX32" fmla="*/ 5643 w 10000"/>
                <a:gd name="connsiteY32" fmla="*/ 523 h 9738"/>
                <a:gd name="connsiteX33" fmla="*/ 1961 w 10000"/>
                <a:gd name="connsiteY33" fmla="*/ 523 h 9738"/>
                <a:gd name="connsiteX34" fmla="*/ 1961 w 10000"/>
                <a:gd name="connsiteY34" fmla="*/ 1623 h 9738"/>
                <a:gd name="connsiteX35" fmla="*/ 1285 w 10000"/>
                <a:gd name="connsiteY35" fmla="*/ 1623 h 9738"/>
                <a:gd name="connsiteX36" fmla="*/ 1285 w 10000"/>
                <a:gd name="connsiteY36" fmla="*/ 1833 h 9738"/>
                <a:gd name="connsiteX37" fmla="*/ 1285 w 10000"/>
                <a:gd name="connsiteY37" fmla="*/ 3716 h 9738"/>
                <a:gd name="connsiteX38" fmla="*/ 1135 w 10000"/>
                <a:gd name="connsiteY38" fmla="*/ 3821 h 9738"/>
                <a:gd name="connsiteX39" fmla="*/ 684 w 10000"/>
                <a:gd name="connsiteY39" fmla="*/ 4032 h 9738"/>
                <a:gd name="connsiteX40" fmla="*/ 609 w 10000"/>
                <a:gd name="connsiteY40" fmla="*/ 4294 h 9738"/>
                <a:gd name="connsiteX41" fmla="*/ 384 w 10000"/>
                <a:gd name="connsiteY41" fmla="*/ 4555 h 9738"/>
                <a:gd name="connsiteX42" fmla="*/ 234 w 10000"/>
                <a:gd name="connsiteY42" fmla="*/ 4974 h 9738"/>
                <a:gd name="connsiteX43" fmla="*/ 8 w 10000"/>
                <a:gd name="connsiteY43" fmla="*/ 5446 h 9738"/>
                <a:gd name="connsiteX44" fmla="*/ 384 w 10000"/>
                <a:gd name="connsiteY44" fmla="*/ 5498 h 9738"/>
                <a:gd name="connsiteX45" fmla="*/ 458 w 10000"/>
                <a:gd name="connsiteY45" fmla="*/ 5915 h 9738"/>
                <a:gd name="connsiteX46" fmla="*/ 684 w 10000"/>
                <a:gd name="connsiteY46" fmla="*/ 6335 h 9738"/>
                <a:gd name="connsiteX47" fmla="*/ 1059 w 10000"/>
                <a:gd name="connsiteY47" fmla="*/ 7173 h 9738"/>
                <a:gd name="connsiteX0" fmla="*/ 7671 w 10000"/>
                <a:gd name="connsiteY0" fmla="*/ 9679 h 9839"/>
                <a:gd name="connsiteX1" fmla="*/ 8197 w 10000"/>
                <a:gd name="connsiteY1" fmla="*/ 9679 h 9839"/>
                <a:gd name="connsiteX2" fmla="*/ 8422 w 10000"/>
                <a:gd name="connsiteY2" fmla="*/ 9839 h 9839"/>
                <a:gd name="connsiteX3" fmla="*/ 8272 w 10000"/>
                <a:gd name="connsiteY3" fmla="*/ 9410 h 9839"/>
                <a:gd name="connsiteX4" fmla="*/ 7821 w 10000"/>
                <a:gd name="connsiteY4" fmla="*/ 8925 h 9839"/>
                <a:gd name="connsiteX5" fmla="*/ 7370 w 10000"/>
                <a:gd name="connsiteY5" fmla="*/ 8441 h 9839"/>
                <a:gd name="connsiteX6" fmla="*/ 6769 w 10000"/>
                <a:gd name="connsiteY6" fmla="*/ 8011 h 9839"/>
                <a:gd name="connsiteX7" fmla="*/ 7145 w 10000"/>
                <a:gd name="connsiteY7" fmla="*/ 7851 h 9839"/>
                <a:gd name="connsiteX8" fmla="*/ 7446 w 10000"/>
                <a:gd name="connsiteY8" fmla="*/ 6989 h 9839"/>
                <a:gd name="connsiteX9" fmla="*/ 7446 w 10000"/>
                <a:gd name="connsiteY9" fmla="*/ 6614 h 9839"/>
                <a:gd name="connsiteX10" fmla="*/ 7821 w 10000"/>
                <a:gd name="connsiteY10" fmla="*/ 6614 h 9839"/>
                <a:gd name="connsiteX11" fmla="*/ 8047 w 10000"/>
                <a:gd name="connsiteY11" fmla="*/ 5914 h 9839"/>
                <a:gd name="connsiteX12" fmla="*/ 8648 w 10000"/>
                <a:gd name="connsiteY12" fmla="*/ 5484 h 9839"/>
                <a:gd name="connsiteX13" fmla="*/ 8873 w 10000"/>
                <a:gd name="connsiteY13" fmla="*/ 4678 h 9839"/>
                <a:gd name="connsiteX14" fmla="*/ 8722 w 10000"/>
                <a:gd name="connsiteY14" fmla="*/ 4248 h 9839"/>
                <a:gd name="connsiteX15" fmla="*/ 9098 w 10000"/>
                <a:gd name="connsiteY15" fmla="*/ 3333 h 9839"/>
                <a:gd name="connsiteX16" fmla="*/ 9399 w 10000"/>
                <a:gd name="connsiteY16" fmla="*/ 3064 h 9839"/>
                <a:gd name="connsiteX17" fmla="*/ 10000 w 10000"/>
                <a:gd name="connsiteY17" fmla="*/ 2635 h 9839"/>
                <a:gd name="connsiteX18" fmla="*/ 9774 w 10000"/>
                <a:gd name="connsiteY18" fmla="*/ 2580 h 9839"/>
                <a:gd name="connsiteX19" fmla="*/ 9399 w 10000"/>
                <a:gd name="connsiteY19" fmla="*/ 2313 h 9839"/>
                <a:gd name="connsiteX20" fmla="*/ 9173 w 10000"/>
                <a:gd name="connsiteY20" fmla="*/ 1506 h 9839"/>
                <a:gd name="connsiteX21" fmla="*/ 9173 w 10000"/>
                <a:gd name="connsiteY21" fmla="*/ 1075 h 9839"/>
                <a:gd name="connsiteX22" fmla="*/ 9098 w 10000"/>
                <a:gd name="connsiteY22" fmla="*/ 537 h 9839"/>
                <a:gd name="connsiteX23" fmla="*/ 8873 w 10000"/>
                <a:gd name="connsiteY23" fmla="*/ 377 h 9839"/>
                <a:gd name="connsiteX24" fmla="*/ 8497 w 10000"/>
                <a:gd name="connsiteY24" fmla="*/ 161 h 9839"/>
                <a:gd name="connsiteX25" fmla="*/ 8272 w 10000"/>
                <a:gd name="connsiteY25" fmla="*/ 0 h 9839"/>
                <a:gd name="connsiteX26" fmla="*/ 7821 w 10000"/>
                <a:gd name="connsiteY26" fmla="*/ 215 h 9839"/>
                <a:gd name="connsiteX27" fmla="*/ 7370 w 10000"/>
                <a:gd name="connsiteY27" fmla="*/ 537 h 9839"/>
                <a:gd name="connsiteX28" fmla="*/ 6769 w 10000"/>
                <a:gd name="connsiteY28" fmla="*/ 537 h 9839"/>
                <a:gd name="connsiteX29" fmla="*/ 5717 w 10000"/>
                <a:gd name="connsiteY29" fmla="*/ 537 h 9839"/>
                <a:gd name="connsiteX30" fmla="*/ 5717 w 10000"/>
                <a:gd name="connsiteY30" fmla="*/ 485 h 9839"/>
                <a:gd name="connsiteX31" fmla="*/ 5643 w 10000"/>
                <a:gd name="connsiteY31" fmla="*/ 537 h 9839"/>
                <a:gd name="connsiteX32" fmla="*/ 1961 w 10000"/>
                <a:gd name="connsiteY32" fmla="*/ 537 h 9839"/>
                <a:gd name="connsiteX33" fmla="*/ 1961 w 10000"/>
                <a:gd name="connsiteY33" fmla="*/ 1667 h 9839"/>
                <a:gd name="connsiteX34" fmla="*/ 1285 w 10000"/>
                <a:gd name="connsiteY34" fmla="*/ 1667 h 9839"/>
                <a:gd name="connsiteX35" fmla="*/ 1285 w 10000"/>
                <a:gd name="connsiteY35" fmla="*/ 1882 h 9839"/>
                <a:gd name="connsiteX36" fmla="*/ 1285 w 10000"/>
                <a:gd name="connsiteY36" fmla="*/ 3816 h 9839"/>
                <a:gd name="connsiteX37" fmla="*/ 1135 w 10000"/>
                <a:gd name="connsiteY37" fmla="*/ 3924 h 9839"/>
                <a:gd name="connsiteX38" fmla="*/ 684 w 10000"/>
                <a:gd name="connsiteY38" fmla="*/ 4140 h 9839"/>
                <a:gd name="connsiteX39" fmla="*/ 609 w 10000"/>
                <a:gd name="connsiteY39" fmla="*/ 4410 h 9839"/>
                <a:gd name="connsiteX40" fmla="*/ 384 w 10000"/>
                <a:gd name="connsiteY40" fmla="*/ 4678 h 9839"/>
                <a:gd name="connsiteX41" fmla="*/ 234 w 10000"/>
                <a:gd name="connsiteY41" fmla="*/ 5108 h 9839"/>
                <a:gd name="connsiteX42" fmla="*/ 8 w 10000"/>
                <a:gd name="connsiteY42" fmla="*/ 5593 h 9839"/>
                <a:gd name="connsiteX43" fmla="*/ 384 w 10000"/>
                <a:gd name="connsiteY43" fmla="*/ 5646 h 9839"/>
                <a:gd name="connsiteX44" fmla="*/ 458 w 10000"/>
                <a:gd name="connsiteY44" fmla="*/ 6074 h 9839"/>
                <a:gd name="connsiteX45" fmla="*/ 684 w 10000"/>
                <a:gd name="connsiteY45" fmla="*/ 6505 h 9839"/>
                <a:gd name="connsiteX46" fmla="*/ 1059 w 10000"/>
                <a:gd name="connsiteY46" fmla="*/ 7366 h 9839"/>
                <a:gd name="connsiteX0" fmla="*/ 8197 w 10000"/>
                <a:gd name="connsiteY0" fmla="*/ 9837 h 10000"/>
                <a:gd name="connsiteX1" fmla="*/ 8422 w 10000"/>
                <a:gd name="connsiteY1" fmla="*/ 10000 h 10000"/>
                <a:gd name="connsiteX2" fmla="*/ 8272 w 10000"/>
                <a:gd name="connsiteY2" fmla="*/ 9564 h 10000"/>
                <a:gd name="connsiteX3" fmla="*/ 7821 w 10000"/>
                <a:gd name="connsiteY3" fmla="*/ 9071 h 10000"/>
                <a:gd name="connsiteX4" fmla="*/ 7370 w 10000"/>
                <a:gd name="connsiteY4" fmla="*/ 8579 h 10000"/>
                <a:gd name="connsiteX5" fmla="*/ 6769 w 10000"/>
                <a:gd name="connsiteY5" fmla="*/ 8142 h 10000"/>
                <a:gd name="connsiteX6" fmla="*/ 7145 w 10000"/>
                <a:gd name="connsiteY6" fmla="*/ 7979 h 10000"/>
                <a:gd name="connsiteX7" fmla="*/ 7446 w 10000"/>
                <a:gd name="connsiteY7" fmla="*/ 7103 h 10000"/>
                <a:gd name="connsiteX8" fmla="*/ 7446 w 10000"/>
                <a:gd name="connsiteY8" fmla="*/ 6722 h 10000"/>
                <a:gd name="connsiteX9" fmla="*/ 7821 w 10000"/>
                <a:gd name="connsiteY9" fmla="*/ 6722 h 10000"/>
                <a:gd name="connsiteX10" fmla="*/ 8047 w 10000"/>
                <a:gd name="connsiteY10" fmla="*/ 6011 h 10000"/>
                <a:gd name="connsiteX11" fmla="*/ 8648 w 10000"/>
                <a:gd name="connsiteY11" fmla="*/ 5574 h 10000"/>
                <a:gd name="connsiteX12" fmla="*/ 8873 w 10000"/>
                <a:gd name="connsiteY12" fmla="*/ 4755 h 10000"/>
                <a:gd name="connsiteX13" fmla="*/ 8722 w 10000"/>
                <a:gd name="connsiteY13" fmla="*/ 4318 h 10000"/>
                <a:gd name="connsiteX14" fmla="*/ 9098 w 10000"/>
                <a:gd name="connsiteY14" fmla="*/ 3388 h 10000"/>
                <a:gd name="connsiteX15" fmla="*/ 9399 w 10000"/>
                <a:gd name="connsiteY15" fmla="*/ 3114 h 10000"/>
                <a:gd name="connsiteX16" fmla="*/ 10000 w 10000"/>
                <a:gd name="connsiteY16" fmla="*/ 2678 h 10000"/>
                <a:gd name="connsiteX17" fmla="*/ 9774 w 10000"/>
                <a:gd name="connsiteY17" fmla="*/ 2622 h 10000"/>
                <a:gd name="connsiteX18" fmla="*/ 9399 w 10000"/>
                <a:gd name="connsiteY18" fmla="*/ 2351 h 10000"/>
                <a:gd name="connsiteX19" fmla="*/ 9173 w 10000"/>
                <a:gd name="connsiteY19" fmla="*/ 1531 h 10000"/>
                <a:gd name="connsiteX20" fmla="*/ 9173 w 10000"/>
                <a:gd name="connsiteY20" fmla="*/ 1093 h 10000"/>
                <a:gd name="connsiteX21" fmla="*/ 9098 w 10000"/>
                <a:gd name="connsiteY21" fmla="*/ 546 h 10000"/>
                <a:gd name="connsiteX22" fmla="*/ 8873 w 10000"/>
                <a:gd name="connsiteY22" fmla="*/ 383 h 10000"/>
                <a:gd name="connsiteX23" fmla="*/ 8497 w 10000"/>
                <a:gd name="connsiteY23" fmla="*/ 164 h 10000"/>
                <a:gd name="connsiteX24" fmla="*/ 8272 w 10000"/>
                <a:gd name="connsiteY24" fmla="*/ 0 h 10000"/>
                <a:gd name="connsiteX25" fmla="*/ 7821 w 10000"/>
                <a:gd name="connsiteY25" fmla="*/ 219 h 10000"/>
                <a:gd name="connsiteX26" fmla="*/ 7370 w 10000"/>
                <a:gd name="connsiteY26" fmla="*/ 546 h 10000"/>
                <a:gd name="connsiteX27" fmla="*/ 6769 w 10000"/>
                <a:gd name="connsiteY27" fmla="*/ 546 h 10000"/>
                <a:gd name="connsiteX28" fmla="*/ 5717 w 10000"/>
                <a:gd name="connsiteY28" fmla="*/ 546 h 10000"/>
                <a:gd name="connsiteX29" fmla="*/ 5717 w 10000"/>
                <a:gd name="connsiteY29" fmla="*/ 493 h 10000"/>
                <a:gd name="connsiteX30" fmla="*/ 5643 w 10000"/>
                <a:gd name="connsiteY30" fmla="*/ 546 h 10000"/>
                <a:gd name="connsiteX31" fmla="*/ 1961 w 10000"/>
                <a:gd name="connsiteY31" fmla="*/ 546 h 10000"/>
                <a:gd name="connsiteX32" fmla="*/ 1961 w 10000"/>
                <a:gd name="connsiteY32" fmla="*/ 1694 h 10000"/>
                <a:gd name="connsiteX33" fmla="*/ 1285 w 10000"/>
                <a:gd name="connsiteY33" fmla="*/ 1694 h 10000"/>
                <a:gd name="connsiteX34" fmla="*/ 1285 w 10000"/>
                <a:gd name="connsiteY34" fmla="*/ 1913 h 10000"/>
                <a:gd name="connsiteX35" fmla="*/ 1285 w 10000"/>
                <a:gd name="connsiteY35" fmla="*/ 3878 h 10000"/>
                <a:gd name="connsiteX36" fmla="*/ 1135 w 10000"/>
                <a:gd name="connsiteY36" fmla="*/ 3988 h 10000"/>
                <a:gd name="connsiteX37" fmla="*/ 684 w 10000"/>
                <a:gd name="connsiteY37" fmla="*/ 4208 h 10000"/>
                <a:gd name="connsiteX38" fmla="*/ 609 w 10000"/>
                <a:gd name="connsiteY38" fmla="*/ 4482 h 10000"/>
                <a:gd name="connsiteX39" fmla="*/ 384 w 10000"/>
                <a:gd name="connsiteY39" fmla="*/ 4755 h 10000"/>
                <a:gd name="connsiteX40" fmla="*/ 234 w 10000"/>
                <a:gd name="connsiteY40" fmla="*/ 5192 h 10000"/>
                <a:gd name="connsiteX41" fmla="*/ 8 w 10000"/>
                <a:gd name="connsiteY41" fmla="*/ 5685 h 10000"/>
                <a:gd name="connsiteX42" fmla="*/ 384 w 10000"/>
                <a:gd name="connsiteY42" fmla="*/ 5738 h 10000"/>
                <a:gd name="connsiteX43" fmla="*/ 458 w 10000"/>
                <a:gd name="connsiteY43" fmla="*/ 6173 h 10000"/>
                <a:gd name="connsiteX44" fmla="*/ 684 w 10000"/>
                <a:gd name="connsiteY44" fmla="*/ 6611 h 10000"/>
                <a:gd name="connsiteX45" fmla="*/ 1059 w 10000"/>
                <a:gd name="connsiteY45" fmla="*/ 7487 h 10000"/>
                <a:gd name="connsiteX0" fmla="*/ 8197 w 10000"/>
                <a:gd name="connsiteY0" fmla="*/ 9837 h 10000"/>
                <a:gd name="connsiteX1" fmla="*/ 8422 w 10000"/>
                <a:gd name="connsiteY1" fmla="*/ 10000 h 10000"/>
                <a:gd name="connsiteX2" fmla="*/ 8272 w 10000"/>
                <a:gd name="connsiteY2" fmla="*/ 9564 h 10000"/>
                <a:gd name="connsiteX3" fmla="*/ 7821 w 10000"/>
                <a:gd name="connsiteY3" fmla="*/ 9071 h 10000"/>
                <a:gd name="connsiteX4" fmla="*/ 7370 w 10000"/>
                <a:gd name="connsiteY4" fmla="*/ 8579 h 10000"/>
                <a:gd name="connsiteX5" fmla="*/ 6769 w 10000"/>
                <a:gd name="connsiteY5" fmla="*/ 8142 h 10000"/>
                <a:gd name="connsiteX6" fmla="*/ 7446 w 10000"/>
                <a:gd name="connsiteY6" fmla="*/ 7103 h 10000"/>
                <a:gd name="connsiteX7" fmla="*/ 7446 w 10000"/>
                <a:gd name="connsiteY7" fmla="*/ 6722 h 10000"/>
                <a:gd name="connsiteX8" fmla="*/ 7821 w 10000"/>
                <a:gd name="connsiteY8" fmla="*/ 6722 h 10000"/>
                <a:gd name="connsiteX9" fmla="*/ 8047 w 10000"/>
                <a:gd name="connsiteY9" fmla="*/ 6011 h 10000"/>
                <a:gd name="connsiteX10" fmla="*/ 8648 w 10000"/>
                <a:gd name="connsiteY10" fmla="*/ 5574 h 10000"/>
                <a:gd name="connsiteX11" fmla="*/ 8873 w 10000"/>
                <a:gd name="connsiteY11" fmla="*/ 4755 h 10000"/>
                <a:gd name="connsiteX12" fmla="*/ 8722 w 10000"/>
                <a:gd name="connsiteY12" fmla="*/ 4318 h 10000"/>
                <a:gd name="connsiteX13" fmla="*/ 9098 w 10000"/>
                <a:gd name="connsiteY13" fmla="*/ 3388 h 10000"/>
                <a:gd name="connsiteX14" fmla="*/ 9399 w 10000"/>
                <a:gd name="connsiteY14" fmla="*/ 3114 h 10000"/>
                <a:gd name="connsiteX15" fmla="*/ 10000 w 10000"/>
                <a:gd name="connsiteY15" fmla="*/ 2678 h 10000"/>
                <a:gd name="connsiteX16" fmla="*/ 9774 w 10000"/>
                <a:gd name="connsiteY16" fmla="*/ 2622 h 10000"/>
                <a:gd name="connsiteX17" fmla="*/ 9399 w 10000"/>
                <a:gd name="connsiteY17" fmla="*/ 2351 h 10000"/>
                <a:gd name="connsiteX18" fmla="*/ 9173 w 10000"/>
                <a:gd name="connsiteY18" fmla="*/ 1531 h 10000"/>
                <a:gd name="connsiteX19" fmla="*/ 9173 w 10000"/>
                <a:gd name="connsiteY19" fmla="*/ 1093 h 10000"/>
                <a:gd name="connsiteX20" fmla="*/ 9098 w 10000"/>
                <a:gd name="connsiteY20" fmla="*/ 546 h 10000"/>
                <a:gd name="connsiteX21" fmla="*/ 8873 w 10000"/>
                <a:gd name="connsiteY21" fmla="*/ 383 h 10000"/>
                <a:gd name="connsiteX22" fmla="*/ 8497 w 10000"/>
                <a:gd name="connsiteY22" fmla="*/ 164 h 10000"/>
                <a:gd name="connsiteX23" fmla="*/ 8272 w 10000"/>
                <a:gd name="connsiteY23" fmla="*/ 0 h 10000"/>
                <a:gd name="connsiteX24" fmla="*/ 7821 w 10000"/>
                <a:gd name="connsiteY24" fmla="*/ 219 h 10000"/>
                <a:gd name="connsiteX25" fmla="*/ 7370 w 10000"/>
                <a:gd name="connsiteY25" fmla="*/ 546 h 10000"/>
                <a:gd name="connsiteX26" fmla="*/ 6769 w 10000"/>
                <a:gd name="connsiteY26" fmla="*/ 546 h 10000"/>
                <a:gd name="connsiteX27" fmla="*/ 5717 w 10000"/>
                <a:gd name="connsiteY27" fmla="*/ 546 h 10000"/>
                <a:gd name="connsiteX28" fmla="*/ 5717 w 10000"/>
                <a:gd name="connsiteY28" fmla="*/ 493 h 10000"/>
                <a:gd name="connsiteX29" fmla="*/ 5643 w 10000"/>
                <a:gd name="connsiteY29" fmla="*/ 546 h 10000"/>
                <a:gd name="connsiteX30" fmla="*/ 1961 w 10000"/>
                <a:gd name="connsiteY30" fmla="*/ 546 h 10000"/>
                <a:gd name="connsiteX31" fmla="*/ 1961 w 10000"/>
                <a:gd name="connsiteY31" fmla="*/ 1694 h 10000"/>
                <a:gd name="connsiteX32" fmla="*/ 1285 w 10000"/>
                <a:gd name="connsiteY32" fmla="*/ 1694 h 10000"/>
                <a:gd name="connsiteX33" fmla="*/ 1285 w 10000"/>
                <a:gd name="connsiteY33" fmla="*/ 1913 h 10000"/>
                <a:gd name="connsiteX34" fmla="*/ 1285 w 10000"/>
                <a:gd name="connsiteY34" fmla="*/ 3878 h 10000"/>
                <a:gd name="connsiteX35" fmla="*/ 1135 w 10000"/>
                <a:gd name="connsiteY35" fmla="*/ 3988 h 10000"/>
                <a:gd name="connsiteX36" fmla="*/ 684 w 10000"/>
                <a:gd name="connsiteY36" fmla="*/ 4208 h 10000"/>
                <a:gd name="connsiteX37" fmla="*/ 609 w 10000"/>
                <a:gd name="connsiteY37" fmla="*/ 4482 h 10000"/>
                <a:gd name="connsiteX38" fmla="*/ 384 w 10000"/>
                <a:gd name="connsiteY38" fmla="*/ 4755 h 10000"/>
                <a:gd name="connsiteX39" fmla="*/ 234 w 10000"/>
                <a:gd name="connsiteY39" fmla="*/ 5192 h 10000"/>
                <a:gd name="connsiteX40" fmla="*/ 8 w 10000"/>
                <a:gd name="connsiteY40" fmla="*/ 5685 h 10000"/>
                <a:gd name="connsiteX41" fmla="*/ 384 w 10000"/>
                <a:gd name="connsiteY41" fmla="*/ 5738 h 10000"/>
                <a:gd name="connsiteX42" fmla="*/ 458 w 10000"/>
                <a:gd name="connsiteY42" fmla="*/ 6173 h 10000"/>
                <a:gd name="connsiteX43" fmla="*/ 684 w 10000"/>
                <a:gd name="connsiteY43" fmla="*/ 6611 h 10000"/>
                <a:gd name="connsiteX44" fmla="*/ 1059 w 10000"/>
                <a:gd name="connsiteY44" fmla="*/ 7487 h 10000"/>
                <a:gd name="connsiteX0" fmla="*/ 8197 w 10000"/>
                <a:gd name="connsiteY0" fmla="*/ 9837 h 10000"/>
                <a:gd name="connsiteX1" fmla="*/ 8422 w 10000"/>
                <a:gd name="connsiteY1" fmla="*/ 10000 h 10000"/>
                <a:gd name="connsiteX2" fmla="*/ 8272 w 10000"/>
                <a:gd name="connsiteY2" fmla="*/ 9564 h 10000"/>
                <a:gd name="connsiteX3" fmla="*/ 7821 w 10000"/>
                <a:gd name="connsiteY3" fmla="*/ 9071 h 10000"/>
                <a:gd name="connsiteX4" fmla="*/ 7370 w 10000"/>
                <a:gd name="connsiteY4" fmla="*/ 8579 h 10000"/>
                <a:gd name="connsiteX5" fmla="*/ 7446 w 10000"/>
                <a:gd name="connsiteY5" fmla="*/ 7103 h 10000"/>
                <a:gd name="connsiteX6" fmla="*/ 7446 w 10000"/>
                <a:gd name="connsiteY6" fmla="*/ 6722 h 10000"/>
                <a:gd name="connsiteX7" fmla="*/ 7821 w 10000"/>
                <a:gd name="connsiteY7" fmla="*/ 6722 h 10000"/>
                <a:gd name="connsiteX8" fmla="*/ 8047 w 10000"/>
                <a:gd name="connsiteY8" fmla="*/ 6011 h 10000"/>
                <a:gd name="connsiteX9" fmla="*/ 8648 w 10000"/>
                <a:gd name="connsiteY9" fmla="*/ 5574 h 10000"/>
                <a:gd name="connsiteX10" fmla="*/ 8873 w 10000"/>
                <a:gd name="connsiteY10" fmla="*/ 4755 h 10000"/>
                <a:gd name="connsiteX11" fmla="*/ 8722 w 10000"/>
                <a:gd name="connsiteY11" fmla="*/ 4318 h 10000"/>
                <a:gd name="connsiteX12" fmla="*/ 9098 w 10000"/>
                <a:gd name="connsiteY12" fmla="*/ 3388 h 10000"/>
                <a:gd name="connsiteX13" fmla="*/ 9399 w 10000"/>
                <a:gd name="connsiteY13" fmla="*/ 3114 h 10000"/>
                <a:gd name="connsiteX14" fmla="*/ 10000 w 10000"/>
                <a:gd name="connsiteY14" fmla="*/ 2678 h 10000"/>
                <a:gd name="connsiteX15" fmla="*/ 9774 w 10000"/>
                <a:gd name="connsiteY15" fmla="*/ 2622 h 10000"/>
                <a:gd name="connsiteX16" fmla="*/ 9399 w 10000"/>
                <a:gd name="connsiteY16" fmla="*/ 2351 h 10000"/>
                <a:gd name="connsiteX17" fmla="*/ 9173 w 10000"/>
                <a:gd name="connsiteY17" fmla="*/ 1531 h 10000"/>
                <a:gd name="connsiteX18" fmla="*/ 9173 w 10000"/>
                <a:gd name="connsiteY18" fmla="*/ 1093 h 10000"/>
                <a:gd name="connsiteX19" fmla="*/ 9098 w 10000"/>
                <a:gd name="connsiteY19" fmla="*/ 546 h 10000"/>
                <a:gd name="connsiteX20" fmla="*/ 8873 w 10000"/>
                <a:gd name="connsiteY20" fmla="*/ 383 h 10000"/>
                <a:gd name="connsiteX21" fmla="*/ 8497 w 10000"/>
                <a:gd name="connsiteY21" fmla="*/ 164 h 10000"/>
                <a:gd name="connsiteX22" fmla="*/ 8272 w 10000"/>
                <a:gd name="connsiteY22" fmla="*/ 0 h 10000"/>
                <a:gd name="connsiteX23" fmla="*/ 7821 w 10000"/>
                <a:gd name="connsiteY23" fmla="*/ 219 h 10000"/>
                <a:gd name="connsiteX24" fmla="*/ 7370 w 10000"/>
                <a:gd name="connsiteY24" fmla="*/ 546 h 10000"/>
                <a:gd name="connsiteX25" fmla="*/ 6769 w 10000"/>
                <a:gd name="connsiteY25" fmla="*/ 546 h 10000"/>
                <a:gd name="connsiteX26" fmla="*/ 5717 w 10000"/>
                <a:gd name="connsiteY26" fmla="*/ 546 h 10000"/>
                <a:gd name="connsiteX27" fmla="*/ 5717 w 10000"/>
                <a:gd name="connsiteY27" fmla="*/ 493 h 10000"/>
                <a:gd name="connsiteX28" fmla="*/ 5643 w 10000"/>
                <a:gd name="connsiteY28" fmla="*/ 546 h 10000"/>
                <a:gd name="connsiteX29" fmla="*/ 1961 w 10000"/>
                <a:gd name="connsiteY29" fmla="*/ 546 h 10000"/>
                <a:gd name="connsiteX30" fmla="*/ 1961 w 10000"/>
                <a:gd name="connsiteY30" fmla="*/ 1694 h 10000"/>
                <a:gd name="connsiteX31" fmla="*/ 1285 w 10000"/>
                <a:gd name="connsiteY31" fmla="*/ 1694 h 10000"/>
                <a:gd name="connsiteX32" fmla="*/ 1285 w 10000"/>
                <a:gd name="connsiteY32" fmla="*/ 1913 h 10000"/>
                <a:gd name="connsiteX33" fmla="*/ 1285 w 10000"/>
                <a:gd name="connsiteY33" fmla="*/ 3878 h 10000"/>
                <a:gd name="connsiteX34" fmla="*/ 1135 w 10000"/>
                <a:gd name="connsiteY34" fmla="*/ 3988 h 10000"/>
                <a:gd name="connsiteX35" fmla="*/ 684 w 10000"/>
                <a:gd name="connsiteY35" fmla="*/ 4208 h 10000"/>
                <a:gd name="connsiteX36" fmla="*/ 609 w 10000"/>
                <a:gd name="connsiteY36" fmla="*/ 4482 h 10000"/>
                <a:gd name="connsiteX37" fmla="*/ 384 w 10000"/>
                <a:gd name="connsiteY37" fmla="*/ 4755 h 10000"/>
                <a:gd name="connsiteX38" fmla="*/ 234 w 10000"/>
                <a:gd name="connsiteY38" fmla="*/ 5192 h 10000"/>
                <a:gd name="connsiteX39" fmla="*/ 8 w 10000"/>
                <a:gd name="connsiteY39" fmla="*/ 5685 h 10000"/>
                <a:gd name="connsiteX40" fmla="*/ 384 w 10000"/>
                <a:gd name="connsiteY40" fmla="*/ 5738 h 10000"/>
                <a:gd name="connsiteX41" fmla="*/ 458 w 10000"/>
                <a:gd name="connsiteY41" fmla="*/ 6173 h 10000"/>
                <a:gd name="connsiteX42" fmla="*/ 684 w 10000"/>
                <a:gd name="connsiteY42" fmla="*/ 6611 h 10000"/>
                <a:gd name="connsiteX43" fmla="*/ 1059 w 10000"/>
                <a:gd name="connsiteY43" fmla="*/ 7487 h 10000"/>
                <a:gd name="connsiteX0" fmla="*/ 8197 w 10000"/>
                <a:gd name="connsiteY0" fmla="*/ 9837 h 10000"/>
                <a:gd name="connsiteX1" fmla="*/ 8422 w 10000"/>
                <a:gd name="connsiteY1" fmla="*/ 10000 h 10000"/>
                <a:gd name="connsiteX2" fmla="*/ 8272 w 10000"/>
                <a:gd name="connsiteY2" fmla="*/ 9564 h 10000"/>
                <a:gd name="connsiteX3" fmla="*/ 7821 w 10000"/>
                <a:gd name="connsiteY3" fmla="*/ 9071 h 10000"/>
                <a:gd name="connsiteX4" fmla="*/ 7446 w 10000"/>
                <a:gd name="connsiteY4" fmla="*/ 7103 h 10000"/>
                <a:gd name="connsiteX5" fmla="*/ 7446 w 10000"/>
                <a:gd name="connsiteY5" fmla="*/ 6722 h 10000"/>
                <a:gd name="connsiteX6" fmla="*/ 7821 w 10000"/>
                <a:gd name="connsiteY6" fmla="*/ 6722 h 10000"/>
                <a:gd name="connsiteX7" fmla="*/ 8047 w 10000"/>
                <a:gd name="connsiteY7" fmla="*/ 6011 h 10000"/>
                <a:gd name="connsiteX8" fmla="*/ 8648 w 10000"/>
                <a:gd name="connsiteY8" fmla="*/ 5574 h 10000"/>
                <a:gd name="connsiteX9" fmla="*/ 8873 w 10000"/>
                <a:gd name="connsiteY9" fmla="*/ 4755 h 10000"/>
                <a:gd name="connsiteX10" fmla="*/ 8722 w 10000"/>
                <a:gd name="connsiteY10" fmla="*/ 4318 h 10000"/>
                <a:gd name="connsiteX11" fmla="*/ 9098 w 10000"/>
                <a:gd name="connsiteY11" fmla="*/ 3388 h 10000"/>
                <a:gd name="connsiteX12" fmla="*/ 9399 w 10000"/>
                <a:gd name="connsiteY12" fmla="*/ 3114 h 10000"/>
                <a:gd name="connsiteX13" fmla="*/ 10000 w 10000"/>
                <a:gd name="connsiteY13" fmla="*/ 2678 h 10000"/>
                <a:gd name="connsiteX14" fmla="*/ 9774 w 10000"/>
                <a:gd name="connsiteY14" fmla="*/ 2622 h 10000"/>
                <a:gd name="connsiteX15" fmla="*/ 9399 w 10000"/>
                <a:gd name="connsiteY15" fmla="*/ 2351 h 10000"/>
                <a:gd name="connsiteX16" fmla="*/ 9173 w 10000"/>
                <a:gd name="connsiteY16" fmla="*/ 1531 h 10000"/>
                <a:gd name="connsiteX17" fmla="*/ 9173 w 10000"/>
                <a:gd name="connsiteY17" fmla="*/ 1093 h 10000"/>
                <a:gd name="connsiteX18" fmla="*/ 9098 w 10000"/>
                <a:gd name="connsiteY18" fmla="*/ 546 h 10000"/>
                <a:gd name="connsiteX19" fmla="*/ 8873 w 10000"/>
                <a:gd name="connsiteY19" fmla="*/ 383 h 10000"/>
                <a:gd name="connsiteX20" fmla="*/ 8497 w 10000"/>
                <a:gd name="connsiteY20" fmla="*/ 164 h 10000"/>
                <a:gd name="connsiteX21" fmla="*/ 8272 w 10000"/>
                <a:gd name="connsiteY21" fmla="*/ 0 h 10000"/>
                <a:gd name="connsiteX22" fmla="*/ 7821 w 10000"/>
                <a:gd name="connsiteY22" fmla="*/ 219 h 10000"/>
                <a:gd name="connsiteX23" fmla="*/ 7370 w 10000"/>
                <a:gd name="connsiteY23" fmla="*/ 546 h 10000"/>
                <a:gd name="connsiteX24" fmla="*/ 6769 w 10000"/>
                <a:gd name="connsiteY24" fmla="*/ 546 h 10000"/>
                <a:gd name="connsiteX25" fmla="*/ 5717 w 10000"/>
                <a:gd name="connsiteY25" fmla="*/ 546 h 10000"/>
                <a:gd name="connsiteX26" fmla="*/ 5717 w 10000"/>
                <a:gd name="connsiteY26" fmla="*/ 493 h 10000"/>
                <a:gd name="connsiteX27" fmla="*/ 5643 w 10000"/>
                <a:gd name="connsiteY27" fmla="*/ 546 h 10000"/>
                <a:gd name="connsiteX28" fmla="*/ 1961 w 10000"/>
                <a:gd name="connsiteY28" fmla="*/ 546 h 10000"/>
                <a:gd name="connsiteX29" fmla="*/ 1961 w 10000"/>
                <a:gd name="connsiteY29" fmla="*/ 1694 h 10000"/>
                <a:gd name="connsiteX30" fmla="*/ 1285 w 10000"/>
                <a:gd name="connsiteY30" fmla="*/ 1694 h 10000"/>
                <a:gd name="connsiteX31" fmla="*/ 1285 w 10000"/>
                <a:gd name="connsiteY31" fmla="*/ 1913 h 10000"/>
                <a:gd name="connsiteX32" fmla="*/ 1285 w 10000"/>
                <a:gd name="connsiteY32" fmla="*/ 3878 h 10000"/>
                <a:gd name="connsiteX33" fmla="*/ 1135 w 10000"/>
                <a:gd name="connsiteY33" fmla="*/ 3988 h 10000"/>
                <a:gd name="connsiteX34" fmla="*/ 684 w 10000"/>
                <a:gd name="connsiteY34" fmla="*/ 4208 h 10000"/>
                <a:gd name="connsiteX35" fmla="*/ 609 w 10000"/>
                <a:gd name="connsiteY35" fmla="*/ 4482 h 10000"/>
                <a:gd name="connsiteX36" fmla="*/ 384 w 10000"/>
                <a:gd name="connsiteY36" fmla="*/ 4755 h 10000"/>
                <a:gd name="connsiteX37" fmla="*/ 234 w 10000"/>
                <a:gd name="connsiteY37" fmla="*/ 5192 h 10000"/>
                <a:gd name="connsiteX38" fmla="*/ 8 w 10000"/>
                <a:gd name="connsiteY38" fmla="*/ 5685 h 10000"/>
                <a:gd name="connsiteX39" fmla="*/ 384 w 10000"/>
                <a:gd name="connsiteY39" fmla="*/ 5738 h 10000"/>
                <a:gd name="connsiteX40" fmla="*/ 458 w 10000"/>
                <a:gd name="connsiteY40" fmla="*/ 6173 h 10000"/>
                <a:gd name="connsiteX41" fmla="*/ 684 w 10000"/>
                <a:gd name="connsiteY41" fmla="*/ 6611 h 10000"/>
                <a:gd name="connsiteX42" fmla="*/ 1059 w 10000"/>
                <a:gd name="connsiteY42" fmla="*/ 7487 h 10000"/>
                <a:gd name="connsiteX0" fmla="*/ 8197 w 10000"/>
                <a:gd name="connsiteY0" fmla="*/ 9837 h 10000"/>
                <a:gd name="connsiteX1" fmla="*/ 8422 w 10000"/>
                <a:gd name="connsiteY1" fmla="*/ 10000 h 10000"/>
                <a:gd name="connsiteX2" fmla="*/ 8272 w 10000"/>
                <a:gd name="connsiteY2" fmla="*/ 9564 h 10000"/>
                <a:gd name="connsiteX3" fmla="*/ 7446 w 10000"/>
                <a:gd name="connsiteY3" fmla="*/ 7103 h 10000"/>
                <a:gd name="connsiteX4" fmla="*/ 7446 w 10000"/>
                <a:gd name="connsiteY4" fmla="*/ 6722 h 10000"/>
                <a:gd name="connsiteX5" fmla="*/ 7821 w 10000"/>
                <a:gd name="connsiteY5" fmla="*/ 6722 h 10000"/>
                <a:gd name="connsiteX6" fmla="*/ 8047 w 10000"/>
                <a:gd name="connsiteY6" fmla="*/ 6011 h 10000"/>
                <a:gd name="connsiteX7" fmla="*/ 8648 w 10000"/>
                <a:gd name="connsiteY7" fmla="*/ 5574 h 10000"/>
                <a:gd name="connsiteX8" fmla="*/ 8873 w 10000"/>
                <a:gd name="connsiteY8" fmla="*/ 4755 h 10000"/>
                <a:gd name="connsiteX9" fmla="*/ 8722 w 10000"/>
                <a:gd name="connsiteY9" fmla="*/ 4318 h 10000"/>
                <a:gd name="connsiteX10" fmla="*/ 9098 w 10000"/>
                <a:gd name="connsiteY10" fmla="*/ 3388 h 10000"/>
                <a:gd name="connsiteX11" fmla="*/ 9399 w 10000"/>
                <a:gd name="connsiteY11" fmla="*/ 3114 h 10000"/>
                <a:gd name="connsiteX12" fmla="*/ 10000 w 10000"/>
                <a:gd name="connsiteY12" fmla="*/ 2678 h 10000"/>
                <a:gd name="connsiteX13" fmla="*/ 9774 w 10000"/>
                <a:gd name="connsiteY13" fmla="*/ 2622 h 10000"/>
                <a:gd name="connsiteX14" fmla="*/ 9399 w 10000"/>
                <a:gd name="connsiteY14" fmla="*/ 2351 h 10000"/>
                <a:gd name="connsiteX15" fmla="*/ 9173 w 10000"/>
                <a:gd name="connsiteY15" fmla="*/ 1531 h 10000"/>
                <a:gd name="connsiteX16" fmla="*/ 9173 w 10000"/>
                <a:gd name="connsiteY16" fmla="*/ 1093 h 10000"/>
                <a:gd name="connsiteX17" fmla="*/ 9098 w 10000"/>
                <a:gd name="connsiteY17" fmla="*/ 546 h 10000"/>
                <a:gd name="connsiteX18" fmla="*/ 8873 w 10000"/>
                <a:gd name="connsiteY18" fmla="*/ 383 h 10000"/>
                <a:gd name="connsiteX19" fmla="*/ 8497 w 10000"/>
                <a:gd name="connsiteY19" fmla="*/ 164 h 10000"/>
                <a:gd name="connsiteX20" fmla="*/ 8272 w 10000"/>
                <a:gd name="connsiteY20" fmla="*/ 0 h 10000"/>
                <a:gd name="connsiteX21" fmla="*/ 7821 w 10000"/>
                <a:gd name="connsiteY21" fmla="*/ 219 h 10000"/>
                <a:gd name="connsiteX22" fmla="*/ 7370 w 10000"/>
                <a:gd name="connsiteY22" fmla="*/ 546 h 10000"/>
                <a:gd name="connsiteX23" fmla="*/ 6769 w 10000"/>
                <a:gd name="connsiteY23" fmla="*/ 546 h 10000"/>
                <a:gd name="connsiteX24" fmla="*/ 5717 w 10000"/>
                <a:gd name="connsiteY24" fmla="*/ 546 h 10000"/>
                <a:gd name="connsiteX25" fmla="*/ 5717 w 10000"/>
                <a:gd name="connsiteY25" fmla="*/ 493 h 10000"/>
                <a:gd name="connsiteX26" fmla="*/ 5643 w 10000"/>
                <a:gd name="connsiteY26" fmla="*/ 546 h 10000"/>
                <a:gd name="connsiteX27" fmla="*/ 1961 w 10000"/>
                <a:gd name="connsiteY27" fmla="*/ 546 h 10000"/>
                <a:gd name="connsiteX28" fmla="*/ 1961 w 10000"/>
                <a:gd name="connsiteY28" fmla="*/ 1694 h 10000"/>
                <a:gd name="connsiteX29" fmla="*/ 1285 w 10000"/>
                <a:gd name="connsiteY29" fmla="*/ 1694 h 10000"/>
                <a:gd name="connsiteX30" fmla="*/ 1285 w 10000"/>
                <a:gd name="connsiteY30" fmla="*/ 1913 h 10000"/>
                <a:gd name="connsiteX31" fmla="*/ 1285 w 10000"/>
                <a:gd name="connsiteY31" fmla="*/ 3878 h 10000"/>
                <a:gd name="connsiteX32" fmla="*/ 1135 w 10000"/>
                <a:gd name="connsiteY32" fmla="*/ 3988 h 10000"/>
                <a:gd name="connsiteX33" fmla="*/ 684 w 10000"/>
                <a:gd name="connsiteY33" fmla="*/ 4208 h 10000"/>
                <a:gd name="connsiteX34" fmla="*/ 609 w 10000"/>
                <a:gd name="connsiteY34" fmla="*/ 4482 h 10000"/>
                <a:gd name="connsiteX35" fmla="*/ 384 w 10000"/>
                <a:gd name="connsiteY35" fmla="*/ 4755 h 10000"/>
                <a:gd name="connsiteX36" fmla="*/ 234 w 10000"/>
                <a:gd name="connsiteY36" fmla="*/ 5192 h 10000"/>
                <a:gd name="connsiteX37" fmla="*/ 8 w 10000"/>
                <a:gd name="connsiteY37" fmla="*/ 5685 h 10000"/>
                <a:gd name="connsiteX38" fmla="*/ 384 w 10000"/>
                <a:gd name="connsiteY38" fmla="*/ 5738 h 10000"/>
                <a:gd name="connsiteX39" fmla="*/ 458 w 10000"/>
                <a:gd name="connsiteY39" fmla="*/ 6173 h 10000"/>
                <a:gd name="connsiteX40" fmla="*/ 684 w 10000"/>
                <a:gd name="connsiteY40" fmla="*/ 6611 h 10000"/>
                <a:gd name="connsiteX41" fmla="*/ 1059 w 10000"/>
                <a:gd name="connsiteY41" fmla="*/ 7487 h 10000"/>
                <a:gd name="connsiteX0" fmla="*/ 8197 w 10000"/>
                <a:gd name="connsiteY0" fmla="*/ 9837 h 10000"/>
                <a:gd name="connsiteX1" fmla="*/ 8422 w 10000"/>
                <a:gd name="connsiteY1" fmla="*/ 10000 h 10000"/>
                <a:gd name="connsiteX2" fmla="*/ 7446 w 10000"/>
                <a:gd name="connsiteY2" fmla="*/ 7103 h 10000"/>
                <a:gd name="connsiteX3" fmla="*/ 7446 w 10000"/>
                <a:gd name="connsiteY3" fmla="*/ 6722 h 10000"/>
                <a:gd name="connsiteX4" fmla="*/ 7821 w 10000"/>
                <a:gd name="connsiteY4" fmla="*/ 6722 h 10000"/>
                <a:gd name="connsiteX5" fmla="*/ 8047 w 10000"/>
                <a:gd name="connsiteY5" fmla="*/ 6011 h 10000"/>
                <a:gd name="connsiteX6" fmla="*/ 8648 w 10000"/>
                <a:gd name="connsiteY6" fmla="*/ 5574 h 10000"/>
                <a:gd name="connsiteX7" fmla="*/ 8873 w 10000"/>
                <a:gd name="connsiteY7" fmla="*/ 4755 h 10000"/>
                <a:gd name="connsiteX8" fmla="*/ 8722 w 10000"/>
                <a:gd name="connsiteY8" fmla="*/ 4318 h 10000"/>
                <a:gd name="connsiteX9" fmla="*/ 9098 w 10000"/>
                <a:gd name="connsiteY9" fmla="*/ 3388 h 10000"/>
                <a:gd name="connsiteX10" fmla="*/ 9399 w 10000"/>
                <a:gd name="connsiteY10" fmla="*/ 3114 h 10000"/>
                <a:gd name="connsiteX11" fmla="*/ 10000 w 10000"/>
                <a:gd name="connsiteY11" fmla="*/ 2678 h 10000"/>
                <a:gd name="connsiteX12" fmla="*/ 9774 w 10000"/>
                <a:gd name="connsiteY12" fmla="*/ 2622 h 10000"/>
                <a:gd name="connsiteX13" fmla="*/ 9399 w 10000"/>
                <a:gd name="connsiteY13" fmla="*/ 2351 h 10000"/>
                <a:gd name="connsiteX14" fmla="*/ 9173 w 10000"/>
                <a:gd name="connsiteY14" fmla="*/ 1531 h 10000"/>
                <a:gd name="connsiteX15" fmla="*/ 9173 w 10000"/>
                <a:gd name="connsiteY15" fmla="*/ 1093 h 10000"/>
                <a:gd name="connsiteX16" fmla="*/ 9098 w 10000"/>
                <a:gd name="connsiteY16" fmla="*/ 546 h 10000"/>
                <a:gd name="connsiteX17" fmla="*/ 8873 w 10000"/>
                <a:gd name="connsiteY17" fmla="*/ 383 h 10000"/>
                <a:gd name="connsiteX18" fmla="*/ 8497 w 10000"/>
                <a:gd name="connsiteY18" fmla="*/ 164 h 10000"/>
                <a:gd name="connsiteX19" fmla="*/ 8272 w 10000"/>
                <a:gd name="connsiteY19" fmla="*/ 0 h 10000"/>
                <a:gd name="connsiteX20" fmla="*/ 7821 w 10000"/>
                <a:gd name="connsiteY20" fmla="*/ 219 h 10000"/>
                <a:gd name="connsiteX21" fmla="*/ 7370 w 10000"/>
                <a:gd name="connsiteY21" fmla="*/ 546 h 10000"/>
                <a:gd name="connsiteX22" fmla="*/ 6769 w 10000"/>
                <a:gd name="connsiteY22" fmla="*/ 546 h 10000"/>
                <a:gd name="connsiteX23" fmla="*/ 5717 w 10000"/>
                <a:gd name="connsiteY23" fmla="*/ 546 h 10000"/>
                <a:gd name="connsiteX24" fmla="*/ 5717 w 10000"/>
                <a:gd name="connsiteY24" fmla="*/ 493 h 10000"/>
                <a:gd name="connsiteX25" fmla="*/ 5643 w 10000"/>
                <a:gd name="connsiteY25" fmla="*/ 546 h 10000"/>
                <a:gd name="connsiteX26" fmla="*/ 1961 w 10000"/>
                <a:gd name="connsiteY26" fmla="*/ 546 h 10000"/>
                <a:gd name="connsiteX27" fmla="*/ 1961 w 10000"/>
                <a:gd name="connsiteY27" fmla="*/ 1694 h 10000"/>
                <a:gd name="connsiteX28" fmla="*/ 1285 w 10000"/>
                <a:gd name="connsiteY28" fmla="*/ 1694 h 10000"/>
                <a:gd name="connsiteX29" fmla="*/ 1285 w 10000"/>
                <a:gd name="connsiteY29" fmla="*/ 1913 h 10000"/>
                <a:gd name="connsiteX30" fmla="*/ 1285 w 10000"/>
                <a:gd name="connsiteY30" fmla="*/ 3878 h 10000"/>
                <a:gd name="connsiteX31" fmla="*/ 1135 w 10000"/>
                <a:gd name="connsiteY31" fmla="*/ 3988 h 10000"/>
                <a:gd name="connsiteX32" fmla="*/ 684 w 10000"/>
                <a:gd name="connsiteY32" fmla="*/ 4208 h 10000"/>
                <a:gd name="connsiteX33" fmla="*/ 609 w 10000"/>
                <a:gd name="connsiteY33" fmla="*/ 4482 h 10000"/>
                <a:gd name="connsiteX34" fmla="*/ 384 w 10000"/>
                <a:gd name="connsiteY34" fmla="*/ 4755 h 10000"/>
                <a:gd name="connsiteX35" fmla="*/ 234 w 10000"/>
                <a:gd name="connsiteY35" fmla="*/ 5192 h 10000"/>
                <a:gd name="connsiteX36" fmla="*/ 8 w 10000"/>
                <a:gd name="connsiteY36" fmla="*/ 5685 h 10000"/>
                <a:gd name="connsiteX37" fmla="*/ 384 w 10000"/>
                <a:gd name="connsiteY37" fmla="*/ 5738 h 10000"/>
                <a:gd name="connsiteX38" fmla="*/ 458 w 10000"/>
                <a:gd name="connsiteY38" fmla="*/ 6173 h 10000"/>
                <a:gd name="connsiteX39" fmla="*/ 684 w 10000"/>
                <a:gd name="connsiteY39" fmla="*/ 6611 h 10000"/>
                <a:gd name="connsiteX40" fmla="*/ 1059 w 10000"/>
                <a:gd name="connsiteY40" fmla="*/ 7487 h 10000"/>
                <a:gd name="connsiteX0" fmla="*/ 8197 w 10000"/>
                <a:gd name="connsiteY0" fmla="*/ 9837 h 9837"/>
                <a:gd name="connsiteX1" fmla="*/ 7446 w 10000"/>
                <a:gd name="connsiteY1" fmla="*/ 7103 h 9837"/>
                <a:gd name="connsiteX2" fmla="*/ 7446 w 10000"/>
                <a:gd name="connsiteY2" fmla="*/ 6722 h 9837"/>
                <a:gd name="connsiteX3" fmla="*/ 7821 w 10000"/>
                <a:gd name="connsiteY3" fmla="*/ 6722 h 9837"/>
                <a:gd name="connsiteX4" fmla="*/ 8047 w 10000"/>
                <a:gd name="connsiteY4" fmla="*/ 6011 h 9837"/>
                <a:gd name="connsiteX5" fmla="*/ 8648 w 10000"/>
                <a:gd name="connsiteY5" fmla="*/ 5574 h 9837"/>
                <a:gd name="connsiteX6" fmla="*/ 8873 w 10000"/>
                <a:gd name="connsiteY6" fmla="*/ 4755 h 9837"/>
                <a:gd name="connsiteX7" fmla="*/ 8722 w 10000"/>
                <a:gd name="connsiteY7" fmla="*/ 4318 h 9837"/>
                <a:gd name="connsiteX8" fmla="*/ 9098 w 10000"/>
                <a:gd name="connsiteY8" fmla="*/ 3388 h 9837"/>
                <a:gd name="connsiteX9" fmla="*/ 9399 w 10000"/>
                <a:gd name="connsiteY9" fmla="*/ 3114 h 9837"/>
                <a:gd name="connsiteX10" fmla="*/ 10000 w 10000"/>
                <a:gd name="connsiteY10" fmla="*/ 2678 h 9837"/>
                <a:gd name="connsiteX11" fmla="*/ 9774 w 10000"/>
                <a:gd name="connsiteY11" fmla="*/ 2622 h 9837"/>
                <a:gd name="connsiteX12" fmla="*/ 9399 w 10000"/>
                <a:gd name="connsiteY12" fmla="*/ 2351 h 9837"/>
                <a:gd name="connsiteX13" fmla="*/ 9173 w 10000"/>
                <a:gd name="connsiteY13" fmla="*/ 1531 h 9837"/>
                <a:gd name="connsiteX14" fmla="*/ 9173 w 10000"/>
                <a:gd name="connsiteY14" fmla="*/ 1093 h 9837"/>
                <a:gd name="connsiteX15" fmla="*/ 9098 w 10000"/>
                <a:gd name="connsiteY15" fmla="*/ 546 h 9837"/>
                <a:gd name="connsiteX16" fmla="*/ 8873 w 10000"/>
                <a:gd name="connsiteY16" fmla="*/ 383 h 9837"/>
                <a:gd name="connsiteX17" fmla="*/ 8497 w 10000"/>
                <a:gd name="connsiteY17" fmla="*/ 164 h 9837"/>
                <a:gd name="connsiteX18" fmla="*/ 8272 w 10000"/>
                <a:gd name="connsiteY18" fmla="*/ 0 h 9837"/>
                <a:gd name="connsiteX19" fmla="*/ 7821 w 10000"/>
                <a:gd name="connsiteY19" fmla="*/ 219 h 9837"/>
                <a:gd name="connsiteX20" fmla="*/ 7370 w 10000"/>
                <a:gd name="connsiteY20" fmla="*/ 546 h 9837"/>
                <a:gd name="connsiteX21" fmla="*/ 6769 w 10000"/>
                <a:gd name="connsiteY21" fmla="*/ 546 h 9837"/>
                <a:gd name="connsiteX22" fmla="*/ 5717 w 10000"/>
                <a:gd name="connsiteY22" fmla="*/ 546 h 9837"/>
                <a:gd name="connsiteX23" fmla="*/ 5717 w 10000"/>
                <a:gd name="connsiteY23" fmla="*/ 493 h 9837"/>
                <a:gd name="connsiteX24" fmla="*/ 5643 w 10000"/>
                <a:gd name="connsiteY24" fmla="*/ 546 h 9837"/>
                <a:gd name="connsiteX25" fmla="*/ 1961 w 10000"/>
                <a:gd name="connsiteY25" fmla="*/ 546 h 9837"/>
                <a:gd name="connsiteX26" fmla="*/ 1961 w 10000"/>
                <a:gd name="connsiteY26" fmla="*/ 1694 h 9837"/>
                <a:gd name="connsiteX27" fmla="*/ 1285 w 10000"/>
                <a:gd name="connsiteY27" fmla="*/ 1694 h 9837"/>
                <a:gd name="connsiteX28" fmla="*/ 1285 w 10000"/>
                <a:gd name="connsiteY28" fmla="*/ 1913 h 9837"/>
                <a:gd name="connsiteX29" fmla="*/ 1285 w 10000"/>
                <a:gd name="connsiteY29" fmla="*/ 3878 h 9837"/>
                <a:gd name="connsiteX30" fmla="*/ 1135 w 10000"/>
                <a:gd name="connsiteY30" fmla="*/ 3988 h 9837"/>
                <a:gd name="connsiteX31" fmla="*/ 684 w 10000"/>
                <a:gd name="connsiteY31" fmla="*/ 4208 h 9837"/>
                <a:gd name="connsiteX32" fmla="*/ 609 w 10000"/>
                <a:gd name="connsiteY32" fmla="*/ 4482 h 9837"/>
                <a:gd name="connsiteX33" fmla="*/ 384 w 10000"/>
                <a:gd name="connsiteY33" fmla="*/ 4755 h 9837"/>
                <a:gd name="connsiteX34" fmla="*/ 234 w 10000"/>
                <a:gd name="connsiteY34" fmla="*/ 5192 h 9837"/>
                <a:gd name="connsiteX35" fmla="*/ 8 w 10000"/>
                <a:gd name="connsiteY35" fmla="*/ 5685 h 9837"/>
                <a:gd name="connsiteX36" fmla="*/ 384 w 10000"/>
                <a:gd name="connsiteY36" fmla="*/ 5738 h 9837"/>
                <a:gd name="connsiteX37" fmla="*/ 458 w 10000"/>
                <a:gd name="connsiteY37" fmla="*/ 6173 h 9837"/>
                <a:gd name="connsiteX38" fmla="*/ 684 w 10000"/>
                <a:gd name="connsiteY38" fmla="*/ 6611 h 9837"/>
                <a:gd name="connsiteX39" fmla="*/ 1059 w 10000"/>
                <a:gd name="connsiteY39" fmla="*/ 7487 h 9837"/>
                <a:gd name="connsiteX0" fmla="*/ 7446 w 10000"/>
                <a:gd name="connsiteY0" fmla="*/ 7221 h 7611"/>
                <a:gd name="connsiteX1" fmla="*/ 7446 w 10000"/>
                <a:gd name="connsiteY1" fmla="*/ 6833 h 7611"/>
                <a:gd name="connsiteX2" fmla="*/ 7821 w 10000"/>
                <a:gd name="connsiteY2" fmla="*/ 6833 h 7611"/>
                <a:gd name="connsiteX3" fmla="*/ 8047 w 10000"/>
                <a:gd name="connsiteY3" fmla="*/ 6111 h 7611"/>
                <a:gd name="connsiteX4" fmla="*/ 8648 w 10000"/>
                <a:gd name="connsiteY4" fmla="*/ 5666 h 7611"/>
                <a:gd name="connsiteX5" fmla="*/ 8873 w 10000"/>
                <a:gd name="connsiteY5" fmla="*/ 4834 h 7611"/>
                <a:gd name="connsiteX6" fmla="*/ 8722 w 10000"/>
                <a:gd name="connsiteY6" fmla="*/ 4390 h 7611"/>
                <a:gd name="connsiteX7" fmla="*/ 9098 w 10000"/>
                <a:gd name="connsiteY7" fmla="*/ 3444 h 7611"/>
                <a:gd name="connsiteX8" fmla="*/ 9399 w 10000"/>
                <a:gd name="connsiteY8" fmla="*/ 3166 h 7611"/>
                <a:gd name="connsiteX9" fmla="*/ 10000 w 10000"/>
                <a:gd name="connsiteY9" fmla="*/ 2722 h 7611"/>
                <a:gd name="connsiteX10" fmla="*/ 9774 w 10000"/>
                <a:gd name="connsiteY10" fmla="*/ 2665 h 7611"/>
                <a:gd name="connsiteX11" fmla="*/ 9399 w 10000"/>
                <a:gd name="connsiteY11" fmla="*/ 2390 h 7611"/>
                <a:gd name="connsiteX12" fmla="*/ 9173 w 10000"/>
                <a:gd name="connsiteY12" fmla="*/ 1556 h 7611"/>
                <a:gd name="connsiteX13" fmla="*/ 9173 w 10000"/>
                <a:gd name="connsiteY13" fmla="*/ 1111 h 7611"/>
                <a:gd name="connsiteX14" fmla="*/ 9098 w 10000"/>
                <a:gd name="connsiteY14" fmla="*/ 555 h 7611"/>
                <a:gd name="connsiteX15" fmla="*/ 8873 w 10000"/>
                <a:gd name="connsiteY15" fmla="*/ 389 h 7611"/>
                <a:gd name="connsiteX16" fmla="*/ 8497 w 10000"/>
                <a:gd name="connsiteY16" fmla="*/ 167 h 7611"/>
                <a:gd name="connsiteX17" fmla="*/ 8272 w 10000"/>
                <a:gd name="connsiteY17" fmla="*/ 0 h 7611"/>
                <a:gd name="connsiteX18" fmla="*/ 7821 w 10000"/>
                <a:gd name="connsiteY18" fmla="*/ 223 h 7611"/>
                <a:gd name="connsiteX19" fmla="*/ 7370 w 10000"/>
                <a:gd name="connsiteY19" fmla="*/ 555 h 7611"/>
                <a:gd name="connsiteX20" fmla="*/ 6769 w 10000"/>
                <a:gd name="connsiteY20" fmla="*/ 555 h 7611"/>
                <a:gd name="connsiteX21" fmla="*/ 5717 w 10000"/>
                <a:gd name="connsiteY21" fmla="*/ 555 h 7611"/>
                <a:gd name="connsiteX22" fmla="*/ 5717 w 10000"/>
                <a:gd name="connsiteY22" fmla="*/ 501 h 7611"/>
                <a:gd name="connsiteX23" fmla="*/ 5643 w 10000"/>
                <a:gd name="connsiteY23" fmla="*/ 555 h 7611"/>
                <a:gd name="connsiteX24" fmla="*/ 1961 w 10000"/>
                <a:gd name="connsiteY24" fmla="*/ 555 h 7611"/>
                <a:gd name="connsiteX25" fmla="*/ 1961 w 10000"/>
                <a:gd name="connsiteY25" fmla="*/ 1722 h 7611"/>
                <a:gd name="connsiteX26" fmla="*/ 1285 w 10000"/>
                <a:gd name="connsiteY26" fmla="*/ 1722 h 7611"/>
                <a:gd name="connsiteX27" fmla="*/ 1285 w 10000"/>
                <a:gd name="connsiteY27" fmla="*/ 1945 h 7611"/>
                <a:gd name="connsiteX28" fmla="*/ 1285 w 10000"/>
                <a:gd name="connsiteY28" fmla="*/ 3942 h 7611"/>
                <a:gd name="connsiteX29" fmla="*/ 1135 w 10000"/>
                <a:gd name="connsiteY29" fmla="*/ 4054 h 7611"/>
                <a:gd name="connsiteX30" fmla="*/ 684 w 10000"/>
                <a:gd name="connsiteY30" fmla="*/ 4278 h 7611"/>
                <a:gd name="connsiteX31" fmla="*/ 609 w 10000"/>
                <a:gd name="connsiteY31" fmla="*/ 4556 h 7611"/>
                <a:gd name="connsiteX32" fmla="*/ 384 w 10000"/>
                <a:gd name="connsiteY32" fmla="*/ 4834 h 7611"/>
                <a:gd name="connsiteX33" fmla="*/ 234 w 10000"/>
                <a:gd name="connsiteY33" fmla="*/ 5278 h 7611"/>
                <a:gd name="connsiteX34" fmla="*/ 8 w 10000"/>
                <a:gd name="connsiteY34" fmla="*/ 5779 h 7611"/>
                <a:gd name="connsiteX35" fmla="*/ 384 w 10000"/>
                <a:gd name="connsiteY35" fmla="*/ 5833 h 7611"/>
                <a:gd name="connsiteX36" fmla="*/ 458 w 10000"/>
                <a:gd name="connsiteY36" fmla="*/ 6275 h 7611"/>
                <a:gd name="connsiteX37" fmla="*/ 684 w 10000"/>
                <a:gd name="connsiteY37" fmla="*/ 6721 h 7611"/>
                <a:gd name="connsiteX38" fmla="*/ 1059 w 10000"/>
                <a:gd name="connsiteY38" fmla="*/ 7611 h 7611"/>
                <a:gd name="connsiteX0" fmla="*/ 7446 w 10000"/>
                <a:gd name="connsiteY0" fmla="*/ 9488 h 10068"/>
                <a:gd name="connsiteX1" fmla="*/ 7446 w 10000"/>
                <a:gd name="connsiteY1" fmla="*/ 8978 h 10068"/>
                <a:gd name="connsiteX2" fmla="*/ 7821 w 10000"/>
                <a:gd name="connsiteY2" fmla="*/ 8978 h 10068"/>
                <a:gd name="connsiteX3" fmla="*/ 8047 w 10000"/>
                <a:gd name="connsiteY3" fmla="*/ 8029 h 10068"/>
                <a:gd name="connsiteX4" fmla="*/ 8648 w 10000"/>
                <a:gd name="connsiteY4" fmla="*/ 7444 h 10068"/>
                <a:gd name="connsiteX5" fmla="*/ 8873 w 10000"/>
                <a:gd name="connsiteY5" fmla="*/ 6351 h 10068"/>
                <a:gd name="connsiteX6" fmla="*/ 8722 w 10000"/>
                <a:gd name="connsiteY6" fmla="*/ 5768 h 10068"/>
                <a:gd name="connsiteX7" fmla="*/ 9098 w 10000"/>
                <a:gd name="connsiteY7" fmla="*/ 4525 h 10068"/>
                <a:gd name="connsiteX8" fmla="*/ 9399 w 10000"/>
                <a:gd name="connsiteY8" fmla="*/ 4160 h 10068"/>
                <a:gd name="connsiteX9" fmla="*/ 10000 w 10000"/>
                <a:gd name="connsiteY9" fmla="*/ 3576 h 10068"/>
                <a:gd name="connsiteX10" fmla="*/ 9774 w 10000"/>
                <a:gd name="connsiteY10" fmla="*/ 3502 h 10068"/>
                <a:gd name="connsiteX11" fmla="*/ 9399 w 10000"/>
                <a:gd name="connsiteY11" fmla="*/ 3140 h 10068"/>
                <a:gd name="connsiteX12" fmla="*/ 9173 w 10000"/>
                <a:gd name="connsiteY12" fmla="*/ 2044 h 10068"/>
                <a:gd name="connsiteX13" fmla="*/ 9173 w 10000"/>
                <a:gd name="connsiteY13" fmla="*/ 1460 h 10068"/>
                <a:gd name="connsiteX14" fmla="*/ 9098 w 10000"/>
                <a:gd name="connsiteY14" fmla="*/ 729 h 10068"/>
                <a:gd name="connsiteX15" fmla="*/ 8873 w 10000"/>
                <a:gd name="connsiteY15" fmla="*/ 511 h 10068"/>
                <a:gd name="connsiteX16" fmla="*/ 8497 w 10000"/>
                <a:gd name="connsiteY16" fmla="*/ 219 h 10068"/>
                <a:gd name="connsiteX17" fmla="*/ 8272 w 10000"/>
                <a:gd name="connsiteY17" fmla="*/ 0 h 10068"/>
                <a:gd name="connsiteX18" fmla="*/ 7821 w 10000"/>
                <a:gd name="connsiteY18" fmla="*/ 293 h 10068"/>
                <a:gd name="connsiteX19" fmla="*/ 7370 w 10000"/>
                <a:gd name="connsiteY19" fmla="*/ 729 h 10068"/>
                <a:gd name="connsiteX20" fmla="*/ 6769 w 10000"/>
                <a:gd name="connsiteY20" fmla="*/ 729 h 10068"/>
                <a:gd name="connsiteX21" fmla="*/ 5717 w 10000"/>
                <a:gd name="connsiteY21" fmla="*/ 729 h 10068"/>
                <a:gd name="connsiteX22" fmla="*/ 5717 w 10000"/>
                <a:gd name="connsiteY22" fmla="*/ 658 h 10068"/>
                <a:gd name="connsiteX23" fmla="*/ 5643 w 10000"/>
                <a:gd name="connsiteY23" fmla="*/ 729 h 10068"/>
                <a:gd name="connsiteX24" fmla="*/ 1961 w 10000"/>
                <a:gd name="connsiteY24" fmla="*/ 729 h 10068"/>
                <a:gd name="connsiteX25" fmla="*/ 1961 w 10000"/>
                <a:gd name="connsiteY25" fmla="*/ 2263 h 10068"/>
                <a:gd name="connsiteX26" fmla="*/ 1285 w 10000"/>
                <a:gd name="connsiteY26" fmla="*/ 2263 h 10068"/>
                <a:gd name="connsiteX27" fmla="*/ 1285 w 10000"/>
                <a:gd name="connsiteY27" fmla="*/ 2556 h 10068"/>
                <a:gd name="connsiteX28" fmla="*/ 1285 w 10000"/>
                <a:gd name="connsiteY28" fmla="*/ 5179 h 10068"/>
                <a:gd name="connsiteX29" fmla="*/ 1135 w 10000"/>
                <a:gd name="connsiteY29" fmla="*/ 5327 h 10068"/>
                <a:gd name="connsiteX30" fmla="*/ 684 w 10000"/>
                <a:gd name="connsiteY30" fmla="*/ 5621 h 10068"/>
                <a:gd name="connsiteX31" fmla="*/ 609 w 10000"/>
                <a:gd name="connsiteY31" fmla="*/ 5986 h 10068"/>
                <a:gd name="connsiteX32" fmla="*/ 384 w 10000"/>
                <a:gd name="connsiteY32" fmla="*/ 6351 h 10068"/>
                <a:gd name="connsiteX33" fmla="*/ 234 w 10000"/>
                <a:gd name="connsiteY33" fmla="*/ 6935 h 10068"/>
                <a:gd name="connsiteX34" fmla="*/ 8 w 10000"/>
                <a:gd name="connsiteY34" fmla="*/ 7593 h 10068"/>
                <a:gd name="connsiteX35" fmla="*/ 384 w 10000"/>
                <a:gd name="connsiteY35" fmla="*/ 7664 h 10068"/>
                <a:gd name="connsiteX36" fmla="*/ 458 w 10000"/>
                <a:gd name="connsiteY36" fmla="*/ 8245 h 10068"/>
                <a:gd name="connsiteX37" fmla="*/ 684 w 10000"/>
                <a:gd name="connsiteY37" fmla="*/ 8831 h 10068"/>
                <a:gd name="connsiteX38" fmla="*/ 1059 w 10000"/>
                <a:gd name="connsiteY38" fmla="*/ 10000 h 10068"/>
                <a:gd name="connsiteX39" fmla="*/ 1058 w 10000"/>
                <a:gd name="connsiteY39" fmla="*/ 9928 h 10068"/>
                <a:gd name="connsiteX0" fmla="*/ 7446 w 10000"/>
                <a:gd name="connsiteY0" fmla="*/ 9488 h 10035"/>
                <a:gd name="connsiteX1" fmla="*/ 7446 w 10000"/>
                <a:gd name="connsiteY1" fmla="*/ 8978 h 10035"/>
                <a:gd name="connsiteX2" fmla="*/ 7821 w 10000"/>
                <a:gd name="connsiteY2" fmla="*/ 8978 h 10035"/>
                <a:gd name="connsiteX3" fmla="*/ 8047 w 10000"/>
                <a:gd name="connsiteY3" fmla="*/ 8029 h 10035"/>
                <a:gd name="connsiteX4" fmla="*/ 8648 w 10000"/>
                <a:gd name="connsiteY4" fmla="*/ 7444 h 10035"/>
                <a:gd name="connsiteX5" fmla="*/ 8873 w 10000"/>
                <a:gd name="connsiteY5" fmla="*/ 6351 h 10035"/>
                <a:gd name="connsiteX6" fmla="*/ 8722 w 10000"/>
                <a:gd name="connsiteY6" fmla="*/ 5768 h 10035"/>
                <a:gd name="connsiteX7" fmla="*/ 9098 w 10000"/>
                <a:gd name="connsiteY7" fmla="*/ 4525 h 10035"/>
                <a:gd name="connsiteX8" fmla="*/ 9399 w 10000"/>
                <a:gd name="connsiteY8" fmla="*/ 4160 h 10035"/>
                <a:gd name="connsiteX9" fmla="*/ 10000 w 10000"/>
                <a:gd name="connsiteY9" fmla="*/ 3576 h 10035"/>
                <a:gd name="connsiteX10" fmla="*/ 9774 w 10000"/>
                <a:gd name="connsiteY10" fmla="*/ 3502 h 10035"/>
                <a:gd name="connsiteX11" fmla="*/ 9399 w 10000"/>
                <a:gd name="connsiteY11" fmla="*/ 3140 h 10035"/>
                <a:gd name="connsiteX12" fmla="*/ 9173 w 10000"/>
                <a:gd name="connsiteY12" fmla="*/ 2044 h 10035"/>
                <a:gd name="connsiteX13" fmla="*/ 9173 w 10000"/>
                <a:gd name="connsiteY13" fmla="*/ 1460 h 10035"/>
                <a:gd name="connsiteX14" fmla="*/ 9098 w 10000"/>
                <a:gd name="connsiteY14" fmla="*/ 729 h 10035"/>
                <a:gd name="connsiteX15" fmla="*/ 8873 w 10000"/>
                <a:gd name="connsiteY15" fmla="*/ 511 h 10035"/>
                <a:gd name="connsiteX16" fmla="*/ 8497 w 10000"/>
                <a:gd name="connsiteY16" fmla="*/ 219 h 10035"/>
                <a:gd name="connsiteX17" fmla="*/ 8272 w 10000"/>
                <a:gd name="connsiteY17" fmla="*/ 0 h 10035"/>
                <a:gd name="connsiteX18" fmla="*/ 7821 w 10000"/>
                <a:gd name="connsiteY18" fmla="*/ 293 h 10035"/>
                <a:gd name="connsiteX19" fmla="*/ 7370 w 10000"/>
                <a:gd name="connsiteY19" fmla="*/ 729 h 10035"/>
                <a:gd name="connsiteX20" fmla="*/ 6769 w 10000"/>
                <a:gd name="connsiteY20" fmla="*/ 729 h 10035"/>
                <a:gd name="connsiteX21" fmla="*/ 5717 w 10000"/>
                <a:gd name="connsiteY21" fmla="*/ 729 h 10035"/>
                <a:gd name="connsiteX22" fmla="*/ 5717 w 10000"/>
                <a:gd name="connsiteY22" fmla="*/ 658 h 10035"/>
                <a:gd name="connsiteX23" fmla="*/ 5643 w 10000"/>
                <a:gd name="connsiteY23" fmla="*/ 729 h 10035"/>
                <a:gd name="connsiteX24" fmla="*/ 1961 w 10000"/>
                <a:gd name="connsiteY24" fmla="*/ 729 h 10035"/>
                <a:gd name="connsiteX25" fmla="*/ 1961 w 10000"/>
                <a:gd name="connsiteY25" fmla="*/ 2263 h 10035"/>
                <a:gd name="connsiteX26" fmla="*/ 1285 w 10000"/>
                <a:gd name="connsiteY26" fmla="*/ 2263 h 10035"/>
                <a:gd name="connsiteX27" fmla="*/ 1285 w 10000"/>
                <a:gd name="connsiteY27" fmla="*/ 2556 h 10035"/>
                <a:gd name="connsiteX28" fmla="*/ 1285 w 10000"/>
                <a:gd name="connsiteY28" fmla="*/ 5179 h 10035"/>
                <a:gd name="connsiteX29" fmla="*/ 1135 w 10000"/>
                <a:gd name="connsiteY29" fmla="*/ 5327 h 10035"/>
                <a:gd name="connsiteX30" fmla="*/ 684 w 10000"/>
                <a:gd name="connsiteY30" fmla="*/ 5621 h 10035"/>
                <a:gd name="connsiteX31" fmla="*/ 609 w 10000"/>
                <a:gd name="connsiteY31" fmla="*/ 5986 h 10035"/>
                <a:gd name="connsiteX32" fmla="*/ 384 w 10000"/>
                <a:gd name="connsiteY32" fmla="*/ 6351 h 10035"/>
                <a:gd name="connsiteX33" fmla="*/ 234 w 10000"/>
                <a:gd name="connsiteY33" fmla="*/ 6935 h 10035"/>
                <a:gd name="connsiteX34" fmla="*/ 8 w 10000"/>
                <a:gd name="connsiteY34" fmla="*/ 7593 h 10035"/>
                <a:gd name="connsiteX35" fmla="*/ 384 w 10000"/>
                <a:gd name="connsiteY35" fmla="*/ 7664 h 10035"/>
                <a:gd name="connsiteX36" fmla="*/ 458 w 10000"/>
                <a:gd name="connsiteY36" fmla="*/ 8245 h 10035"/>
                <a:gd name="connsiteX37" fmla="*/ 684 w 10000"/>
                <a:gd name="connsiteY37" fmla="*/ 8831 h 10035"/>
                <a:gd name="connsiteX38" fmla="*/ 1059 w 10000"/>
                <a:gd name="connsiteY38" fmla="*/ 10000 h 10035"/>
                <a:gd name="connsiteX39" fmla="*/ 1750 w 10000"/>
                <a:gd name="connsiteY39" fmla="*/ 9592 h 10035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0" fmla="*/ 7446 w 10000"/>
                <a:gd name="connsiteY0" fmla="*/ 9488 h 10127"/>
                <a:gd name="connsiteX1" fmla="*/ 7446 w 10000"/>
                <a:gd name="connsiteY1" fmla="*/ 8978 h 10127"/>
                <a:gd name="connsiteX2" fmla="*/ 7821 w 10000"/>
                <a:gd name="connsiteY2" fmla="*/ 8978 h 10127"/>
                <a:gd name="connsiteX3" fmla="*/ 8047 w 10000"/>
                <a:gd name="connsiteY3" fmla="*/ 8029 h 10127"/>
                <a:gd name="connsiteX4" fmla="*/ 8648 w 10000"/>
                <a:gd name="connsiteY4" fmla="*/ 7444 h 10127"/>
                <a:gd name="connsiteX5" fmla="*/ 8873 w 10000"/>
                <a:gd name="connsiteY5" fmla="*/ 6351 h 10127"/>
                <a:gd name="connsiteX6" fmla="*/ 8722 w 10000"/>
                <a:gd name="connsiteY6" fmla="*/ 5768 h 10127"/>
                <a:gd name="connsiteX7" fmla="*/ 9098 w 10000"/>
                <a:gd name="connsiteY7" fmla="*/ 4525 h 10127"/>
                <a:gd name="connsiteX8" fmla="*/ 9399 w 10000"/>
                <a:gd name="connsiteY8" fmla="*/ 4160 h 10127"/>
                <a:gd name="connsiteX9" fmla="*/ 10000 w 10000"/>
                <a:gd name="connsiteY9" fmla="*/ 3576 h 10127"/>
                <a:gd name="connsiteX10" fmla="*/ 9774 w 10000"/>
                <a:gd name="connsiteY10" fmla="*/ 3502 h 10127"/>
                <a:gd name="connsiteX11" fmla="*/ 9399 w 10000"/>
                <a:gd name="connsiteY11" fmla="*/ 3140 h 10127"/>
                <a:gd name="connsiteX12" fmla="*/ 9173 w 10000"/>
                <a:gd name="connsiteY12" fmla="*/ 2044 h 10127"/>
                <a:gd name="connsiteX13" fmla="*/ 9173 w 10000"/>
                <a:gd name="connsiteY13" fmla="*/ 1460 h 10127"/>
                <a:gd name="connsiteX14" fmla="*/ 9098 w 10000"/>
                <a:gd name="connsiteY14" fmla="*/ 729 h 10127"/>
                <a:gd name="connsiteX15" fmla="*/ 8873 w 10000"/>
                <a:gd name="connsiteY15" fmla="*/ 511 h 10127"/>
                <a:gd name="connsiteX16" fmla="*/ 8497 w 10000"/>
                <a:gd name="connsiteY16" fmla="*/ 219 h 10127"/>
                <a:gd name="connsiteX17" fmla="*/ 8272 w 10000"/>
                <a:gd name="connsiteY17" fmla="*/ 0 h 10127"/>
                <a:gd name="connsiteX18" fmla="*/ 7821 w 10000"/>
                <a:gd name="connsiteY18" fmla="*/ 293 h 10127"/>
                <a:gd name="connsiteX19" fmla="*/ 7370 w 10000"/>
                <a:gd name="connsiteY19" fmla="*/ 729 h 10127"/>
                <a:gd name="connsiteX20" fmla="*/ 6769 w 10000"/>
                <a:gd name="connsiteY20" fmla="*/ 729 h 10127"/>
                <a:gd name="connsiteX21" fmla="*/ 5717 w 10000"/>
                <a:gd name="connsiteY21" fmla="*/ 729 h 10127"/>
                <a:gd name="connsiteX22" fmla="*/ 5717 w 10000"/>
                <a:gd name="connsiteY22" fmla="*/ 658 h 10127"/>
                <a:gd name="connsiteX23" fmla="*/ 5643 w 10000"/>
                <a:gd name="connsiteY23" fmla="*/ 729 h 10127"/>
                <a:gd name="connsiteX24" fmla="*/ 1961 w 10000"/>
                <a:gd name="connsiteY24" fmla="*/ 729 h 10127"/>
                <a:gd name="connsiteX25" fmla="*/ 1961 w 10000"/>
                <a:gd name="connsiteY25" fmla="*/ 2263 h 10127"/>
                <a:gd name="connsiteX26" fmla="*/ 1285 w 10000"/>
                <a:gd name="connsiteY26" fmla="*/ 2263 h 10127"/>
                <a:gd name="connsiteX27" fmla="*/ 1285 w 10000"/>
                <a:gd name="connsiteY27" fmla="*/ 2556 h 10127"/>
                <a:gd name="connsiteX28" fmla="*/ 1285 w 10000"/>
                <a:gd name="connsiteY28" fmla="*/ 5179 h 10127"/>
                <a:gd name="connsiteX29" fmla="*/ 1135 w 10000"/>
                <a:gd name="connsiteY29" fmla="*/ 5327 h 10127"/>
                <a:gd name="connsiteX30" fmla="*/ 684 w 10000"/>
                <a:gd name="connsiteY30" fmla="*/ 5621 h 10127"/>
                <a:gd name="connsiteX31" fmla="*/ 609 w 10000"/>
                <a:gd name="connsiteY31" fmla="*/ 5986 h 10127"/>
                <a:gd name="connsiteX32" fmla="*/ 384 w 10000"/>
                <a:gd name="connsiteY32" fmla="*/ 6351 h 10127"/>
                <a:gd name="connsiteX33" fmla="*/ 234 w 10000"/>
                <a:gd name="connsiteY33" fmla="*/ 6935 h 10127"/>
                <a:gd name="connsiteX34" fmla="*/ 8 w 10000"/>
                <a:gd name="connsiteY34" fmla="*/ 7593 h 10127"/>
                <a:gd name="connsiteX35" fmla="*/ 384 w 10000"/>
                <a:gd name="connsiteY35" fmla="*/ 7664 h 10127"/>
                <a:gd name="connsiteX36" fmla="*/ 458 w 10000"/>
                <a:gd name="connsiteY36" fmla="*/ 8245 h 10127"/>
                <a:gd name="connsiteX37" fmla="*/ 684 w 10000"/>
                <a:gd name="connsiteY37" fmla="*/ 8831 h 10127"/>
                <a:gd name="connsiteX38" fmla="*/ 1059 w 10000"/>
                <a:gd name="connsiteY38" fmla="*/ 10000 h 10127"/>
                <a:gd name="connsiteX39" fmla="*/ 1840 w 10000"/>
                <a:gd name="connsiteY39" fmla="*/ 10103 h 10127"/>
                <a:gd name="connsiteX40" fmla="*/ 1827 w 10000"/>
                <a:gd name="connsiteY40" fmla="*/ 10127 h 10127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2544 w 10000"/>
                <a:gd name="connsiteY40" fmla="*/ 10002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2544 w 10000"/>
                <a:gd name="connsiteY40" fmla="*/ 10002 h 10126"/>
                <a:gd name="connsiteX41" fmla="*/ 2518 w 10000"/>
                <a:gd name="connsiteY41" fmla="*/ 10002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2518 w 10000"/>
                <a:gd name="connsiteY41" fmla="*/ 10002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3453 w 10000"/>
                <a:gd name="connsiteY41" fmla="*/ 9915 h 10126"/>
                <a:gd name="connsiteX42" fmla="*/ 2518 w 10000"/>
                <a:gd name="connsiteY42" fmla="*/ 10002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4529 w 10000"/>
                <a:gd name="connsiteY41" fmla="*/ 9803 h 10126"/>
                <a:gd name="connsiteX42" fmla="*/ 2518 w 10000"/>
                <a:gd name="connsiteY42" fmla="*/ 10002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4529 w 10000"/>
                <a:gd name="connsiteY41" fmla="*/ 9803 h 10126"/>
                <a:gd name="connsiteX42" fmla="*/ 2518 w 10000"/>
                <a:gd name="connsiteY42" fmla="*/ 10002 h 10126"/>
                <a:gd name="connsiteX43" fmla="*/ 4414 w 10000"/>
                <a:gd name="connsiteY43" fmla="*/ 9791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4529 w 10000"/>
                <a:gd name="connsiteY41" fmla="*/ 9803 h 10126"/>
                <a:gd name="connsiteX42" fmla="*/ 2518 w 10000"/>
                <a:gd name="connsiteY42" fmla="*/ 10002 h 10126"/>
                <a:gd name="connsiteX43" fmla="*/ 5541 w 10000"/>
                <a:gd name="connsiteY43" fmla="*/ 9679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4529 w 10000"/>
                <a:gd name="connsiteY41" fmla="*/ 9803 h 10126"/>
                <a:gd name="connsiteX42" fmla="*/ 2518 w 10000"/>
                <a:gd name="connsiteY42" fmla="*/ 10002 h 10126"/>
                <a:gd name="connsiteX43" fmla="*/ 5541 w 10000"/>
                <a:gd name="connsiteY43" fmla="*/ 9679 h 10126"/>
                <a:gd name="connsiteX44" fmla="*/ 5515 w 10000"/>
                <a:gd name="connsiteY44" fmla="*/ 9654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4529 w 10000"/>
                <a:gd name="connsiteY41" fmla="*/ 9803 h 10126"/>
                <a:gd name="connsiteX42" fmla="*/ 2518 w 10000"/>
                <a:gd name="connsiteY42" fmla="*/ 10002 h 10126"/>
                <a:gd name="connsiteX43" fmla="*/ 5541 w 10000"/>
                <a:gd name="connsiteY43" fmla="*/ 9679 h 10126"/>
                <a:gd name="connsiteX44" fmla="*/ 6411 w 10000"/>
                <a:gd name="connsiteY44" fmla="*/ 9517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4529 w 10000"/>
                <a:gd name="connsiteY41" fmla="*/ 9803 h 10126"/>
                <a:gd name="connsiteX42" fmla="*/ 2518 w 10000"/>
                <a:gd name="connsiteY42" fmla="*/ 10002 h 10126"/>
                <a:gd name="connsiteX43" fmla="*/ 5541 w 10000"/>
                <a:gd name="connsiteY43" fmla="*/ 9679 h 10126"/>
                <a:gd name="connsiteX44" fmla="*/ 5988 w 10000"/>
                <a:gd name="connsiteY44" fmla="*/ 921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4529 w 10000"/>
                <a:gd name="connsiteY41" fmla="*/ 9803 h 10126"/>
                <a:gd name="connsiteX42" fmla="*/ 2518 w 10000"/>
                <a:gd name="connsiteY42" fmla="*/ 10002 h 10126"/>
                <a:gd name="connsiteX43" fmla="*/ 5541 w 10000"/>
                <a:gd name="connsiteY43" fmla="*/ 9679 h 10126"/>
                <a:gd name="connsiteX44" fmla="*/ 6756 w 10000"/>
                <a:gd name="connsiteY44" fmla="*/ 9193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4529 w 10000"/>
                <a:gd name="connsiteY41" fmla="*/ 9803 h 10126"/>
                <a:gd name="connsiteX42" fmla="*/ 2518 w 10000"/>
                <a:gd name="connsiteY42" fmla="*/ 10002 h 10126"/>
                <a:gd name="connsiteX43" fmla="*/ 5541 w 10000"/>
                <a:gd name="connsiteY43" fmla="*/ 9679 h 10126"/>
                <a:gd name="connsiteX44" fmla="*/ 6756 w 10000"/>
                <a:gd name="connsiteY44" fmla="*/ 9193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4529 w 10000"/>
                <a:gd name="connsiteY41" fmla="*/ 9803 h 10126"/>
                <a:gd name="connsiteX42" fmla="*/ 2518 w 10000"/>
                <a:gd name="connsiteY42" fmla="*/ 10002 h 10126"/>
                <a:gd name="connsiteX43" fmla="*/ 5541 w 10000"/>
                <a:gd name="connsiteY43" fmla="*/ 9679 h 10126"/>
                <a:gd name="connsiteX44" fmla="*/ 6756 w 10000"/>
                <a:gd name="connsiteY44" fmla="*/ 9193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4529 w 10000"/>
                <a:gd name="connsiteY41" fmla="*/ 9803 h 10126"/>
                <a:gd name="connsiteX42" fmla="*/ 2518 w 10000"/>
                <a:gd name="connsiteY42" fmla="*/ 10002 h 10126"/>
                <a:gd name="connsiteX43" fmla="*/ 6444 w 10000"/>
                <a:gd name="connsiteY43" fmla="*/ 8493 h 10126"/>
                <a:gd name="connsiteX44" fmla="*/ 6756 w 10000"/>
                <a:gd name="connsiteY44" fmla="*/ 9193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4529 w 10000"/>
                <a:gd name="connsiteY41" fmla="*/ 9803 h 10126"/>
                <a:gd name="connsiteX42" fmla="*/ 2518 w 10000"/>
                <a:gd name="connsiteY42" fmla="*/ 10002 h 10126"/>
                <a:gd name="connsiteX43" fmla="*/ 6444 w 10000"/>
                <a:gd name="connsiteY43" fmla="*/ 8493 h 10126"/>
                <a:gd name="connsiteX44" fmla="*/ 6756 w 10000"/>
                <a:gd name="connsiteY44" fmla="*/ 9193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4529 w 10000"/>
                <a:gd name="connsiteY41" fmla="*/ 9803 h 10126"/>
                <a:gd name="connsiteX42" fmla="*/ 2518 w 10000"/>
                <a:gd name="connsiteY42" fmla="*/ 10002 h 10126"/>
                <a:gd name="connsiteX43" fmla="*/ 6444 w 10000"/>
                <a:gd name="connsiteY43" fmla="*/ 8493 h 10126"/>
                <a:gd name="connsiteX44" fmla="*/ 6881 w 10000"/>
                <a:gd name="connsiteY44" fmla="*/ 9296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4529 w 10000"/>
                <a:gd name="connsiteY41" fmla="*/ 9803 h 10126"/>
                <a:gd name="connsiteX42" fmla="*/ 2518 w 10000"/>
                <a:gd name="connsiteY42" fmla="*/ 10002 h 10126"/>
                <a:gd name="connsiteX43" fmla="*/ 6444 w 10000"/>
                <a:gd name="connsiteY43" fmla="*/ 8493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4529 w 10000"/>
                <a:gd name="connsiteY41" fmla="*/ 9803 h 10126"/>
                <a:gd name="connsiteX42" fmla="*/ 2518 w 10000"/>
                <a:gd name="connsiteY42" fmla="*/ 10002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4529 w 10000"/>
                <a:gd name="connsiteY41" fmla="*/ 9803 h 10126"/>
                <a:gd name="connsiteX42" fmla="*/ 2518 w 10000"/>
                <a:gd name="connsiteY42" fmla="*/ 10002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4529 w 10000"/>
                <a:gd name="connsiteY41" fmla="*/ 9803 h 10126"/>
                <a:gd name="connsiteX42" fmla="*/ 6418 w 10000"/>
                <a:gd name="connsiteY42" fmla="*/ 8060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4529 w 10000"/>
                <a:gd name="connsiteY41" fmla="*/ 9803 h 10126"/>
                <a:gd name="connsiteX42" fmla="*/ 6418 w 10000"/>
                <a:gd name="connsiteY42" fmla="*/ 8060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6469 w 10000"/>
                <a:gd name="connsiteY41" fmla="*/ 7898 h 10126"/>
                <a:gd name="connsiteX42" fmla="*/ 6418 w 10000"/>
                <a:gd name="connsiteY42" fmla="*/ 8060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6440 w 10000"/>
                <a:gd name="connsiteY41" fmla="*/ 7935 h 10126"/>
                <a:gd name="connsiteX42" fmla="*/ 6418 w 10000"/>
                <a:gd name="connsiteY42" fmla="*/ 8060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6440 w 10000"/>
                <a:gd name="connsiteY41" fmla="*/ 7935 h 10126"/>
                <a:gd name="connsiteX42" fmla="*/ 6418 w 10000"/>
                <a:gd name="connsiteY42" fmla="*/ 8060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6315 w 10000"/>
                <a:gd name="connsiteY41" fmla="*/ 7898 h 10126"/>
                <a:gd name="connsiteX42" fmla="*/ 6418 w 10000"/>
                <a:gd name="connsiteY42" fmla="*/ 8060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6315 w 10000"/>
                <a:gd name="connsiteY41" fmla="*/ 7898 h 10126"/>
                <a:gd name="connsiteX42" fmla="*/ 6418 w 10000"/>
                <a:gd name="connsiteY42" fmla="*/ 8060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6401 w 10000"/>
                <a:gd name="connsiteY41" fmla="*/ 7898 h 10126"/>
                <a:gd name="connsiteX42" fmla="*/ 6418 w 10000"/>
                <a:gd name="connsiteY42" fmla="*/ 8060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6401 w 10000"/>
                <a:gd name="connsiteY41" fmla="*/ 7898 h 10126"/>
                <a:gd name="connsiteX42" fmla="*/ 6524 w 10000"/>
                <a:gd name="connsiteY42" fmla="*/ 8107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6401 w 10000"/>
                <a:gd name="connsiteY41" fmla="*/ 7898 h 10126"/>
                <a:gd name="connsiteX42" fmla="*/ 6447 w 10000"/>
                <a:gd name="connsiteY42" fmla="*/ 8144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6324 w 10000"/>
                <a:gd name="connsiteY41" fmla="*/ 7954 h 10126"/>
                <a:gd name="connsiteX42" fmla="*/ 6447 w 10000"/>
                <a:gd name="connsiteY42" fmla="*/ 8144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6324 w 10000"/>
                <a:gd name="connsiteY41" fmla="*/ 7954 h 10126"/>
                <a:gd name="connsiteX42" fmla="*/ 6447 w 10000"/>
                <a:gd name="connsiteY42" fmla="*/ 8144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5521 w 10000"/>
                <a:gd name="connsiteY40" fmla="*/ 8508 h 10126"/>
                <a:gd name="connsiteX41" fmla="*/ 6324 w 10000"/>
                <a:gd name="connsiteY41" fmla="*/ 7954 h 10126"/>
                <a:gd name="connsiteX42" fmla="*/ 6447 w 10000"/>
                <a:gd name="connsiteY42" fmla="*/ 8144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5521 w 10000"/>
                <a:gd name="connsiteY40" fmla="*/ 8508 h 10126"/>
                <a:gd name="connsiteX41" fmla="*/ 6324 w 10000"/>
                <a:gd name="connsiteY41" fmla="*/ 7954 h 10126"/>
                <a:gd name="connsiteX42" fmla="*/ 6447 w 10000"/>
                <a:gd name="connsiteY42" fmla="*/ 8144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6011 w 10000"/>
                <a:gd name="connsiteY40" fmla="*/ 8349 h 10126"/>
                <a:gd name="connsiteX41" fmla="*/ 6324 w 10000"/>
                <a:gd name="connsiteY41" fmla="*/ 7954 h 10126"/>
                <a:gd name="connsiteX42" fmla="*/ 6447 w 10000"/>
                <a:gd name="connsiteY42" fmla="*/ 8144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6011 w 10000"/>
                <a:gd name="connsiteY40" fmla="*/ 8349 h 10126"/>
                <a:gd name="connsiteX41" fmla="*/ 6324 w 10000"/>
                <a:gd name="connsiteY41" fmla="*/ 7954 h 10126"/>
                <a:gd name="connsiteX42" fmla="*/ 6447 w 10000"/>
                <a:gd name="connsiteY42" fmla="*/ 8144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6011 w 10000"/>
                <a:gd name="connsiteY40" fmla="*/ 8349 h 10126"/>
                <a:gd name="connsiteX41" fmla="*/ 6324 w 10000"/>
                <a:gd name="connsiteY41" fmla="*/ 7954 h 10126"/>
                <a:gd name="connsiteX42" fmla="*/ 6447 w 10000"/>
                <a:gd name="connsiteY42" fmla="*/ 8144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6011 w 10000"/>
                <a:gd name="connsiteY40" fmla="*/ 8349 h 10126"/>
                <a:gd name="connsiteX41" fmla="*/ 6324 w 10000"/>
                <a:gd name="connsiteY41" fmla="*/ 7954 h 10126"/>
                <a:gd name="connsiteX42" fmla="*/ 6447 w 10000"/>
                <a:gd name="connsiteY42" fmla="*/ 8144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6011 w 10000"/>
                <a:gd name="connsiteY40" fmla="*/ 8349 h 10126"/>
                <a:gd name="connsiteX41" fmla="*/ 6324 w 10000"/>
                <a:gd name="connsiteY41" fmla="*/ 7954 h 10126"/>
                <a:gd name="connsiteX42" fmla="*/ 6447 w 10000"/>
                <a:gd name="connsiteY42" fmla="*/ 8144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6011 w 10000"/>
                <a:gd name="connsiteY40" fmla="*/ 8349 h 10126"/>
                <a:gd name="connsiteX41" fmla="*/ 6324 w 10000"/>
                <a:gd name="connsiteY41" fmla="*/ 7954 h 10126"/>
                <a:gd name="connsiteX42" fmla="*/ 6428 w 10000"/>
                <a:gd name="connsiteY42" fmla="*/ 8181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6040 w 10000"/>
                <a:gd name="connsiteY40" fmla="*/ 8368 h 10126"/>
                <a:gd name="connsiteX41" fmla="*/ 6324 w 10000"/>
                <a:gd name="connsiteY41" fmla="*/ 7954 h 10126"/>
                <a:gd name="connsiteX42" fmla="*/ 6428 w 10000"/>
                <a:gd name="connsiteY42" fmla="*/ 8181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6040 w 10000"/>
                <a:gd name="connsiteY40" fmla="*/ 8368 h 10126"/>
                <a:gd name="connsiteX41" fmla="*/ 6324 w 10000"/>
                <a:gd name="connsiteY41" fmla="*/ 7954 h 10126"/>
                <a:gd name="connsiteX42" fmla="*/ 6428 w 10000"/>
                <a:gd name="connsiteY42" fmla="*/ 8181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6040 w 10000"/>
                <a:gd name="connsiteY40" fmla="*/ 8368 h 10126"/>
                <a:gd name="connsiteX41" fmla="*/ 6324 w 10000"/>
                <a:gd name="connsiteY41" fmla="*/ 7954 h 10126"/>
                <a:gd name="connsiteX42" fmla="*/ 6428 w 10000"/>
                <a:gd name="connsiteY42" fmla="*/ 8181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6040 w 10000"/>
                <a:gd name="connsiteY40" fmla="*/ 8368 h 10126"/>
                <a:gd name="connsiteX41" fmla="*/ 6382 w 10000"/>
                <a:gd name="connsiteY41" fmla="*/ 7982 h 10126"/>
                <a:gd name="connsiteX42" fmla="*/ 6428 w 10000"/>
                <a:gd name="connsiteY42" fmla="*/ 8181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015"/>
                <a:gd name="connsiteX1" fmla="*/ 7446 w 10000"/>
                <a:gd name="connsiteY1" fmla="*/ 8978 h 10015"/>
                <a:gd name="connsiteX2" fmla="*/ 7821 w 10000"/>
                <a:gd name="connsiteY2" fmla="*/ 8978 h 10015"/>
                <a:gd name="connsiteX3" fmla="*/ 8047 w 10000"/>
                <a:gd name="connsiteY3" fmla="*/ 8029 h 10015"/>
                <a:gd name="connsiteX4" fmla="*/ 8648 w 10000"/>
                <a:gd name="connsiteY4" fmla="*/ 7444 h 10015"/>
                <a:gd name="connsiteX5" fmla="*/ 8873 w 10000"/>
                <a:gd name="connsiteY5" fmla="*/ 6351 h 10015"/>
                <a:gd name="connsiteX6" fmla="*/ 8722 w 10000"/>
                <a:gd name="connsiteY6" fmla="*/ 5768 h 10015"/>
                <a:gd name="connsiteX7" fmla="*/ 9098 w 10000"/>
                <a:gd name="connsiteY7" fmla="*/ 4525 h 10015"/>
                <a:gd name="connsiteX8" fmla="*/ 9399 w 10000"/>
                <a:gd name="connsiteY8" fmla="*/ 4160 h 10015"/>
                <a:gd name="connsiteX9" fmla="*/ 10000 w 10000"/>
                <a:gd name="connsiteY9" fmla="*/ 3576 h 10015"/>
                <a:gd name="connsiteX10" fmla="*/ 9774 w 10000"/>
                <a:gd name="connsiteY10" fmla="*/ 3502 h 10015"/>
                <a:gd name="connsiteX11" fmla="*/ 9399 w 10000"/>
                <a:gd name="connsiteY11" fmla="*/ 3140 h 10015"/>
                <a:gd name="connsiteX12" fmla="*/ 9173 w 10000"/>
                <a:gd name="connsiteY12" fmla="*/ 2044 h 10015"/>
                <a:gd name="connsiteX13" fmla="*/ 9173 w 10000"/>
                <a:gd name="connsiteY13" fmla="*/ 1460 h 10015"/>
                <a:gd name="connsiteX14" fmla="*/ 9098 w 10000"/>
                <a:gd name="connsiteY14" fmla="*/ 729 h 10015"/>
                <a:gd name="connsiteX15" fmla="*/ 8873 w 10000"/>
                <a:gd name="connsiteY15" fmla="*/ 511 h 10015"/>
                <a:gd name="connsiteX16" fmla="*/ 8497 w 10000"/>
                <a:gd name="connsiteY16" fmla="*/ 219 h 10015"/>
                <a:gd name="connsiteX17" fmla="*/ 8272 w 10000"/>
                <a:gd name="connsiteY17" fmla="*/ 0 h 10015"/>
                <a:gd name="connsiteX18" fmla="*/ 7821 w 10000"/>
                <a:gd name="connsiteY18" fmla="*/ 293 h 10015"/>
                <a:gd name="connsiteX19" fmla="*/ 7370 w 10000"/>
                <a:gd name="connsiteY19" fmla="*/ 729 h 10015"/>
                <a:gd name="connsiteX20" fmla="*/ 6769 w 10000"/>
                <a:gd name="connsiteY20" fmla="*/ 729 h 10015"/>
                <a:gd name="connsiteX21" fmla="*/ 5717 w 10000"/>
                <a:gd name="connsiteY21" fmla="*/ 729 h 10015"/>
                <a:gd name="connsiteX22" fmla="*/ 5717 w 10000"/>
                <a:gd name="connsiteY22" fmla="*/ 658 h 10015"/>
                <a:gd name="connsiteX23" fmla="*/ 5643 w 10000"/>
                <a:gd name="connsiteY23" fmla="*/ 729 h 10015"/>
                <a:gd name="connsiteX24" fmla="*/ 1961 w 10000"/>
                <a:gd name="connsiteY24" fmla="*/ 729 h 10015"/>
                <a:gd name="connsiteX25" fmla="*/ 1961 w 10000"/>
                <a:gd name="connsiteY25" fmla="*/ 2263 h 10015"/>
                <a:gd name="connsiteX26" fmla="*/ 1285 w 10000"/>
                <a:gd name="connsiteY26" fmla="*/ 2263 h 10015"/>
                <a:gd name="connsiteX27" fmla="*/ 1285 w 10000"/>
                <a:gd name="connsiteY27" fmla="*/ 2556 h 10015"/>
                <a:gd name="connsiteX28" fmla="*/ 1285 w 10000"/>
                <a:gd name="connsiteY28" fmla="*/ 5179 h 10015"/>
                <a:gd name="connsiteX29" fmla="*/ 1135 w 10000"/>
                <a:gd name="connsiteY29" fmla="*/ 5327 h 10015"/>
                <a:gd name="connsiteX30" fmla="*/ 684 w 10000"/>
                <a:gd name="connsiteY30" fmla="*/ 5621 h 10015"/>
                <a:gd name="connsiteX31" fmla="*/ 609 w 10000"/>
                <a:gd name="connsiteY31" fmla="*/ 5986 h 10015"/>
                <a:gd name="connsiteX32" fmla="*/ 384 w 10000"/>
                <a:gd name="connsiteY32" fmla="*/ 6351 h 10015"/>
                <a:gd name="connsiteX33" fmla="*/ 234 w 10000"/>
                <a:gd name="connsiteY33" fmla="*/ 6935 h 10015"/>
                <a:gd name="connsiteX34" fmla="*/ 8 w 10000"/>
                <a:gd name="connsiteY34" fmla="*/ 7593 h 10015"/>
                <a:gd name="connsiteX35" fmla="*/ 384 w 10000"/>
                <a:gd name="connsiteY35" fmla="*/ 7664 h 10015"/>
                <a:gd name="connsiteX36" fmla="*/ 458 w 10000"/>
                <a:gd name="connsiteY36" fmla="*/ 8245 h 10015"/>
                <a:gd name="connsiteX37" fmla="*/ 684 w 10000"/>
                <a:gd name="connsiteY37" fmla="*/ 8831 h 10015"/>
                <a:gd name="connsiteX38" fmla="*/ 1059 w 10000"/>
                <a:gd name="connsiteY38" fmla="*/ 10000 h 10015"/>
                <a:gd name="connsiteX39" fmla="*/ 5807 w 10000"/>
                <a:gd name="connsiteY39" fmla="*/ 8693 h 10015"/>
                <a:gd name="connsiteX40" fmla="*/ 6040 w 10000"/>
                <a:gd name="connsiteY40" fmla="*/ 8368 h 10015"/>
                <a:gd name="connsiteX41" fmla="*/ 6382 w 10000"/>
                <a:gd name="connsiteY41" fmla="*/ 7982 h 10015"/>
                <a:gd name="connsiteX42" fmla="*/ 6428 w 10000"/>
                <a:gd name="connsiteY42" fmla="*/ 8181 h 10015"/>
                <a:gd name="connsiteX43" fmla="*/ 6444 w 10000"/>
                <a:gd name="connsiteY43" fmla="*/ 8428 h 10015"/>
                <a:gd name="connsiteX44" fmla="*/ 6766 w 10000"/>
                <a:gd name="connsiteY44" fmla="*/ 9268 h 10015"/>
                <a:gd name="connsiteX0" fmla="*/ 7446 w 10000"/>
                <a:gd name="connsiteY0" fmla="*/ 9488 h 10015"/>
                <a:gd name="connsiteX1" fmla="*/ 7446 w 10000"/>
                <a:gd name="connsiteY1" fmla="*/ 8978 h 10015"/>
                <a:gd name="connsiteX2" fmla="*/ 7821 w 10000"/>
                <a:gd name="connsiteY2" fmla="*/ 8978 h 10015"/>
                <a:gd name="connsiteX3" fmla="*/ 8047 w 10000"/>
                <a:gd name="connsiteY3" fmla="*/ 8029 h 10015"/>
                <a:gd name="connsiteX4" fmla="*/ 8648 w 10000"/>
                <a:gd name="connsiteY4" fmla="*/ 7444 h 10015"/>
                <a:gd name="connsiteX5" fmla="*/ 8873 w 10000"/>
                <a:gd name="connsiteY5" fmla="*/ 6351 h 10015"/>
                <a:gd name="connsiteX6" fmla="*/ 8722 w 10000"/>
                <a:gd name="connsiteY6" fmla="*/ 5768 h 10015"/>
                <a:gd name="connsiteX7" fmla="*/ 9098 w 10000"/>
                <a:gd name="connsiteY7" fmla="*/ 4525 h 10015"/>
                <a:gd name="connsiteX8" fmla="*/ 9399 w 10000"/>
                <a:gd name="connsiteY8" fmla="*/ 4160 h 10015"/>
                <a:gd name="connsiteX9" fmla="*/ 10000 w 10000"/>
                <a:gd name="connsiteY9" fmla="*/ 3576 h 10015"/>
                <a:gd name="connsiteX10" fmla="*/ 9774 w 10000"/>
                <a:gd name="connsiteY10" fmla="*/ 3502 h 10015"/>
                <a:gd name="connsiteX11" fmla="*/ 9399 w 10000"/>
                <a:gd name="connsiteY11" fmla="*/ 3140 h 10015"/>
                <a:gd name="connsiteX12" fmla="*/ 9173 w 10000"/>
                <a:gd name="connsiteY12" fmla="*/ 2044 h 10015"/>
                <a:gd name="connsiteX13" fmla="*/ 9173 w 10000"/>
                <a:gd name="connsiteY13" fmla="*/ 1460 h 10015"/>
                <a:gd name="connsiteX14" fmla="*/ 9098 w 10000"/>
                <a:gd name="connsiteY14" fmla="*/ 729 h 10015"/>
                <a:gd name="connsiteX15" fmla="*/ 8873 w 10000"/>
                <a:gd name="connsiteY15" fmla="*/ 511 h 10015"/>
                <a:gd name="connsiteX16" fmla="*/ 8497 w 10000"/>
                <a:gd name="connsiteY16" fmla="*/ 219 h 10015"/>
                <a:gd name="connsiteX17" fmla="*/ 8272 w 10000"/>
                <a:gd name="connsiteY17" fmla="*/ 0 h 10015"/>
                <a:gd name="connsiteX18" fmla="*/ 7821 w 10000"/>
                <a:gd name="connsiteY18" fmla="*/ 293 h 10015"/>
                <a:gd name="connsiteX19" fmla="*/ 7370 w 10000"/>
                <a:gd name="connsiteY19" fmla="*/ 729 h 10015"/>
                <a:gd name="connsiteX20" fmla="*/ 6769 w 10000"/>
                <a:gd name="connsiteY20" fmla="*/ 729 h 10015"/>
                <a:gd name="connsiteX21" fmla="*/ 5717 w 10000"/>
                <a:gd name="connsiteY21" fmla="*/ 729 h 10015"/>
                <a:gd name="connsiteX22" fmla="*/ 5717 w 10000"/>
                <a:gd name="connsiteY22" fmla="*/ 658 h 10015"/>
                <a:gd name="connsiteX23" fmla="*/ 5643 w 10000"/>
                <a:gd name="connsiteY23" fmla="*/ 729 h 10015"/>
                <a:gd name="connsiteX24" fmla="*/ 1961 w 10000"/>
                <a:gd name="connsiteY24" fmla="*/ 729 h 10015"/>
                <a:gd name="connsiteX25" fmla="*/ 1961 w 10000"/>
                <a:gd name="connsiteY25" fmla="*/ 2263 h 10015"/>
                <a:gd name="connsiteX26" fmla="*/ 1285 w 10000"/>
                <a:gd name="connsiteY26" fmla="*/ 2263 h 10015"/>
                <a:gd name="connsiteX27" fmla="*/ 1285 w 10000"/>
                <a:gd name="connsiteY27" fmla="*/ 2556 h 10015"/>
                <a:gd name="connsiteX28" fmla="*/ 1285 w 10000"/>
                <a:gd name="connsiteY28" fmla="*/ 5179 h 10015"/>
                <a:gd name="connsiteX29" fmla="*/ 1135 w 10000"/>
                <a:gd name="connsiteY29" fmla="*/ 5327 h 10015"/>
                <a:gd name="connsiteX30" fmla="*/ 684 w 10000"/>
                <a:gd name="connsiteY30" fmla="*/ 5621 h 10015"/>
                <a:gd name="connsiteX31" fmla="*/ 609 w 10000"/>
                <a:gd name="connsiteY31" fmla="*/ 5986 h 10015"/>
                <a:gd name="connsiteX32" fmla="*/ 384 w 10000"/>
                <a:gd name="connsiteY32" fmla="*/ 6351 h 10015"/>
                <a:gd name="connsiteX33" fmla="*/ 234 w 10000"/>
                <a:gd name="connsiteY33" fmla="*/ 6935 h 10015"/>
                <a:gd name="connsiteX34" fmla="*/ 8 w 10000"/>
                <a:gd name="connsiteY34" fmla="*/ 7593 h 10015"/>
                <a:gd name="connsiteX35" fmla="*/ 384 w 10000"/>
                <a:gd name="connsiteY35" fmla="*/ 7664 h 10015"/>
                <a:gd name="connsiteX36" fmla="*/ 458 w 10000"/>
                <a:gd name="connsiteY36" fmla="*/ 8245 h 10015"/>
                <a:gd name="connsiteX37" fmla="*/ 684 w 10000"/>
                <a:gd name="connsiteY37" fmla="*/ 8831 h 10015"/>
                <a:gd name="connsiteX38" fmla="*/ 1059 w 10000"/>
                <a:gd name="connsiteY38" fmla="*/ 10000 h 10015"/>
                <a:gd name="connsiteX39" fmla="*/ 5807 w 10000"/>
                <a:gd name="connsiteY39" fmla="*/ 8693 h 10015"/>
                <a:gd name="connsiteX40" fmla="*/ 6040 w 10000"/>
                <a:gd name="connsiteY40" fmla="*/ 8368 h 10015"/>
                <a:gd name="connsiteX41" fmla="*/ 6382 w 10000"/>
                <a:gd name="connsiteY41" fmla="*/ 7982 h 10015"/>
                <a:gd name="connsiteX42" fmla="*/ 6428 w 10000"/>
                <a:gd name="connsiteY42" fmla="*/ 8181 h 10015"/>
                <a:gd name="connsiteX43" fmla="*/ 6444 w 10000"/>
                <a:gd name="connsiteY43" fmla="*/ 8428 h 10015"/>
                <a:gd name="connsiteX44" fmla="*/ 6766 w 10000"/>
                <a:gd name="connsiteY44" fmla="*/ 9268 h 10015"/>
                <a:gd name="connsiteX0" fmla="*/ 7446 w 10000"/>
                <a:gd name="connsiteY0" fmla="*/ 9488 h 10018"/>
                <a:gd name="connsiteX1" fmla="*/ 7446 w 10000"/>
                <a:gd name="connsiteY1" fmla="*/ 8978 h 10018"/>
                <a:gd name="connsiteX2" fmla="*/ 7821 w 10000"/>
                <a:gd name="connsiteY2" fmla="*/ 8978 h 10018"/>
                <a:gd name="connsiteX3" fmla="*/ 8047 w 10000"/>
                <a:gd name="connsiteY3" fmla="*/ 8029 h 10018"/>
                <a:gd name="connsiteX4" fmla="*/ 8648 w 10000"/>
                <a:gd name="connsiteY4" fmla="*/ 7444 h 10018"/>
                <a:gd name="connsiteX5" fmla="*/ 8873 w 10000"/>
                <a:gd name="connsiteY5" fmla="*/ 6351 h 10018"/>
                <a:gd name="connsiteX6" fmla="*/ 8722 w 10000"/>
                <a:gd name="connsiteY6" fmla="*/ 5768 h 10018"/>
                <a:gd name="connsiteX7" fmla="*/ 9098 w 10000"/>
                <a:gd name="connsiteY7" fmla="*/ 4525 h 10018"/>
                <a:gd name="connsiteX8" fmla="*/ 9399 w 10000"/>
                <a:gd name="connsiteY8" fmla="*/ 4160 h 10018"/>
                <a:gd name="connsiteX9" fmla="*/ 10000 w 10000"/>
                <a:gd name="connsiteY9" fmla="*/ 3576 h 10018"/>
                <a:gd name="connsiteX10" fmla="*/ 9774 w 10000"/>
                <a:gd name="connsiteY10" fmla="*/ 3502 h 10018"/>
                <a:gd name="connsiteX11" fmla="*/ 9399 w 10000"/>
                <a:gd name="connsiteY11" fmla="*/ 3140 h 10018"/>
                <a:gd name="connsiteX12" fmla="*/ 9173 w 10000"/>
                <a:gd name="connsiteY12" fmla="*/ 2044 h 10018"/>
                <a:gd name="connsiteX13" fmla="*/ 9173 w 10000"/>
                <a:gd name="connsiteY13" fmla="*/ 1460 h 10018"/>
                <a:gd name="connsiteX14" fmla="*/ 9098 w 10000"/>
                <a:gd name="connsiteY14" fmla="*/ 729 h 10018"/>
                <a:gd name="connsiteX15" fmla="*/ 8873 w 10000"/>
                <a:gd name="connsiteY15" fmla="*/ 511 h 10018"/>
                <a:gd name="connsiteX16" fmla="*/ 8497 w 10000"/>
                <a:gd name="connsiteY16" fmla="*/ 219 h 10018"/>
                <a:gd name="connsiteX17" fmla="*/ 8272 w 10000"/>
                <a:gd name="connsiteY17" fmla="*/ 0 h 10018"/>
                <a:gd name="connsiteX18" fmla="*/ 7821 w 10000"/>
                <a:gd name="connsiteY18" fmla="*/ 293 h 10018"/>
                <a:gd name="connsiteX19" fmla="*/ 7370 w 10000"/>
                <a:gd name="connsiteY19" fmla="*/ 729 h 10018"/>
                <a:gd name="connsiteX20" fmla="*/ 6769 w 10000"/>
                <a:gd name="connsiteY20" fmla="*/ 729 h 10018"/>
                <a:gd name="connsiteX21" fmla="*/ 5717 w 10000"/>
                <a:gd name="connsiteY21" fmla="*/ 729 h 10018"/>
                <a:gd name="connsiteX22" fmla="*/ 5717 w 10000"/>
                <a:gd name="connsiteY22" fmla="*/ 658 h 10018"/>
                <a:gd name="connsiteX23" fmla="*/ 5643 w 10000"/>
                <a:gd name="connsiteY23" fmla="*/ 729 h 10018"/>
                <a:gd name="connsiteX24" fmla="*/ 1961 w 10000"/>
                <a:gd name="connsiteY24" fmla="*/ 729 h 10018"/>
                <a:gd name="connsiteX25" fmla="*/ 1961 w 10000"/>
                <a:gd name="connsiteY25" fmla="*/ 2263 h 10018"/>
                <a:gd name="connsiteX26" fmla="*/ 1285 w 10000"/>
                <a:gd name="connsiteY26" fmla="*/ 2263 h 10018"/>
                <a:gd name="connsiteX27" fmla="*/ 1285 w 10000"/>
                <a:gd name="connsiteY27" fmla="*/ 2556 h 10018"/>
                <a:gd name="connsiteX28" fmla="*/ 1285 w 10000"/>
                <a:gd name="connsiteY28" fmla="*/ 5179 h 10018"/>
                <a:gd name="connsiteX29" fmla="*/ 1135 w 10000"/>
                <a:gd name="connsiteY29" fmla="*/ 5327 h 10018"/>
                <a:gd name="connsiteX30" fmla="*/ 684 w 10000"/>
                <a:gd name="connsiteY30" fmla="*/ 5621 h 10018"/>
                <a:gd name="connsiteX31" fmla="*/ 609 w 10000"/>
                <a:gd name="connsiteY31" fmla="*/ 5986 h 10018"/>
                <a:gd name="connsiteX32" fmla="*/ 384 w 10000"/>
                <a:gd name="connsiteY32" fmla="*/ 6351 h 10018"/>
                <a:gd name="connsiteX33" fmla="*/ 234 w 10000"/>
                <a:gd name="connsiteY33" fmla="*/ 6935 h 10018"/>
                <a:gd name="connsiteX34" fmla="*/ 8 w 10000"/>
                <a:gd name="connsiteY34" fmla="*/ 7593 h 10018"/>
                <a:gd name="connsiteX35" fmla="*/ 384 w 10000"/>
                <a:gd name="connsiteY35" fmla="*/ 7664 h 10018"/>
                <a:gd name="connsiteX36" fmla="*/ 458 w 10000"/>
                <a:gd name="connsiteY36" fmla="*/ 8245 h 10018"/>
                <a:gd name="connsiteX37" fmla="*/ 684 w 10000"/>
                <a:gd name="connsiteY37" fmla="*/ 8831 h 10018"/>
                <a:gd name="connsiteX38" fmla="*/ 1059 w 10000"/>
                <a:gd name="connsiteY38" fmla="*/ 10000 h 10018"/>
                <a:gd name="connsiteX39" fmla="*/ 5807 w 10000"/>
                <a:gd name="connsiteY39" fmla="*/ 8693 h 10018"/>
                <a:gd name="connsiteX40" fmla="*/ 6040 w 10000"/>
                <a:gd name="connsiteY40" fmla="*/ 8368 h 10018"/>
                <a:gd name="connsiteX41" fmla="*/ 6382 w 10000"/>
                <a:gd name="connsiteY41" fmla="*/ 7982 h 10018"/>
                <a:gd name="connsiteX42" fmla="*/ 6428 w 10000"/>
                <a:gd name="connsiteY42" fmla="*/ 8181 h 10018"/>
                <a:gd name="connsiteX43" fmla="*/ 6444 w 10000"/>
                <a:gd name="connsiteY43" fmla="*/ 8428 h 10018"/>
                <a:gd name="connsiteX44" fmla="*/ 6766 w 10000"/>
                <a:gd name="connsiteY44" fmla="*/ 9268 h 10018"/>
                <a:gd name="connsiteX0" fmla="*/ 7446 w 10000"/>
                <a:gd name="connsiteY0" fmla="*/ 9488 h 10018"/>
                <a:gd name="connsiteX1" fmla="*/ 7446 w 10000"/>
                <a:gd name="connsiteY1" fmla="*/ 8978 h 10018"/>
                <a:gd name="connsiteX2" fmla="*/ 7821 w 10000"/>
                <a:gd name="connsiteY2" fmla="*/ 8978 h 10018"/>
                <a:gd name="connsiteX3" fmla="*/ 8047 w 10000"/>
                <a:gd name="connsiteY3" fmla="*/ 8029 h 10018"/>
                <a:gd name="connsiteX4" fmla="*/ 8648 w 10000"/>
                <a:gd name="connsiteY4" fmla="*/ 7444 h 10018"/>
                <a:gd name="connsiteX5" fmla="*/ 8873 w 10000"/>
                <a:gd name="connsiteY5" fmla="*/ 6351 h 10018"/>
                <a:gd name="connsiteX6" fmla="*/ 8722 w 10000"/>
                <a:gd name="connsiteY6" fmla="*/ 5768 h 10018"/>
                <a:gd name="connsiteX7" fmla="*/ 9098 w 10000"/>
                <a:gd name="connsiteY7" fmla="*/ 4525 h 10018"/>
                <a:gd name="connsiteX8" fmla="*/ 9399 w 10000"/>
                <a:gd name="connsiteY8" fmla="*/ 4160 h 10018"/>
                <a:gd name="connsiteX9" fmla="*/ 10000 w 10000"/>
                <a:gd name="connsiteY9" fmla="*/ 3576 h 10018"/>
                <a:gd name="connsiteX10" fmla="*/ 9774 w 10000"/>
                <a:gd name="connsiteY10" fmla="*/ 3502 h 10018"/>
                <a:gd name="connsiteX11" fmla="*/ 9399 w 10000"/>
                <a:gd name="connsiteY11" fmla="*/ 3140 h 10018"/>
                <a:gd name="connsiteX12" fmla="*/ 9173 w 10000"/>
                <a:gd name="connsiteY12" fmla="*/ 2044 h 10018"/>
                <a:gd name="connsiteX13" fmla="*/ 9173 w 10000"/>
                <a:gd name="connsiteY13" fmla="*/ 1460 h 10018"/>
                <a:gd name="connsiteX14" fmla="*/ 9098 w 10000"/>
                <a:gd name="connsiteY14" fmla="*/ 729 h 10018"/>
                <a:gd name="connsiteX15" fmla="*/ 8873 w 10000"/>
                <a:gd name="connsiteY15" fmla="*/ 511 h 10018"/>
                <a:gd name="connsiteX16" fmla="*/ 8497 w 10000"/>
                <a:gd name="connsiteY16" fmla="*/ 219 h 10018"/>
                <a:gd name="connsiteX17" fmla="*/ 8272 w 10000"/>
                <a:gd name="connsiteY17" fmla="*/ 0 h 10018"/>
                <a:gd name="connsiteX18" fmla="*/ 7821 w 10000"/>
                <a:gd name="connsiteY18" fmla="*/ 293 h 10018"/>
                <a:gd name="connsiteX19" fmla="*/ 7370 w 10000"/>
                <a:gd name="connsiteY19" fmla="*/ 729 h 10018"/>
                <a:gd name="connsiteX20" fmla="*/ 6769 w 10000"/>
                <a:gd name="connsiteY20" fmla="*/ 729 h 10018"/>
                <a:gd name="connsiteX21" fmla="*/ 5717 w 10000"/>
                <a:gd name="connsiteY21" fmla="*/ 729 h 10018"/>
                <a:gd name="connsiteX22" fmla="*/ 5717 w 10000"/>
                <a:gd name="connsiteY22" fmla="*/ 658 h 10018"/>
                <a:gd name="connsiteX23" fmla="*/ 5643 w 10000"/>
                <a:gd name="connsiteY23" fmla="*/ 729 h 10018"/>
                <a:gd name="connsiteX24" fmla="*/ 1961 w 10000"/>
                <a:gd name="connsiteY24" fmla="*/ 729 h 10018"/>
                <a:gd name="connsiteX25" fmla="*/ 1961 w 10000"/>
                <a:gd name="connsiteY25" fmla="*/ 2263 h 10018"/>
                <a:gd name="connsiteX26" fmla="*/ 1285 w 10000"/>
                <a:gd name="connsiteY26" fmla="*/ 2263 h 10018"/>
                <a:gd name="connsiteX27" fmla="*/ 1285 w 10000"/>
                <a:gd name="connsiteY27" fmla="*/ 2556 h 10018"/>
                <a:gd name="connsiteX28" fmla="*/ 1285 w 10000"/>
                <a:gd name="connsiteY28" fmla="*/ 5179 h 10018"/>
                <a:gd name="connsiteX29" fmla="*/ 1135 w 10000"/>
                <a:gd name="connsiteY29" fmla="*/ 5327 h 10018"/>
                <a:gd name="connsiteX30" fmla="*/ 684 w 10000"/>
                <a:gd name="connsiteY30" fmla="*/ 5621 h 10018"/>
                <a:gd name="connsiteX31" fmla="*/ 609 w 10000"/>
                <a:gd name="connsiteY31" fmla="*/ 5986 h 10018"/>
                <a:gd name="connsiteX32" fmla="*/ 384 w 10000"/>
                <a:gd name="connsiteY32" fmla="*/ 6351 h 10018"/>
                <a:gd name="connsiteX33" fmla="*/ 234 w 10000"/>
                <a:gd name="connsiteY33" fmla="*/ 6935 h 10018"/>
                <a:gd name="connsiteX34" fmla="*/ 8 w 10000"/>
                <a:gd name="connsiteY34" fmla="*/ 7593 h 10018"/>
                <a:gd name="connsiteX35" fmla="*/ 384 w 10000"/>
                <a:gd name="connsiteY35" fmla="*/ 7664 h 10018"/>
                <a:gd name="connsiteX36" fmla="*/ 458 w 10000"/>
                <a:gd name="connsiteY36" fmla="*/ 8245 h 10018"/>
                <a:gd name="connsiteX37" fmla="*/ 684 w 10000"/>
                <a:gd name="connsiteY37" fmla="*/ 8831 h 10018"/>
                <a:gd name="connsiteX38" fmla="*/ 1059 w 10000"/>
                <a:gd name="connsiteY38" fmla="*/ 10000 h 10018"/>
                <a:gd name="connsiteX39" fmla="*/ 5865 w 10000"/>
                <a:gd name="connsiteY39" fmla="*/ 8712 h 10018"/>
                <a:gd name="connsiteX40" fmla="*/ 6040 w 10000"/>
                <a:gd name="connsiteY40" fmla="*/ 8368 h 10018"/>
                <a:gd name="connsiteX41" fmla="*/ 6382 w 10000"/>
                <a:gd name="connsiteY41" fmla="*/ 7982 h 10018"/>
                <a:gd name="connsiteX42" fmla="*/ 6428 w 10000"/>
                <a:gd name="connsiteY42" fmla="*/ 8181 h 10018"/>
                <a:gd name="connsiteX43" fmla="*/ 6444 w 10000"/>
                <a:gd name="connsiteY43" fmla="*/ 8428 h 10018"/>
                <a:gd name="connsiteX44" fmla="*/ 6766 w 10000"/>
                <a:gd name="connsiteY44" fmla="*/ 9268 h 10018"/>
                <a:gd name="connsiteX0" fmla="*/ 7446 w 10000"/>
                <a:gd name="connsiteY0" fmla="*/ 9488 h 10160"/>
                <a:gd name="connsiteX1" fmla="*/ 7446 w 10000"/>
                <a:gd name="connsiteY1" fmla="*/ 8978 h 10160"/>
                <a:gd name="connsiteX2" fmla="*/ 7821 w 10000"/>
                <a:gd name="connsiteY2" fmla="*/ 8978 h 10160"/>
                <a:gd name="connsiteX3" fmla="*/ 8047 w 10000"/>
                <a:gd name="connsiteY3" fmla="*/ 8029 h 10160"/>
                <a:gd name="connsiteX4" fmla="*/ 8648 w 10000"/>
                <a:gd name="connsiteY4" fmla="*/ 7444 h 10160"/>
                <a:gd name="connsiteX5" fmla="*/ 8873 w 10000"/>
                <a:gd name="connsiteY5" fmla="*/ 6351 h 10160"/>
                <a:gd name="connsiteX6" fmla="*/ 8722 w 10000"/>
                <a:gd name="connsiteY6" fmla="*/ 5768 h 10160"/>
                <a:gd name="connsiteX7" fmla="*/ 9098 w 10000"/>
                <a:gd name="connsiteY7" fmla="*/ 4525 h 10160"/>
                <a:gd name="connsiteX8" fmla="*/ 9399 w 10000"/>
                <a:gd name="connsiteY8" fmla="*/ 4160 h 10160"/>
                <a:gd name="connsiteX9" fmla="*/ 10000 w 10000"/>
                <a:gd name="connsiteY9" fmla="*/ 3576 h 10160"/>
                <a:gd name="connsiteX10" fmla="*/ 9774 w 10000"/>
                <a:gd name="connsiteY10" fmla="*/ 3502 h 10160"/>
                <a:gd name="connsiteX11" fmla="*/ 9399 w 10000"/>
                <a:gd name="connsiteY11" fmla="*/ 3140 h 10160"/>
                <a:gd name="connsiteX12" fmla="*/ 9173 w 10000"/>
                <a:gd name="connsiteY12" fmla="*/ 2044 h 10160"/>
                <a:gd name="connsiteX13" fmla="*/ 9173 w 10000"/>
                <a:gd name="connsiteY13" fmla="*/ 1460 h 10160"/>
                <a:gd name="connsiteX14" fmla="*/ 9098 w 10000"/>
                <a:gd name="connsiteY14" fmla="*/ 729 h 10160"/>
                <a:gd name="connsiteX15" fmla="*/ 8873 w 10000"/>
                <a:gd name="connsiteY15" fmla="*/ 511 h 10160"/>
                <a:gd name="connsiteX16" fmla="*/ 8497 w 10000"/>
                <a:gd name="connsiteY16" fmla="*/ 219 h 10160"/>
                <a:gd name="connsiteX17" fmla="*/ 8272 w 10000"/>
                <a:gd name="connsiteY17" fmla="*/ 0 h 10160"/>
                <a:gd name="connsiteX18" fmla="*/ 7821 w 10000"/>
                <a:gd name="connsiteY18" fmla="*/ 293 h 10160"/>
                <a:gd name="connsiteX19" fmla="*/ 7370 w 10000"/>
                <a:gd name="connsiteY19" fmla="*/ 729 h 10160"/>
                <a:gd name="connsiteX20" fmla="*/ 6769 w 10000"/>
                <a:gd name="connsiteY20" fmla="*/ 729 h 10160"/>
                <a:gd name="connsiteX21" fmla="*/ 5717 w 10000"/>
                <a:gd name="connsiteY21" fmla="*/ 729 h 10160"/>
                <a:gd name="connsiteX22" fmla="*/ 5717 w 10000"/>
                <a:gd name="connsiteY22" fmla="*/ 658 h 10160"/>
                <a:gd name="connsiteX23" fmla="*/ 5643 w 10000"/>
                <a:gd name="connsiteY23" fmla="*/ 729 h 10160"/>
                <a:gd name="connsiteX24" fmla="*/ 1961 w 10000"/>
                <a:gd name="connsiteY24" fmla="*/ 729 h 10160"/>
                <a:gd name="connsiteX25" fmla="*/ 1961 w 10000"/>
                <a:gd name="connsiteY25" fmla="*/ 2263 h 10160"/>
                <a:gd name="connsiteX26" fmla="*/ 1285 w 10000"/>
                <a:gd name="connsiteY26" fmla="*/ 2263 h 10160"/>
                <a:gd name="connsiteX27" fmla="*/ 1285 w 10000"/>
                <a:gd name="connsiteY27" fmla="*/ 2556 h 10160"/>
                <a:gd name="connsiteX28" fmla="*/ 1285 w 10000"/>
                <a:gd name="connsiteY28" fmla="*/ 5179 h 10160"/>
                <a:gd name="connsiteX29" fmla="*/ 1135 w 10000"/>
                <a:gd name="connsiteY29" fmla="*/ 5327 h 10160"/>
                <a:gd name="connsiteX30" fmla="*/ 684 w 10000"/>
                <a:gd name="connsiteY30" fmla="*/ 5621 h 10160"/>
                <a:gd name="connsiteX31" fmla="*/ 609 w 10000"/>
                <a:gd name="connsiteY31" fmla="*/ 5986 h 10160"/>
                <a:gd name="connsiteX32" fmla="*/ 384 w 10000"/>
                <a:gd name="connsiteY32" fmla="*/ 6351 h 10160"/>
                <a:gd name="connsiteX33" fmla="*/ 234 w 10000"/>
                <a:gd name="connsiteY33" fmla="*/ 6935 h 10160"/>
                <a:gd name="connsiteX34" fmla="*/ 8 w 10000"/>
                <a:gd name="connsiteY34" fmla="*/ 7593 h 10160"/>
                <a:gd name="connsiteX35" fmla="*/ 384 w 10000"/>
                <a:gd name="connsiteY35" fmla="*/ 7664 h 10160"/>
                <a:gd name="connsiteX36" fmla="*/ 458 w 10000"/>
                <a:gd name="connsiteY36" fmla="*/ 8245 h 10160"/>
                <a:gd name="connsiteX37" fmla="*/ 684 w 10000"/>
                <a:gd name="connsiteY37" fmla="*/ 8831 h 10160"/>
                <a:gd name="connsiteX38" fmla="*/ 1059 w 10000"/>
                <a:gd name="connsiteY38" fmla="*/ 10000 h 10160"/>
                <a:gd name="connsiteX39" fmla="*/ 1058 w 10000"/>
                <a:gd name="connsiteY39" fmla="*/ 10012 h 10160"/>
                <a:gd name="connsiteX40" fmla="*/ 5865 w 10000"/>
                <a:gd name="connsiteY40" fmla="*/ 8712 h 10160"/>
                <a:gd name="connsiteX41" fmla="*/ 6040 w 10000"/>
                <a:gd name="connsiteY41" fmla="*/ 8368 h 10160"/>
                <a:gd name="connsiteX42" fmla="*/ 6382 w 10000"/>
                <a:gd name="connsiteY42" fmla="*/ 7982 h 10160"/>
                <a:gd name="connsiteX43" fmla="*/ 6428 w 10000"/>
                <a:gd name="connsiteY43" fmla="*/ 8181 h 10160"/>
                <a:gd name="connsiteX44" fmla="*/ 6444 w 10000"/>
                <a:gd name="connsiteY44" fmla="*/ 8428 h 10160"/>
                <a:gd name="connsiteX45" fmla="*/ 6766 w 10000"/>
                <a:gd name="connsiteY45" fmla="*/ 9268 h 10160"/>
                <a:gd name="connsiteX0" fmla="*/ 7446 w 10000"/>
                <a:gd name="connsiteY0" fmla="*/ 9488 h 10258"/>
                <a:gd name="connsiteX1" fmla="*/ 7446 w 10000"/>
                <a:gd name="connsiteY1" fmla="*/ 8978 h 10258"/>
                <a:gd name="connsiteX2" fmla="*/ 7821 w 10000"/>
                <a:gd name="connsiteY2" fmla="*/ 8978 h 10258"/>
                <a:gd name="connsiteX3" fmla="*/ 8047 w 10000"/>
                <a:gd name="connsiteY3" fmla="*/ 8029 h 10258"/>
                <a:gd name="connsiteX4" fmla="*/ 8648 w 10000"/>
                <a:gd name="connsiteY4" fmla="*/ 7444 h 10258"/>
                <a:gd name="connsiteX5" fmla="*/ 8873 w 10000"/>
                <a:gd name="connsiteY5" fmla="*/ 6351 h 10258"/>
                <a:gd name="connsiteX6" fmla="*/ 8722 w 10000"/>
                <a:gd name="connsiteY6" fmla="*/ 5768 h 10258"/>
                <a:gd name="connsiteX7" fmla="*/ 9098 w 10000"/>
                <a:gd name="connsiteY7" fmla="*/ 4525 h 10258"/>
                <a:gd name="connsiteX8" fmla="*/ 9399 w 10000"/>
                <a:gd name="connsiteY8" fmla="*/ 4160 h 10258"/>
                <a:gd name="connsiteX9" fmla="*/ 10000 w 10000"/>
                <a:gd name="connsiteY9" fmla="*/ 3576 h 10258"/>
                <a:gd name="connsiteX10" fmla="*/ 9774 w 10000"/>
                <a:gd name="connsiteY10" fmla="*/ 3502 h 10258"/>
                <a:gd name="connsiteX11" fmla="*/ 9399 w 10000"/>
                <a:gd name="connsiteY11" fmla="*/ 3140 h 10258"/>
                <a:gd name="connsiteX12" fmla="*/ 9173 w 10000"/>
                <a:gd name="connsiteY12" fmla="*/ 2044 h 10258"/>
                <a:gd name="connsiteX13" fmla="*/ 9173 w 10000"/>
                <a:gd name="connsiteY13" fmla="*/ 1460 h 10258"/>
                <a:gd name="connsiteX14" fmla="*/ 9098 w 10000"/>
                <a:gd name="connsiteY14" fmla="*/ 729 h 10258"/>
                <a:gd name="connsiteX15" fmla="*/ 8873 w 10000"/>
                <a:gd name="connsiteY15" fmla="*/ 511 h 10258"/>
                <a:gd name="connsiteX16" fmla="*/ 8497 w 10000"/>
                <a:gd name="connsiteY16" fmla="*/ 219 h 10258"/>
                <a:gd name="connsiteX17" fmla="*/ 8272 w 10000"/>
                <a:gd name="connsiteY17" fmla="*/ 0 h 10258"/>
                <a:gd name="connsiteX18" fmla="*/ 7821 w 10000"/>
                <a:gd name="connsiteY18" fmla="*/ 293 h 10258"/>
                <a:gd name="connsiteX19" fmla="*/ 7370 w 10000"/>
                <a:gd name="connsiteY19" fmla="*/ 729 h 10258"/>
                <a:gd name="connsiteX20" fmla="*/ 6769 w 10000"/>
                <a:gd name="connsiteY20" fmla="*/ 729 h 10258"/>
                <a:gd name="connsiteX21" fmla="*/ 5717 w 10000"/>
                <a:gd name="connsiteY21" fmla="*/ 729 h 10258"/>
                <a:gd name="connsiteX22" fmla="*/ 5717 w 10000"/>
                <a:gd name="connsiteY22" fmla="*/ 658 h 10258"/>
                <a:gd name="connsiteX23" fmla="*/ 5643 w 10000"/>
                <a:gd name="connsiteY23" fmla="*/ 729 h 10258"/>
                <a:gd name="connsiteX24" fmla="*/ 1961 w 10000"/>
                <a:gd name="connsiteY24" fmla="*/ 729 h 10258"/>
                <a:gd name="connsiteX25" fmla="*/ 1961 w 10000"/>
                <a:gd name="connsiteY25" fmla="*/ 2263 h 10258"/>
                <a:gd name="connsiteX26" fmla="*/ 1285 w 10000"/>
                <a:gd name="connsiteY26" fmla="*/ 2263 h 10258"/>
                <a:gd name="connsiteX27" fmla="*/ 1285 w 10000"/>
                <a:gd name="connsiteY27" fmla="*/ 2556 h 10258"/>
                <a:gd name="connsiteX28" fmla="*/ 1285 w 10000"/>
                <a:gd name="connsiteY28" fmla="*/ 5179 h 10258"/>
                <a:gd name="connsiteX29" fmla="*/ 1135 w 10000"/>
                <a:gd name="connsiteY29" fmla="*/ 5327 h 10258"/>
                <a:gd name="connsiteX30" fmla="*/ 684 w 10000"/>
                <a:gd name="connsiteY30" fmla="*/ 5621 h 10258"/>
                <a:gd name="connsiteX31" fmla="*/ 609 w 10000"/>
                <a:gd name="connsiteY31" fmla="*/ 5986 h 10258"/>
                <a:gd name="connsiteX32" fmla="*/ 384 w 10000"/>
                <a:gd name="connsiteY32" fmla="*/ 6351 h 10258"/>
                <a:gd name="connsiteX33" fmla="*/ 234 w 10000"/>
                <a:gd name="connsiteY33" fmla="*/ 6935 h 10258"/>
                <a:gd name="connsiteX34" fmla="*/ 8 w 10000"/>
                <a:gd name="connsiteY34" fmla="*/ 7593 h 10258"/>
                <a:gd name="connsiteX35" fmla="*/ 384 w 10000"/>
                <a:gd name="connsiteY35" fmla="*/ 7664 h 10258"/>
                <a:gd name="connsiteX36" fmla="*/ 458 w 10000"/>
                <a:gd name="connsiteY36" fmla="*/ 8245 h 10258"/>
                <a:gd name="connsiteX37" fmla="*/ 684 w 10000"/>
                <a:gd name="connsiteY37" fmla="*/ 8831 h 10258"/>
                <a:gd name="connsiteX38" fmla="*/ 1059 w 10000"/>
                <a:gd name="connsiteY38" fmla="*/ 10000 h 10258"/>
                <a:gd name="connsiteX39" fmla="*/ 1903 w 10000"/>
                <a:gd name="connsiteY39" fmla="*/ 10161 h 10258"/>
                <a:gd name="connsiteX40" fmla="*/ 5865 w 10000"/>
                <a:gd name="connsiteY40" fmla="*/ 8712 h 10258"/>
                <a:gd name="connsiteX41" fmla="*/ 6040 w 10000"/>
                <a:gd name="connsiteY41" fmla="*/ 8368 h 10258"/>
                <a:gd name="connsiteX42" fmla="*/ 6382 w 10000"/>
                <a:gd name="connsiteY42" fmla="*/ 7982 h 10258"/>
                <a:gd name="connsiteX43" fmla="*/ 6428 w 10000"/>
                <a:gd name="connsiteY43" fmla="*/ 8181 h 10258"/>
                <a:gd name="connsiteX44" fmla="*/ 6444 w 10000"/>
                <a:gd name="connsiteY44" fmla="*/ 8428 h 10258"/>
                <a:gd name="connsiteX45" fmla="*/ 6766 w 10000"/>
                <a:gd name="connsiteY45" fmla="*/ 9268 h 10258"/>
                <a:gd name="connsiteX0" fmla="*/ 7446 w 10000"/>
                <a:gd name="connsiteY0" fmla="*/ 9488 h 10056"/>
                <a:gd name="connsiteX1" fmla="*/ 7446 w 10000"/>
                <a:gd name="connsiteY1" fmla="*/ 8978 h 10056"/>
                <a:gd name="connsiteX2" fmla="*/ 7821 w 10000"/>
                <a:gd name="connsiteY2" fmla="*/ 8978 h 10056"/>
                <a:gd name="connsiteX3" fmla="*/ 8047 w 10000"/>
                <a:gd name="connsiteY3" fmla="*/ 8029 h 10056"/>
                <a:gd name="connsiteX4" fmla="*/ 8648 w 10000"/>
                <a:gd name="connsiteY4" fmla="*/ 7444 h 10056"/>
                <a:gd name="connsiteX5" fmla="*/ 8873 w 10000"/>
                <a:gd name="connsiteY5" fmla="*/ 6351 h 10056"/>
                <a:gd name="connsiteX6" fmla="*/ 8722 w 10000"/>
                <a:gd name="connsiteY6" fmla="*/ 5768 h 10056"/>
                <a:gd name="connsiteX7" fmla="*/ 9098 w 10000"/>
                <a:gd name="connsiteY7" fmla="*/ 4525 h 10056"/>
                <a:gd name="connsiteX8" fmla="*/ 9399 w 10000"/>
                <a:gd name="connsiteY8" fmla="*/ 4160 h 10056"/>
                <a:gd name="connsiteX9" fmla="*/ 10000 w 10000"/>
                <a:gd name="connsiteY9" fmla="*/ 3576 h 10056"/>
                <a:gd name="connsiteX10" fmla="*/ 9774 w 10000"/>
                <a:gd name="connsiteY10" fmla="*/ 3502 h 10056"/>
                <a:gd name="connsiteX11" fmla="*/ 9399 w 10000"/>
                <a:gd name="connsiteY11" fmla="*/ 3140 h 10056"/>
                <a:gd name="connsiteX12" fmla="*/ 9173 w 10000"/>
                <a:gd name="connsiteY12" fmla="*/ 2044 h 10056"/>
                <a:gd name="connsiteX13" fmla="*/ 9173 w 10000"/>
                <a:gd name="connsiteY13" fmla="*/ 1460 h 10056"/>
                <a:gd name="connsiteX14" fmla="*/ 9098 w 10000"/>
                <a:gd name="connsiteY14" fmla="*/ 729 h 10056"/>
                <a:gd name="connsiteX15" fmla="*/ 8873 w 10000"/>
                <a:gd name="connsiteY15" fmla="*/ 511 h 10056"/>
                <a:gd name="connsiteX16" fmla="*/ 8497 w 10000"/>
                <a:gd name="connsiteY16" fmla="*/ 219 h 10056"/>
                <a:gd name="connsiteX17" fmla="*/ 8272 w 10000"/>
                <a:gd name="connsiteY17" fmla="*/ 0 h 10056"/>
                <a:gd name="connsiteX18" fmla="*/ 7821 w 10000"/>
                <a:gd name="connsiteY18" fmla="*/ 293 h 10056"/>
                <a:gd name="connsiteX19" fmla="*/ 7370 w 10000"/>
                <a:gd name="connsiteY19" fmla="*/ 729 h 10056"/>
                <a:gd name="connsiteX20" fmla="*/ 6769 w 10000"/>
                <a:gd name="connsiteY20" fmla="*/ 729 h 10056"/>
                <a:gd name="connsiteX21" fmla="*/ 5717 w 10000"/>
                <a:gd name="connsiteY21" fmla="*/ 729 h 10056"/>
                <a:gd name="connsiteX22" fmla="*/ 5717 w 10000"/>
                <a:gd name="connsiteY22" fmla="*/ 658 h 10056"/>
                <a:gd name="connsiteX23" fmla="*/ 5643 w 10000"/>
                <a:gd name="connsiteY23" fmla="*/ 729 h 10056"/>
                <a:gd name="connsiteX24" fmla="*/ 1961 w 10000"/>
                <a:gd name="connsiteY24" fmla="*/ 729 h 10056"/>
                <a:gd name="connsiteX25" fmla="*/ 1961 w 10000"/>
                <a:gd name="connsiteY25" fmla="*/ 2263 h 10056"/>
                <a:gd name="connsiteX26" fmla="*/ 1285 w 10000"/>
                <a:gd name="connsiteY26" fmla="*/ 2263 h 10056"/>
                <a:gd name="connsiteX27" fmla="*/ 1285 w 10000"/>
                <a:gd name="connsiteY27" fmla="*/ 2556 h 10056"/>
                <a:gd name="connsiteX28" fmla="*/ 1285 w 10000"/>
                <a:gd name="connsiteY28" fmla="*/ 5179 h 10056"/>
                <a:gd name="connsiteX29" fmla="*/ 1135 w 10000"/>
                <a:gd name="connsiteY29" fmla="*/ 5327 h 10056"/>
                <a:gd name="connsiteX30" fmla="*/ 684 w 10000"/>
                <a:gd name="connsiteY30" fmla="*/ 5621 h 10056"/>
                <a:gd name="connsiteX31" fmla="*/ 609 w 10000"/>
                <a:gd name="connsiteY31" fmla="*/ 5986 h 10056"/>
                <a:gd name="connsiteX32" fmla="*/ 384 w 10000"/>
                <a:gd name="connsiteY32" fmla="*/ 6351 h 10056"/>
                <a:gd name="connsiteX33" fmla="*/ 234 w 10000"/>
                <a:gd name="connsiteY33" fmla="*/ 6935 h 10056"/>
                <a:gd name="connsiteX34" fmla="*/ 8 w 10000"/>
                <a:gd name="connsiteY34" fmla="*/ 7593 h 10056"/>
                <a:gd name="connsiteX35" fmla="*/ 384 w 10000"/>
                <a:gd name="connsiteY35" fmla="*/ 7664 h 10056"/>
                <a:gd name="connsiteX36" fmla="*/ 458 w 10000"/>
                <a:gd name="connsiteY36" fmla="*/ 8245 h 10056"/>
                <a:gd name="connsiteX37" fmla="*/ 684 w 10000"/>
                <a:gd name="connsiteY37" fmla="*/ 8831 h 10056"/>
                <a:gd name="connsiteX38" fmla="*/ 1059 w 10000"/>
                <a:gd name="connsiteY38" fmla="*/ 10000 h 10056"/>
                <a:gd name="connsiteX39" fmla="*/ 2335 w 10000"/>
                <a:gd name="connsiteY39" fmla="*/ 9619 h 10056"/>
                <a:gd name="connsiteX40" fmla="*/ 5865 w 10000"/>
                <a:gd name="connsiteY40" fmla="*/ 8712 h 10056"/>
                <a:gd name="connsiteX41" fmla="*/ 6040 w 10000"/>
                <a:gd name="connsiteY41" fmla="*/ 8368 h 10056"/>
                <a:gd name="connsiteX42" fmla="*/ 6382 w 10000"/>
                <a:gd name="connsiteY42" fmla="*/ 7982 h 10056"/>
                <a:gd name="connsiteX43" fmla="*/ 6428 w 10000"/>
                <a:gd name="connsiteY43" fmla="*/ 8181 h 10056"/>
                <a:gd name="connsiteX44" fmla="*/ 6444 w 10000"/>
                <a:gd name="connsiteY44" fmla="*/ 8428 h 10056"/>
                <a:gd name="connsiteX45" fmla="*/ 6766 w 10000"/>
                <a:gd name="connsiteY45" fmla="*/ 9268 h 10056"/>
                <a:gd name="connsiteX0" fmla="*/ 7446 w 10000"/>
                <a:gd name="connsiteY0" fmla="*/ 9488 h 10026"/>
                <a:gd name="connsiteX1" fmla="*/ 7446 w 10000"/>
                <a:gd name="connsiteY1" fmla="*/ 8978 h 10026"/>
                <a:gd name="connsiteX2" fmla="*/ 7821 w 10000"/>
                <a:gd name="connsiteY2" fmla="*/ 8978 h 10026"/>
                <a:gd name="connsiteX3" fmla="*/ 8047 w 10000"/>
                <a:gd name="connsiteY3" fmla="*/ 8029 h 10026"/>
                <a:gd name="connsiteX4" fmla="*/ 8648 w 10000"/>
                <a:gd name="connsiteY4" fmla="*/ 7444 h 10026"/>
                <a:gd name="connsiteX5" fmla="*/ 8873 w 10000"/>
                <a:gd name="connsiteY5" fmla="*/ 6351 h 10026"/>
                <a:gd name="connsiteX6" fmla="*/ 8722 w 10000"/>
                <a:gd name="connsiteY6" fmla="*/ 5768 h 10026"/>
                <a:gd name="connsiteX7" fmla="*/ 9098 w 10000"/>
                <a:gd name="connsiteY7" fmla="*/ 4525 h 10026"/>
                <a:gd name="connsiteX8" fmla="*/ 9399 w 10000"/>
                <a:gd name="connsiteY8" fmla="*/ 4160 h 10026"/>
                <a:gd name="connsiteX9" fmla="*/ 10000 w 10000"/>
                <a:gd name="connsiteY9" fmla="*/ 3576 h 10026"/>
                <a:gd name="connsiteX10" fmla="*/ 9774 w 10000"/>
                <a:gd name="connsiteY10" fmla="*/ 3502 h 10026"/>
                <a:gd name="connsiteX11" fmla="*/ 9399 w 10000"/>
                <a:gd name="connsiteY11" fmla="*/ 3140 h 10026"/>
                <a:gd name="connsiteX12" fmla="*/ 9173 w 10000"/>
                <a:gd name="connsiteY12" fmla="*/ 2044 h 10026"/>
                <a:gd name="connsiteX13" fmla="*/ 9173 w 10000"/>
                <a:gd name="connsiteY13" fmla="*/ 1460 h 10026"/>
                <a:gd name="connsiteX14" fmla="*/ 9098 w 10000"/>
                <a:gd name="connsiteY14" fmla="*/ 729 h 10026"/>
                <a:gd name="connsiteX15" fmla="*/ 8873 w 10000"/>
                <a:gd name="connsiteY15" fmla="*/ 511 h 10026"/>
                <a:gd name="connsiteX16" fmla="*/ 8497 w 10000"/>
                <a:gd name="connsiteY16" fmla="*/ 219 h 10026"/>
                <a:gd name="connsiteX17" fmla="*/ 8272 w 10000"/>
                <a:gd name="connsiteY17" fmla="*/ 0 h 10026"/>
                <a:gd name="connsiteX18" fmla="*/ 7821 w 10000"/>
                <a:gd name="connsiteY18" fmla="*/ 293 h 10026"/>
                <a:gd name="connsiteX19" fmla="*/ 7370 w 10000"/>
                <a:gd name="connsiteY19" fmla="*/ 729 h 10026"/>
                <a:gd name="connsiteX20" fmla="*/ 6769 w 10000"/>
                <a:gd name="connsiteY20" fmla="*/ 729 h 10026"/>
                <a:gd name="connsiteX21" fmla="*/ 5717 w 10000"/>
                <a:gd name="connsiteY21" fmla="*/ 729 h 10026"/>
                <a:gd name="connsiteX22" fmla="*/ 5717 w 10000"/>
                <a:gd name="connsiteY22" fmla="*/ 658 h 10026"/>
                <a:gd name="connsiteX23" fmla="*/ 5643 w 10000"/>
                <a:gd name="connsiteY23" fmla="*/ 729 h 10026"/>
                <a:gd name="connsiteX24" fmla="*/ 1961 w 10000"/>
                <a:gd name="connsiteY24" fmla="*/ 729 h 10026"/>
                <a:gd name="connsiteX25" fmla="*/ 1961 w 10000"/>
                <a:gd name="connsiteY25" fmla="*/ 2263 h 10026"/>
                <a:gd name="connsiteX26" fmla="*/ 1285 w 10000"/>
                <a:gd name="connsiteY26" fmla="*/ 2263 h 10026"/>
                <a:gd name="connsiteX27" fmla="*/ 1285 w 10000"/>
                <a:gd name="connsiteY27" fmla="*/ 2556 h 10026"/>
                <a:gd name="connsiteX28" fmla="*/ 1285 w 10000"/>
                <a:gd name="connsiteY28" fmla="*/ 5179 h 10026"/>
                <a:gd name="connsiteX29" fmla="*/ 1135 w 10000"/>
                <a:gd name="connsiteY29" fmla="*/ 5327 h 10026"/>
                <a:gd name="connsiteX30" fmla="*/ 684 w 10000"/>
                <a:gd name="connsiteY30" fmla="*/ 5621 h 10026"/>
                <a:gd name="connsiteX31" fmla="*/ 609 w 10000"/>
                <a:gd name="connsiteY31" fmla="*/ 5986 h 10026"/>
                <a:gd name="connsiteX32" fmla="*/ 384 w 10000"/>
                <a:gd name="connsiteY32" fmla="*/ 6351 h 10026"/>
                <a:gd name="connsiteX33" fmla="*/ 234 w 10000"/>
                <a:gd name="connsiteY33" fmla="*/ 6935 h 10026"/>
                <a:gd name="connsiteX34" fmla="*/ 8 w 10000"/>
                <a:gd name="connsiteY34" fmla="*/ 7593 h 10026"/>
                <a:gd name="connsiteX35" fmla="*/ 384 w 10000"/>
                <a:gd name="connsiteY35" fmla="*/ 7664 h 10026"/>
                <a:gd name="connsiteX36" fmla="*/ 458 w 10000"/>
                <a:gd name="connsiteY36" fmla="*/ 8245 h 10026"/>
                <a:gd name="connsiteX37" fmla="*/ 684 w 10000"/>
                <a:gd name="connsiteY37" fmla="*/ 8831 h 10026"/>
                <a:gd name="connsiteX38" fmla="*/ 1059 w 10000"/>
                <a:gd name="connsiteY38" fmla="*/ 10000 h 10026"/>
                <a:gd name="connsiteX39" fmla="*/ 5831 w 10000"/>
                <a:gd name="connsiteY39" fmla="*/ 9031 h 10026"/>
                <a:gd name="connsiteX40" fmla="*/ 5865 w 10000"/>
                <a:gd name="connsiteY40" fmla="*/ 8712 h 10026"/>
                <a:gd name="connsiteX41" fmla="*/ 6040 w 10000"/>
                <a:gd name="connsiteY41" fmla="*/ 8368 h 10026"/>
                <a:gd name="connsiteX42" fmla="*/ 6382 w 10000"/>
                <a:gd name="connsiteY42" fmla="*/ 7982 h 10026"/>
                <a:gd name="connsiteX43" fmla="*/ 6428 w 10000"/>
                <a:gd name="connsiteY43" fmla="*/ 8181 h 10026"/>
                <a:gd name="connsiteX44" fmla="*/ 6444 w 10000"/>
                <a:gd name="connsiteY44" fmla="*/ 8428 h 10026"/>
                <a:gd name="connsiteX45" fmla="*/ 6766 w 10000"/>
                <a:gd name="connsiteY45" fmla="*/ 9268 h 10026"/>
                <a:gd name="connsiteX0" fmla="*/ 7446 w 10000"/>
                <a:gd name="connsiteY0" fmla="*/ 9488 h 10026"/>
                <a:gd name="connsiteX1" fmla="*/ 7446 w 10000"/>
                <a:gd name="connsiteY1" fmla="*/ 8978 h 10026"/>
                <a:gd name="connsiteX2" fmla="*/ 7821 w 10000"/>
                <a:gd name="connsiteY2" fmla="*/ 8978 h 10026"/>
                <a:gd name="connsiteX3" fmla="*/ 8047 w 10000"/>
                <a:gd name="connsiteY3" fmla="*/ 8029 h 10026"/>
                <a:gd name="connsiteX4" fmla="*/ 8648 w 10000"/>
                <a:gd name="connsiteY4" fmla="*/ 7444 h 10026"/>
                <a:gd name="connsiteX5" fmla="*/ 8873 w 10000"/>
                <a:gd name="connsiteY5" fmla="*/ 6351 h 10026"/>
                <a:gd name="connsiteX6" fmla="*/ 8722 w 10000"/>
                <a:gd name="connsiteY6" fmla="*/ 5768 h 10026"/>
                <a:gd name="connsiteX7" fmla="*/ 9098 w 10000"/>
                <a:gd name="connsiteY7" fmla="*/ 4525 h 10026"/>
                <a:gd name="connsiteX8" fmla="*/ 9399 w 10000"/>
                <a:gd name="connsiteY8" fmla="*/ 4160 h 10026"/>
                <a:gd name="connsiteX9" fmla="*/ 10000 w 10000"/>
                <a:gd name="connsiteY9" fmla="*/ 3576 h 10026"/>
                <a:gd name="connsiteX10" fmla="*/ 9774 w 10000"/>
                <a:gd name="connsiteY10" fmla="*/ 3502 h 10026"/>
                <a:gd name="connsiteX11" fmla="*/ 9399 w 10000"/>
                <a:gd name="connsiteY11" fmla="*/ 3140 h 10026"/>
                <a:gd name="connsiteX12" fmla="*/ 9173 w 10000"/>
                <a:gd name="connsiteY12" fmla="*/ 2044 h 10026"/>
                <a:gd name="connsiteX13" fmla="*/ 9173 w 10000"/>
                <a:gd name="connsiteY13" fmla="*/ 1460 h 10026"/>
                <a:gd name="connsiteX14" fmla="*/ 9098 w 10000"/>
                <a:gd name="connsiteY14" fmla="*/ 729 h 10026"/>
                <a:gd name="connsiteX15" fmla="*/ 8873 w 10000"/>
                <a:gd name="connsiteY15" fmla="*/ 511 h 10026"/>
                <a:gd name="connsiteX16" fmla="*/ 8497 w 10000"/>
                <a:gd name="connsiteY16" fmla="*/ 219 h 10026"/>
                <a:gd name="connsiteX17" fmla="*/ 8272 w 10000"/>
                <a:gd name="connsiteY17" fmla="*/ 0 h 10026"/>
                <a:gd name="connsiteX18" fmla="*/ 7821 w 10000"/>
                <a:gd name="connsiteY18" fmla="*/ 293 h 10026"/>
                <a:gd name="connsiteX19" fmla="*/ 7370 w 10000"/>
                <a:gd name="connsiteY19" fmla="*/ 729 h 10026"/>
                <a:gd name="connsiteX20" fmla="*/ 6769 w 10000"/>
                <a:gd name="connsiteY20" fmla="*/ 729 h 10026"/>
                <a:gd name="connsiteX21" fmla="*/ 5717 w 10000"/>
                <a:gd name="connsiteY21" fmla="*/ 729 h 10026"/>
                <a:gd name="connsiteX22" fmla="*/ 5717 w 10000"/>
                <a:gd name="connsiteY22" fmla="*/ 658 h 10026"/>
                <a:gd name="connsiteX23" fmla="*/ 5643 w 10000"/>
                <a:gd name="connsiteY23" fmla="*/ 729 h 10026"/>
                <a:gd name="connsiteX24" fmla="*/ 1961 w 10000"/>
                <a:gd name="connsiteY24" fmla="*/ 729 h 10026"/>
                <a:gd name="connsiteX25" fmla="*/ 1961 w 10000"/>
                <a:gd name="connsiteY25" fmla="*/ 2263 h 10026"/>
                <a:gd name="connsiteX26" fmla="*/ 1285 w 10000"/>
                <a:gd name="connsiteY26" fmla="*/ 2263 h 10026"/>
                <a:gd name="connsiteX27" fmla="*/ 1285 w 10000"/>
                <a:gd name="connsiteY27" fmla="*/ 2556 h 10026"/>
                <a:gd name="connsiteX28" fmla="*/ 1285 w 10000"/>
                <a:gd name="connsiteY28" fmla="*/ 5179 h 10026"/>
                <a:gd name="connsiteX29" fmla="*/ 1135 w 10000"/>
                <a:gd name="connsiteY29" fmla="*/ 5327 h 10026"/>
                <a:gd name="connsiteX30" fmla="*/ 684 w 10000"/>
                <a:gd name="connsiteY30" fmla="*/ 5621 h 10026"/>
                <a:gd name="connsiteX31" fmla="*/ 609 w 10000"/>
                <a:gd name="connsiteY31" fmla="*/ 5986 h 10026"/>
                <a:gd name="connsiteX32" fmla="*/ 384 w 10000"/>
                <a:gd name="connsiteY32" fmla="*/ 6351 h 10026"/>
                <a:gd name="connsiteX33" fmla="*/ 234 w 10000"/>
                <a:gd name="connsiteY33" fmla="*/ 6935 h 10026"/>
                <a:gd name="connsiteX34" fmla="*/ 8 w 10000"/>
                <a:gd name="connsiteY34" fmla="*/ 7593 h 10026"/>
                <a:gd name="connsiteX35" fmla="*/ 384 w 10000"/>
                <a:gd name="connsiteY35" fmla="*/ 7664 h 10026"/>
                <a:gd name="connsiteX36" fmla="*/ 458 w 10000"/>
                <a:gd name="connsiteY36" fmla="*/ 8245 h 10026"/>
                <a:gd name="connsiteX37" fmla="*/ 684 w 10000"/>
                <a:gd name="connsiteY37" fmla="*/ 8831 h 10026"/>
                <a:gd name="connsiteX38" fmla="*/ 1059 w 10000"/>
                <a:gd name="connsiteY38" fmla="*/ 10000 h 10026"/>
                <a:gd name="connsiteX39" fmla="*/ 5831 w 10000"/>
                <a:gd name="connsiteY39" fmla="*/ 9031 h 10026"/>
                <a:gd name="connsiteX40" fmla="*/ 5865 w 10000"/>
                <a:gd name="connsiteY40" fmla="*/ 8712 h 10026"/>
                <a:gd name="connsiteX41" fmla="*/ 6040 w 10000"/>
                <a:gd name="connsiteY41" fmla="*/ 8368 h 10026"/>
                <a:gd name="connsiteX42" fmla="*/ 6382 w 10000"/>
                <a:gd name="connsiteY42" fmla="*/ 7982 h 10026"/>
                <a:gd name="connsiteX43" fmla="*/ 6428 w 10000"/>
                <a:gd name="connsiteY43" fmla="*/ 8181 h 10026"/>
                <a:gd name="connsiteX44" fmla="*/ 6444 w 10000"/>
                <a:gd name="connsiteY44" fmla="*/ 8428 h 10026"/>
                <a:gd name="connsiteX45" fmla="*/ 6766 w 10000"/>
                <a:gd name="connsiteY45" fmla="*/ 9268 h 10026"/>
                <a:gd name="connsiteX0" fmla="*/ 7446 w 10000"/>
                <a:gd name="connsiteY0" fmla="*/ 9488 h 10027"/>
                <a:gd name="connsiteX1" fmla="*/ 7446 w 10000"/>
                <a:gd name="connsiteY1" fmla="*/ 8978 h 10027"/>
                <a:gd name="connsiteX2" fmla="*/ 7821 w 10000"/>
                <a:gd name="connsiteY2" fmla="*/ 8978 h 10027"/>
                <a:gd name="connsiteX3" fmla="*/ 8047 w 10000"/>
                <a:gd name="connsiteY3" fmla="*/ 8029 h 10027"/>
                <a:gd name="connsiteX4" fmla="*/ 8648 w 10000"/>
                <a:gd name="connsiteY4" fmla="*/ 7444 h 10027"/>
                <a:gd name="connsiteX5" fmla="*/ 8873 w 10000"/>
                <a:gd name="connsiteY5" fmla="*/ 6351 h 10027"/>
                <a:gd name="connsiteX6" fmla="*/ 8722 w 10000"/>
                <a:gd name="connsiteY6" fmla="*/ 5768 h 10027"/>
                <a:gd name="connsiteX7" fmla="*/ 9098 w 10000"/>
                <a:gd name="connsiteY7" fmla="*/ 4525 h 10027"/>
                <a:gd name="connsiteX8" fmla="*/ 9399 w 10000"/>
                <a:gd name="connsiteY8" fmla="*/ 4160 h 10027"/>
                <a:gd name="connsiteX9" fmla="*/ 10000 w 10000"/>
                <a:gd name="connsiteY9" fmla="*/ 3576 h 10027"/>
                <a:gd name="connsiteX10" fmla="*/ 9774 w 10000"/>
                <a:gd name="connsiteY10" fmla="*/ 3502 h 10027"/>
                <a:gd name="connsiteX11" fmla="*/ 9399 w 10000"/>
                <a:gd name="connsiteY11" fmla="*/ 3140 h 10027"/>
                <a:gd name="connsiteX12" fmla="*/ 9173 w 10000"/>
                <a:gd name="connsiteY12" fmla="*/ 2044 h 10027"/>
                <a:gd name="connsiteX13" fmla="*/ 9173 w 10000"/>
                <a:gd name="connsiteY13" fmla="*/ 1460 h 10027"/>
                <a:gd name="connsiteX14" fmla="*/ 9098 w 10000"/>
                <a:gd name="connsiteY14" fmla="*/ 729 h 10027"/>
                <a:gd name="connsiteX15" fmla="*/ 8873 w 10000"/>
                <a:gd name="connsiteY15" fmla="*/ 511 h 10027"/>
                <a:gd name="connsiteX16" fmla="*/ 8497 w 10000"/>
                <a:gd name="connsiteY16" fmla="*/ 219 h 10027"/>
                <a:gd name="connsiteX17" fmla="*/ 8272 w 10000"/>
                <a:gd name="connsiteY17" fmla="*/ 0 h 10027"/>
                <a:gd name="connsiteX18" fmla="*/ 7821 w 10000"/>
                <a:gd name="connsiteY18" fmla="*/ 293 h 10027"/>
                <a:gd name="connsiteX19" fmla="*/ 7370 w 10000"/>
                <a:gd name="connsiteY19" fmla="*/ 729 h 10027"/>
                <a:gd name="connsiteX20" fmla="*/ 6769 w 10000"/>
                <a:gd name="connsiteY20" fmla="*/ 729 h 10027"/>
                <a:gd name="connsiteX21" fmla="*/ 5717 w 10000"/>
                <a:gd name="connsiteY21" fmla="*/ 729 h 10027"/>
                <a:gd name="connsiteX22" fmla="*/ 5717 w 10000"/>
                <a:gd name="connsiteY22" fmla="*/ 658 h 10027"/>
                <a:gd name="connsiteX23" fmla="*/ 5643 w 10000"/>
                <a:gd name="connsiteY23" fmla="*/ 729 h 10027"/>
                <a:gd name="connsiteX24" fmla="*/ 1961 w 10000"/>
                <a:gd name="connsiteY24" fmla="*/ 729 h 10027"/>
                <a:gd name="connsiteX25" fmla="*/ 1961 w 10000"/>
                <a:gd name="connsiteY25" fmla="*/ 2263 h 10027"/>
                <a:gd name="connsiteX26" fmla="*/ 1285 w 10000"/>
                <a:gd name="connsiteY26" fmla="*/ 2263 h 10027"/>
                <a:gd name="connsiteX27" fmla="*/ 1285 w 10000"/>
                <a:gd name="connsiteY27" fmla="*/ 2556 h 10027"/>
                <a:gd name="connsiteX28" fmla="*/ 1285 w 10000"/>
                <a:gd name="connsiteY28" fmla="*/ 5179 h 10027"/>
                <a:gd name="connsiteX29" fmla="*/ 1135 w 10000"/>
                <a:gd name="connsiteY29" fmla="*/ 5327 h 10027"/>
                <a:gd name="connsiteX30" fmla="*/ 684 w 10000"/>
                <a:gd name="connsiteY30" fmla="*/ 5621 h 10027"/>
                <a:gd name="connsiteX31" fmla="*/ 609 w 10000"/>
                <a:gd name="connsiteY31" fmla="*/ 5986 h 10027"/>
                <a:gd name="connsiteX32" fmla="*/ 384 w 10000"/>
                <a:gd name="connsiteY32" fmla="*/ 6351 h 10027"/>
                <a:gd name="connsiteX33" fmla="*/ 234 w 10000"/>
                <a:gd name="connsiteY33" fmla="*/ 6935 h 10027"/>
                <a:gd name="connsiteX34" fmla="*/ 8 w 10000"/>
                <a:gd name="connsiteY34" fmla="*/ 7593 h 10027"/>
                <a:gd name="connsiteX35" fmla="*/ 384 w 10000"/>
                <a:gd name="connsiteY35" fmla="*/ 7664 h 10027"/>
                <a:gd name="connsiteX36" fmla="*/ 458 w 10000"/>
                <a:gd name="connsiteY36" fmla="*/ 8245 h 10027"/>
                <a:gd name="connsiteX37" fmla="*/ 684 w 10000"/>
                <a:gd name="connsiteY37" fmla="*/ 8831 h 10027"/>
                <a:gd name="connsiteX38" fmla="*/ 1059 w 10000"/>
                <a:gd name="connsiteY38" fmla="*/ 10000 h 10027"/>
                <a:gd name="connsiteX39" fmla="*/ 5649 w 10000"/>
                <a:gd name="connsiteY39" fmla="*/ 9068 h 10027"/>
                <a:gd name="connsiteX40" fmla="*/ 5865 w 10000"/>
                <a:gd name="connsiteY40" fmla="*/ 8712 h 10027"/>
                <a:gd name="connsiteX41" fmla="*/ 6040 w 10000"/>
                <a:gd name="connsiteY41" fmla="*/ 8368 h 10027"/>
                <a:gd name="connsiteX42" fmla="*/ 6382 w 10000"/>
                <a:gd name="connsiteY42" fmla="*/ 7982 h 10027"/>
                <a:gd name="connsiteX43" fmla="*/ 6428 w 10000"/>
                <a:gd name="connsiteY43" fmla="*/ 8181 h 10027"/>
                <a:gd name="connsiteX44" fmla="*/ 6444 w 10000"/>
                <a:gd name="connsiteY44" fmla="*/ 8428 h 10027"/>
                <a:gd name="connsiteX45" fmla="*/ 6766 w 10000"/>
                <a:gd name="connsiteY45" fmla="*/ 9268 h 10027"/>
                <a:gd name="connsiteX0" fmla="*/ 7446 w 10000"/>
                <a:gd name="connsiteY0" fmla="*/ 9488 h 10027"/>
                <a:gd name="connsiteX1" fmla="*/ 7446 w 10000"/>
                <a:gd name="connsiteY1" fmla="*/ 8978 h 10027"/>
                <a:gd name="connsiteX2" fmla="*/ 7821 w 10000"/>
                <a:gd name="connsiteY2" fmla="*/ 8978 h 10027"/>
                <a:gd name="connsiteX3" fmla="*/ 8047 w 10000"/>
                <a:gd name="connsiteY3" fmla="*/ 8029 h 10027"/>
                <a:gd name="connsiteX4" fmla="*/ 8648 w 10000"/>
                <a:gd name="connsiteY4" fmla="*/ 7444 h 10027"/>
                <a:gd name="connsiteX5" fmla="*/ 8873 w 10000"/>
                <a:gd name="connsiteY5" fmla="*/ 6351 h 10027"/>
                <a:gd name="connsiteX6" fmla="*/ 8722 w 10000"/>
                <a:gd name="connsiteY6" fmla="*/ 5768 h 10027"/>
                <a:gd name="connsiteX7" fmla="*/ 9098 w 10000"/>
                <a:gd name="connsiteY7" fmla="*/ 4525 h 10027"/>
                <a:gd name="connsiteX8" fmla="*/ 9399 w 10000"/>
                <a:gd name="connsiteY8" fmla="*/ 4160 h 10027"/>
                <a:gd name="connsiteX9" fmla="*/ 10000 w 10000"/>
                <a:gd name="connsiteY9" fmla="*/ 3576 h 10027"/>
                <a:gd name="connsiteX10" fmla="*/ 9774 w 10000"/>
                <a:gd name="connsiteY10" fmla="*/ 3502 h 10027"/>
                <a:gd name="connsiteX11" fmla="*/ 9399 w 10000"/>
                <a:gd name="connsiteY11" fmla="*/ 3140 h 10027"/>
                <a:gd name="connsiteX12" fmla="*/ 9173 w 10000"/>
                <a:gd name="connsiteY12" fmla="*/ 2044 h 10027"/>
                <a:gd name="connsiteX13" fmla="*/ 9173 w 10000"/>
                <a:gd name="connsiteY13" fmla="*/ 1460 h 10027"/>
                <a:gd name="connsiteX14" fmla="*/ 9098 w 10000"/>
                <a:gd name="connsiteY14" fmla="*/ 729 h 10027"/>
                <a:gd name="connsiteX15" fmla="*/ 8873 w 10000"/>
                <a:gd name="connsiteY15" fmla="*/ 511 h 10027"/>
                <a:gd name="connsiteX16" fmla="*/ 8497 w 10000"/>
                <a:gd name="connsiteY16" fmla="*/ 219 h 10027"/>
                <a:gd name="connsiteX17" fmla="*/ 8272 w 10000"/>
                <a:gd name="connsiteY17" fmla="*/ 0 h 10027"/>
                <a:gd name="connsiteX18" fmla="*/ 7821 w 10000"/>
                <a:gd name="connsiteY18" fmla="*/ 293 h 10027"/>
                <a:gd name="connsiteX19" fmla="*/ 7370 w 10000"/>
                <a:gd name="connsiteY19" fmla="*/ 729 h 10027"/>
                <a:gd name="connsiteX20" fmla="*/ 6769 w 10000"/>
                <a:gd name="connsiteY20" fmla="*/ 729 h 10027"/>
                <a:gd name="connsiteX21" fmla="*/ 5717 w 10000"/>
                <a:gd name="connsiteY21" fmla="*/ 729 h 10027"/>
                <a:gd name="connsiteX22" fmla="*/ 5717 w 10000"/>
                <a:gd name="connsiteY22" fmla="*/ 658 h 10027"/>
                <a:gd name="connsiteX23" fmla="*/ 5643 w 10000"/>
                <a:gd name="connsiteY23" fmla="*/ 729 h 10027"/>
                <a:gd name="connsiteX24" fmla="*/ 1961 w 10000"/>
                <a:gd name="connsiteY24" fmla="*/ 729 h 10027"/>
                <a:gd name="connsiteX25" fmla="*/ 1961 w 10000"/>
                <a:gd name="connsiteY25" fmla="*/ 2263 h 10027"/>
                <a:gd name="connsiteX26" fmla="*/ 1285 w 10000"/>
                <a:gd name="connsiteY26" fmla="*/ 2263 h 10027"/>
                <a:gd name="connsiteX27" fmla="*/ 1285 w 10000"/>
                <a:gd name="connsiteY27" fmla="*/ 2556 h 10027"/>
                <a:gd name="connsiteX28" fmla="*/ 1285 w 10000"/>
                <a:gd name="connsiteY28" fmla="*/ 5179 h 10027"/>
                <a:gd name="connsiteX29" fmla="*/ 1135 w 10000"/>
                <a:gd name="connsiteY29" fmla="*/ 5327 h 10027"/>
                <a:gd name="connsiteX30" fmla="*/ 684 w 10000"/>
                <a:gd name="connsiteY30" fmla="*/ 5621 h 10027"/>
                <a:gd name="connsiteX31" fmla="*/ 609 w 10000"/>
                <a:gd name="connsiteY31" fmla="*/ 5986 h 10027"/>
                <a:gd name="connsiteX32" fmla="*/ 384 w 10000"/>
                <a:gd name="connsiteY32" fmla="*/ 6351 h 10027"/>
                <a:gd name="connsiteX33" fmla="*/ 234 w 10000"/>
                <a:gd name="connsiteY33" fmla="*/ 6935 h 10027"/>
                <a:gd name="connsiteX34" fmla="*/ 8 w 10000"/>
                <a:gd name="connsiteY34" fmla="*/ 7593 h 10027"/>
                <a:gd name="connsiteX35" fmla="*/ 384 w 10000"/>
                <a:gd name="connsiteY35" fmla="*/ 7664 h 10027"/>
                <a:gd name="connsiteX36" fmla="*/ 458 w 10000"/>
                <a:gd name="connsiteY36" fmla="*/ 8245 h 10027"/>
                <a:gd name="connsiteX37" fmla="*/ 684 w 10000"/>
                <a:gd name="connsiteY37" fmla="*/ 8831 h 10027"/>
                <a:gd name="connsiteX38" fmla="*/ 1059 w 10000"/>
                <a:gd name="connsiteY38" fmla="*/ 10000 h 10027"/>
                <a:gd name="connsiteX39" fmla="*/ 5649 w 10000"/>
                <a:gd name="connsiteY39" fmla="*/ 9068 h 10027"/>
                <a:gd name="connsiteX40" fmla="*/ 5865 w 10000"/>
                <a:gd name="connsiteY40" fmla="*/ 8712 h 10027"/>
                <a:gd name="connsiteX41" fmla="*/ 6040 w 10000"/>
                <a:gd name="connsiteY41" fmla="*/ 8368 h 10027"/>
                <a:gd name="connsiteX42" fmla="*/ 6382 w 10000"/>
                <a:gd name="connsiteY42" fmla="*/ 7982 h 10027"/>
                <a:gd name="connsiteX43" fmla="*/ 6428 w 10000"/>
                <a:gd name="connsiteY43" fmla="*/ 8181 h 10027"/>
                <a:gd name="connsiteX44" fmla="*/ 6444 w 10000"/>
                <a:gd name="connsiteY44" fmla="*/ 8428 h 10027"/>
                <a:gd name="connsiteX45" fmla="*/ 6766 w 10000"/>
                <a:gd name="connsiteY45" fmla="*/ 9268 h 10027"/>
                <a:gd name="connsiteX0" fmla="*/ 7446 w 10000"/>
                <a:gd name="connsiteY0" fmla="*/ 9488 h 10025"/>
                <a:gd name="connsiteX1" fmla="*/ 7446 w 10000"/>
                <a:gd name="connsiteY1" fmla="*/ 8978 h 10025"/>
                <a:gd name="connsiteX2" fmla="*/ 7821 w 10000"/>
                <a:gd name="connsiteY2" fmla="*/ 8978 h 10025"/>
                <a:gd name="connsiteX3" fmla="*/ 8047 w 10000"/>
                <a:gd name="connsiteY3" fmla="*/ 8029 h 10025"/>
                <a:gd name="connsiteX4" fmla="*/ 8648 w 10000"/>
                <a:gd name="connsiteY4" fmla="*/ 7444 h 10025"/>
                <a:gd name="connsiteX5" fmla="*/ 8873 w 10000"/>
                <a:gd name="connsiteY5" fmla="*/ 6351 h 10025"/>
                <a:gd name="connsiteX6" fmla="*/ 8722 w 10000"/>
                <a:gd name="connsiteY6" fmla="*/ 5768 h 10025"/>
                <a:gd name="connsiteX7" fmla="*/ 9098 w 10000"/>
                <a:gd name="connsiteY7" fmla="*/ 4525 h 10025"/>
                <a:gd name="connsiteX8" fmla="*/ 9399 w 10000"/>
                <a:gd name="connsiteY8" fmla="*/ 4160 h 10025"/>
                <a:gd name="connsiteX9" fmla="*/ 10000 w 10000"/>
                <a:gd name="connsiteY9" fmla="*/ 3576 h 10025"/>
                <a:gd name="connsiteX10" fmla="*/ 9774 w 10000"/>
                <a:gd name="connsiteY10" fmla="*/ 3502 h 10025"/>
                <a:gd name="connsiteX11" fmla="*/ 9399 w 10000"/>
                <a:gd name="connsiteY11" fmla="*/ 3140 h 10025"/>
                <a:gd name="connsiteX12" fmla="*/ 9173 w 10000"/>
                <a:gd name="connsiteY12" fmla="*/ 2044 h 10025"/>
                <a:gd name="connsiteX13" fmla="*/ 9173 w 10000"/>
                <a:gd name="connsiteY13" fmla="*/ 1460 h 10025"/>
                <a:gd name="connsiteX14" fmla="*/ 9098 w 10000"/>
                <a:gd name="connsiteY14" fmla="*/ 729 h 10025"/>
                <a:gd name="connsiteX15" fmla="*/ 8873 w 10000"/>
                <a:gd name="connsiteY15" fmla="*/ 511 h 10025"/>
                <a:gd name="connsiteX16" fmla="*/ 8497 w 10000"/>
                <a:gd name="connsiteY16" fmla="*/ 219 h 10025"/>
                <a:gd name="connsiteX17" fmla="*/ 8272 w 10000"/>
                <a:gd name="connsiteY17" fmla="*/ 0 h 10025"/>
                <a:gd name="connsiteX18" fmla="*/ 7821 w 10000"/>
                <a:gd name="connsiteY18" fmla="*/ 293 h 10025"/>
                <a:gd name="connsiteX19" fmla="*/ 7370 w 10000"/>
                <a:gd name="connsiteY19" fmla="*/ 729 h 10025"/>
                <a:gd name="connsiteX20" fmla="*/ 6769 w 10000"/>
                <a:gd name="connsiteY20" fmla="*/ 729 h 10025"/>
                <a:gd name="connsiteX21" fmla="*/ 5717 w 10000"/>
                <a:gd name="connsiteY21" fmla="*/ 729 h 10025"/>
                <a:gd name="connsiteX22" fmla="*/ 5717 w 10000"/>
                <a:gd name="connsiteY22" fmla="*/ 658 h 10025"/>
                <a:gd name="connsiteX23" fmla="*/ 5643 w 10000"/>
                <a:gd name="connsiteY23" fmla="*/ 729 h 10025"/>
                <a:gd name="connsiteX24" fmla="*/ 1961 w 10000"/>
                <a:gd name="connsiteY24" fmla="*/ 729 h 10025"/>
                <a:gd name="connsiteX25" fmla="*/ 1961 w 10000"/>
                <a:gd name="connsiteY25" fmla="*/ 2263 h 10025"/>
                <a:gd name="connsiteX26" fmla="*/ 1285 w 10000"/>
                <a:gd name="connsiteY26" fmla="*/ 2263 h 10025"/>
                <a:gd name="connsiteX27" fmla="*/ 1285 w 10000"/>
                <a:gd name="connsiteY27" fmla="*/ 2556 h 10025"/>
                <a:gd name="connsiteX28" fmla="*/ 1285 w 10000"/>
                <a:gd name="connsiteY28" fmla="*/ 5179 h 10025"/>
                <a:gd name="connsiteX29" fmla="*/ 1135 w 10000"/>
                <a:gd name="connsiteY29" fmla="*/ 5327 h 10025"/>
                <a:gd name="connsiteX30" fmla="*/ 684 w 10000"/>
                <a:gd name="connsiteY30" fmla="*/ 5621 h 10025"/>
                <a:gd name="connsiteX31" fmla="*/ 609 w 10000"/>
                <a:gd name="connsiteY31" fmla="*/ 5986 h 10025"/>
                <a:gd name="connsiteX32" fmla="*/ 384 w 10000"/>
                <a:gd name="connsiteY32" fmla="*/ 6351 h 10025"/>
                <a:gd name="connsiteX33" fmla="*/ 234 w 10000"/>
                <a:gd name="connsiteY33" fmla="*/ 6935 h 10025"/>
                <a:gd name="connsiteX34" fmla="*/ 8 w 10000"/>
                <a:gd name="connsiteY34" fmla="*/ 7593 h 10025"/>
                <a:gd name="connsiteX35" fmla="*/ 384 w 10000"/>
                <a:gd name="connsiteY35" fmla="*/ 7664 h 10025"/>
                <a:gd name="connsiteX36" fmla="*/ 458 w 10000"/>
                <a:gd name="connsiteY36" fmla="*/ 8245 h 10025"/>
                <a:gd name="connsiteX37" fmla="*/ 684 w 10000"/>
                <a:gd name="connsiteY37" fmla="*/ 8831 h 10025"/>
                <a:gd name="connsiteX38" fmla="*/ 1059 w 10000"/>
                <a:gd name="connsiteY38" fmla="*/ 10000 h 10025"/>
                <a:gd name="connsiteX39" fmla="*/ 5428 w 10000"/>
                <a:gd name="connsiteY39" fmla="*/ 8984 h 10025"/>
                <a:gd name="connsiteX40" fmla="*/ 5865 w 10000"/>
                <a:gd name="connsiteY40" fmla="*/ 8712 h 10025"/>
                <a:gd name="connsiteX41" fmla="*/ 6040 w 10000"/>
                <a:gd name="connsiteY41" fmla="*/ 8368 h 10025"/>
                <a:gd name="connsiteX42" fmla="*/ 6382 w 10000"/>
                <a:gd name="connsiteY42" fmla="*/ 7982 h 10025"/>
                <a:gd name="connsiteX43" fmla="*/ 6428 w 10000"/>
                <a:gd name="connsiteY43" fmla="*/ 8181 h 10025"/>
                <a:gd name="connsiteX44" fmla="*/ 6444 w 10000"/>
                <a:gd name="connsiteY44" fmla="*/ 8428 h 10025"/>
                <a:gd name="connsiteX45" fmla="*/ 6766 w 10000"/>
                <a:gd name="connsiteY45" fmla="*/ 9268 h 10025"/>
                <a:gd name="connsiteX0" fmla="*/ 7446 w 10000"/>
                <a:gd name="connsiteY0" fmla="*/ 9488 h 10025"/>
                <a:gd name="connsiteX1" fmla="*/ 7446 w 10000"/>
                <a:gd name="connsiteY1" fmla="*/ 8978 h 10025"/>
                <a:gd name="connsiteX2" fmla="*/ 7821 w 10000"/>
                <a:gd name="connsiteY2" fmla="*/ 8978 h 10025"/>
                <a:gd name="connsiteX3" fmla="*/ 8047 w 10000"/>
                <a:gd name="connsiteY3" fmla="*/ 8029 h 10025"/>
                <a:gd name="connsiteX4" fmla="*/ 8648 w 10000"/>
                <a:gd name="connsiteY4" fmla="*/ 7444 h 10025"/>
                <a:gd name="connsiteX5" fmla="*/ 8873 w 10000"/>
                <a:gd name="connsiteY5" fmla="*/ 6351 h 10025"/>
                <a:gd name="connsiteX6" fmla="*/ 8722 w 10000"/>
                <a:gd name="connsiteY6" fmla="*/ 5768 h 10025"/>
                <a:gd name="connsiteX7" fmla="*/ 9098 w 10000"/>
                <a:gd name="connsiteY7" fmla="*/ 4525 h 10025"/>
                <a:gd name="connsiteX8" fmla="*/ 9399 w 10000"/>
                <a:gd name="connsiteY8" fmla="*/ 4160 h 10025"/>
                <a:gd name="connsiteX9" fmla="*/ 10000 w 10000"/>
                <a:gd name="connsiteY9" fmla="*/ 3576 h 10025"/>
                <a:gd name="connsiteX10" fmla="*/ 9774 w 10000"/>
                <a:gd name="connsiteY10" fmla="*/ 3502 h 10025"/>
                <a:gd name="connsiteX11" fmla="*/ 9399 w 10000"/>
                <a:gd name="connsiteY11" fmla="*/ 3140 h 10025"/>
                <a:gd name="connsiteX12" fmla="*/ 9173 w 10000"/>
                <a:gd name="connsiteY12" fmla="*/ 2044 h 10025"/>
                <a:gd name="connsiteX13" fmla="*/ 9173 w 10000"/>
                <a:gd name="connsiteY13" fmla="*/ 1460 h 10025"/>
                <a:gd name="connsiteX14" fmla="*/ 9098 w 10000"/>
                <a:gd name="connsiteY14" fmla="*/ 729 h 10025"/>
                <a:gd name="connsiteX15" fmla="*/ 8873 w 10000"/>
                <a:gd name="connsiteY15" fmla="*/ 511 h 10025"/>
                <a:gd name="connsiteX16" fmla="*/ 8497 w 10000"/>
                <a:gd name="connsiteY16" fmla="*/ 219 h 10025"/>
                <a:gd name="connsiteX17" fmla="*/ 8272 w 10000"/>
                <a:gd name="connsiteY17" fmla="*/ 0 h 10025"/>
                <a:gd name="connsiteX18" fmla="*/ 7821 w 10000"/>
                <a:gd name="connsiteY18" fmla="*/ 293 h 10025"/>
                <a:gd name="connsiteX19" fmla="*/ 7370 w 10000"/>
                <a:gd name="connsiteY19" fmla="*/ 729 h 10025"/>
                <a:gd name="connsiteX20" fmla="*/ 6769 w 10000"/>
                <a:gd name="connsiteY20" fmla="*/ 729 h 10025"/>
                <a:gd name="connsiteX21" fmla="*/ 5717 w 10000"/>
                <a:gd name="connsiteY21" fmla="*/ 729 h 10025"/>
                <a:gd name="connsiteX22" fmla="*/ 5717 w 10000"/>
                <a:gd name="connsiteY22" fmla="*/ 658 h 10025"/>
                <a:gd name="connsiteX23" fmla="*/ 5643 w 10000"/>
                <a:gd name="connsiteY23" fmla="*/ 729 h 10025"/>
                <a:gd name="connsiteX24" fmla="*/ 1961 w 10000"/>
                <a:gd name="connsiteY24" fmla="*/ 729 h 10025"/>
                <a:gd name="connsiteX25" fmla="*/ 1961 w 10000"/>
                <a:gd name="connsiteY25" fmla="*/ 2263 h 10025"/>
                <a:gd name="connsiteX26" fmla="*/ 1285 w 10000"/>
                <a:gd name="connsiteY26" fmla="*/ 2263 h 10025"/>
                <a:gd name="connsiteX27" fmla="*/ 1285 w 10000"/>
                <a:gd name="connsiteY27" fmla="*/ 2556 h 10025"/>
                <a:gd name="connsiteX28" fmla="*/ 1285 w 10000"/>
                <a:gd name="connsiteY28" fmla="*/ 5179 h 10025"/>
                <a:gd name="connsiteX29" fmla="*/ 1135 w 10000"/>
                <a:gd name="connsiteY29" fmla="*/ 5327 h 10025"/>
                <a:gd name="connsiteX30" fmla="*/ 684 w 10000"/>
                <a:gd name="connsiteY30" fmla="*/ 5621 h 10025"/>
                <a:gd name="connsiteX31" fmla="*/ 609 w 10000"/>
                <a:gd name="connsiteY31" fmla="*/ 5986 h 10025"/>
                <a:gd name="connsiteX32" fmla="*/ 384 w 10000"/>
                <a:gd name="connsiteY32" fmla="*/ 6351 h 10025"/>
                <a:gd name="connsiteX33" fmla="*/ 234 w 10000"/>
                <a:gd name="connsiteY33" fmla="*/ 6935 h 10025"/>
                <a:gd name="connsiteX34" fmla="*/ 8 w 10000"/>
                <a:gd name="connsiteY34" fmla="*/ 7593 h 10025"/>
                <a:gd name="connsiteX35" fmla="*/ 384 w 10000"/>
                <a:gd name="connsiteY35" fmla="*/ 7664 h 10025"/>
                <a:gd name="connsiteX36" fmla="*/ 458 w 10000"/>
                <a:gd name="connsiteY36" fmla="*/ 8245 h 10025"/>
                <a:gd name="connsiteX37" fmla="*/ 684 w 10000"/>
                <a:gd name="connsiteY37" fmla="*/ 8831 h 10025"/>
                <a:gd name="connsiteX38" fmla="*/ 1059 w 10000"/>
                <a:gd name="connsiteY38" fmla="*/ 10000 h 10025"/>
                <a:gd name="connsiteX39" fmla="*/ 5428 w 10000"/>
                <a:gd name="connsiteY39" fmla="*/ 8984 h 10025"/>
                <a:gd name="connsiteX40" fmla="*/ 5865 w 10000"/>
                <a:gd name="connsiteY40" fmla="*/ 8712 h 10025"/>
                <a:gd name="connsiteX41" fmla="*/ 6040 w 10000"/>
                <a:gd name="connsiteY41" fmla="*/ 8368 h 10025"/>
                <a:gd name="connsiteX42" fmla="*/ 6382 w 10000"/>
                <a:gd name="connsiteY42" fmla="*/ 7982 h 10025"/>
                <a:gd name="connsiteX43" fmla="*/ 6428 w 10000"/>
                <a:gd name="connsiteY43" fmla="*/ 8181 h 10025"/>
                <a:gd name="connsiteX44" fmla="*/ 6444 w 10000"/>
                <a:gd name="connsiteY44" fmla="*/ 8428 h 10025"/>
                <a:gd name="connsiteX45" fmla="*/ 6766 w 10000"/>
                <a:gd name="connsiteY45" fmla="*/ 9268 h 10025"/>
                <a:gd name="connsiteX0" fmla="*/ 7446 w 10000"/>
                <a:gd name="connsiteY0" fmla="*/ 9488 h 10025"/>
                <a:gd name="connsiteX1" fmla="*/ 7446 w 10000"/>
                <a:gd name="connsiteY1" fmla="*/ 8978 h 10025"/>
                <a:gd name="connsiteX2" fmla="*/ 7821 w 10000"/>
                <a:gd name="connsiteY2" fmla="*/ 8978 h 10025"/>
                <a:gd name="connsiteX3" fmla="*/ 8047 w 10000"/>
                <a:gd name="connsiteY3" fmla="*/ 8029 h 10025"/>
                <a:gd name="connsiteX4" fmla="*/ 8648 w 10000"/>
                <a:gd name="connsiteY4" fmla="*/ 7444 h 10025"/>
                <a:gd name="connsiteX5" fmla="*/ 8873 w 10000"/>
                <a:gd name="connsiteY5" fmla="*/ 6351 h 10025"/>
                <a:gd name="connsiteX6" fmla="*/ 8722 w 10000"/>
                <a:gd name="connsiteY6" fmla="*/ 5768 h 10025"/>
                <a:gd name="connsiteX7" fmla="*/ 9098 w 10000"/>
                <a:gd name="connsiteY7" fmla="*/ 4525 h 10025"/>
                <a:gd name="connsiteX8" fmla="*/ 9399 w 10000"/>
                <a:gd name="connsiteY8" fmla="*/ 4160 h 10025"/>
                <a:gd name="connsiteX9" fmla="*/ 10000 w 10000"/>
                <a:gd name="connsiteY9" fmla="*/ 3576 h 10025"/>
                <a:gd name="connsiteX10" fmla="*/ 9774 w 10000"/>
                <a:gd name="connsiteY10" fmla="*/ 3502 h 10025"/>
                <a:gd name="connsiteX11" fmla="*/ 9399 w 10000"/>
                <a:gd name="connsiteY11" fmla="*/ 3140 h 10025"/>
                <a:gd name="connsiteX12" fmla="*/ 9173 w 10000"/>
                <a:gd name="connsiteY12" fmla="*/ 2044 h 10025"/>
                <a:gd name="connsiteX13" fmla="*/ 9173 w 10000"/>
                <a:gd name="connsiteY13" fmla="*/ 1460 h 10025"/>
                <a:gd name="connsiteX14" fmla="*/ 9098 w 10000"/>
                <a:gd name="connsiteY14" fmla="*/ 729 h 10025"/>
                <a:gd name="connsiteX15" fmla="*/ 8873 w 10000"/>
                <a:gd name="connsiteY15" fmla="*/ 511 h 10025"/>
                <a:gd name="connsiteX16" fmla="*/ 8497 w 10000"/>
                <a:gd name="connsiteY16" fmla="*/ 219 h 10025"/>
                <a:gd name="connsiteX17" fmla="*/ 8272 w 10000"/>
                <a:gd name="connsiteY17" fmla="*/ 0 h 10025"/>
                <a:gd name="connsiteX18" fmla="*/ 7821 w 10000"/>
                <a:gd name="connsiteY18" fmla="*/ 293 h 10025"/>
                <a:gd name="connsiteX19" fmla="*/ 7370 w 10000"/>
                <a:gd name="connsiteY19" fmla="*/ 729 h 10025"/>
                <a:gd name="connsiteX20" fmla="*/ 6769 w 10000"/>
                <a:gd name="connsiteY20" fmla="*/ 729 h 10025"/>
                <a:gd name="connsiteX21" fmla="*/ 5717 w 10000"/>
                <a:gd name="connsiteY21" fmla="*/ 729 h 10025"/>
                <a:gd name="connsiteX22" fmla="*/ 5717 w 10000"/>
                <a:gd name="connsiteY22" fmla="*/ 658 h 10025"/>
                <a:gd name="connsiteX23" fmla="*/ 5643 w 10000"/>
                <a:gd name="connsiteY23" fmla="*/ 729 h 10025"/>
                <a:gd name="connsiteX24" fmla="*/ 1961 w 10000"/>
                <a:gd name="connsiteY24" fmla="*/ 729 h 10025"/>
                <a:gd name="connsiteX25" fmla="*/ 1961 w 10000"/>
                <a:gd name="connsiteY25" fmla="*/ 2263 h 10025"/>
                <a:gd name="connsiteX26" fmla="*/ 1285 w 10000"/>
                <a:gd name="connsiteY26" fmla="*/ 2263 h 10025"/>
                <a:gd name="connsiteX27" fmla="*/ 1285 w 10000"/>
                <a:gd name="connsiteY27" fmla="*/ 2556 h 10025"/>
                <a:gd name="connsiteX28" fmla="*/ 1285 w 10000"/>
                <a:gd name="connsiteY28" fmla="*/ 5179 h 10025"/>
                <a:gd name="connsiteX29" fmla="*/ 1135 w 10000"/>
                <a:gd name="connsiteY29" fmla="*/ 5327 h 10025"/>
                <a:gd name="connsiteX30" fmla="*/ 684 w 10000"/>
                <a:gd name="connsiteY30" fmla="*/ 5621 h 10025"/>
                <a:gd name="connsiteX31" fmla="*/ 609 w 10000"/>
                <a:gd name="connsiteY31" fmla="*/ 5986 h 10025"/>
                <a:gd name="connsiteX32" fmla="*/ 384 w 10000"/>
                <a:gd name="connsiteY32" fmla="*/ 6351 h 10025"/>
                <a:gd name="connsiteX33" fmla="*/ 234 w 10000"/>
                <a:gd name="connsiteY33" fmla="*/ 6935 h 10025"/>
                <a:gd name="connsiteX34" fmla="*/ 8 w 10000"/>
                <a:gd name="connsiteY34" fmla="*/ 7593 h 10025"/>
                <a:gd name="connsiteX35" fmla="*/ 384 w 10000"/>
                <a:gd name="connsiteY35" fmla="*/ 7664 h 10025"/>
                <a:gd name="connsiteX36" fmla="*/ 458 w 10000"/>
                <a:gd name="connsiteY36" fmla="*/ 8245 h 10025"/>
                <a:gd name="connsiteX37" fmla="*/ 684 w 10000"/>
                <a:gd name="connsiteY37" fmla="*/ 8831 h 10025"/>
                <a:gd name="connsiteX38" fmla="*/ 1059 w 10000"/>
                <a:gd name="connsiteY38" fmla="*/ 10000 h 10025"/>
                <a:gd name="connsiteX39" fmla="*/ 5428 w 10000"/>
                <a:gd name="connsiteY39" fmla="*/ 8984 h 10025"/>
                <a:gd name="connsiteX40" fmla="*/ 5884 w 10000"/>
                <a:gd name="connsiteY40" fmla="*/ 8740 h 10025"/>
                <a:gd name="connsiteX41" fmla="*/ 6040 w 10000"/>
                <a:gd name="connsiteY41" fmla="*/ 8368 h 10025"/>
                <a:gd name="connsiteX42" fmla="*/ 6382 w 10000"/>
                <a:gd name="connsiteY42" fmla="*/ 7982 h 10025"/>
                <a:gd name="connsiteX43" fmla="*/ 6428 w 10000"/>
                <a:gd name="connsiteY43" fmla="*/ 8181 h 10025"/>
                <a:gd name="connsiteX44" fmla="*/ 6444 w 10000"/>
                <a:gd name="connsiteY44" fmla="*/ 8428 h 10025"/>
                <a:gd name="connsiteX45" fmla="*/ 6766 w 10000"/>
                <a:gd name="connsiteY45" fmla="*/ 9268 h 10025"/>
                <a:gd name="connsiteX0" fmla="*/ 7446 w 10000"/>
                <a:gd name="connsiteY0" fmla="*/ 9488 h 10025"/>
                <a:gd name="connsiteX1" fmla="*/ 7446 w 10000"/>
                <a:gd name="connsiteY1" fmla="*/ 8978 h 10025"/>
                <a:gd name="connsiteX2" fmla="*/ 7821 w 10000"/>
                <a:gd name="connsiteY2" fmla="*/ 8978 h 10025"/>
                <a:gd name="connsiteX3" fmla="*/ 8047 w 10000"/>
                <a:gd name="connsiteY3" fmla="*/ 8029 h 10025"/>
                <a:gd name="connsiteX4" fmla="*/ 8648 w 10000"/>
                <a:gd name="connsiteY4" fmla="*/ 7444 h 10025"/>
                <a:gd name="connsiteX5" fmla="*/ 8873 w 10000"/>
                <a:gd name="connsiteY5" fmla="*/ 6351 h 10025"/>
                <a:gd name="connsiteX6" fmla="*/ 8722 w 10000"/>
                <a:gd name="connsiteY6" fmla="*/ 5768 h 10025"/>
                <a:gd name="connsiteX7" fmla="*/ 9098 w 10000"/>
                <a:gd name="connsiteY7" fmla="*/ 4525 h 10025"/>
                <a:gd name="connsiteX8" fmla="*/ 9399 w 10000"/>
                <a:gd name="connsiteY8" fmla="*/ 4160 h 10025"/>
                <a:gd name="connsiteX9" fmla="*/ 10000 w 10000"/>
                <a:gd name="connsiteY9" fmla="*/ 3576 h 10025"/>
                <a:gd name="connsiteX10" fmla="*/ 9774 w 10000"/>
                <a:gd name="connsiteY10" fmla="*/ 3502 h 10025"/>
                <a:gd name="connsiteX11" fmla="*/ 9399 w 10000"/>
                <a:gd name="connsiteY11" fmla="*/ 3140 h 10025"/>
                <a:gd name="connsiteX12" fmla="*/ 9173 w 10000"/>
                <a:gd name="connsiteY12" fmla="*/ 2044 h 10025"/>
                <a:gd name="connsiteX13" fmla="*/ 9173 w 10000"/>
                <a:gd name="connsiteY13" fmla="*/ 1460 h 10025"/>
                <a:gd name="connsiteX14" fmla="*/ 9098 w 10000"/>
                <a:gd name="connsiteY14" fmla="*/ 729 h 10025"/>
                <a:gd name="connsiteX15" fmla="*/ 8873 w 10000"/>
                <a:gd name="connsiteY15" fmla="*/ 511 h 10025"/>
                <a:gd name="connsiteX16" fmla="*/ 8497 w 10000"/>
                <a:gd name="connsiteY16" fmla="*/ 219 h 10025"/>
                <a:gd name="connsiteX17" fmla="*/ 8272 w 10000"/>
                <a:gd name="connsiteY17" fmla="*/ 0 h 10025"/>
                <a:gd name="connsiteX18" fmla="*/ 7821 w 10000"/>
                <a:gd name="connsiteY18" fmla="*/ 293 h 10025"/>
                <a:gd name="connsiteX19" fmla="*/ 7370 w 10000"/>
                <a:gd name="connsiteY19" fmla="*/ 729 h 10025"/>
                <a:gd name="connsiteX20" fmla="*/ 6769 w 10000"/>
                <a:gd name="connsiteY20" fmla="*/ 729 h 10025"/>
                <a:gd name="connsiteX21" fmla="*/ 5717 w 10000"/>
                <a:gd name="connsiteY21" fmla="*/ 729 h 10025"/>
                <a:gd name="connsiteX22" fmla="*/ 5717 w 10000"/>
                <a:gd name="connsiteY22" fmla="*/ 658 h 10025"/>
                <a:gd name="connsiteX23" fmla="*/ 5643 w 10000"/>
                <a:gd name="connsiteY23" fmla="*/ 729 h 10025"/>
                <a:gd name="connsiteX24" fmla="*/ 1961 w 10000"/>
                <a:gd name="connsiteY24" fmla="*/ 729 h 10025"/>
                <a:gd name="connsiteX25" fmla="*/ 1961 w 10000"/>
                <a:gd name="connsiteY25" fmla="*/ 2263 h 10025"/>
                <a:gd name="connsiteX26" fmla="*/ 1285 w 10000"/>
                <a:gd name="connsiteY26" fmla="*/ 2263 h 10025"/>
                <a:gd name="connsiteX27" fmla="*/ 1285 w 10000"/>
                <a:gd name="connsiteY27" fmla="*/ 2556 h 10025"/>
                <a:gd name="connsiteX28" fmla="*/ 1285 w 10000"/>
                <a:gd name="connsiteY28" fmla="*/ 5179 h 10025"/>
                <a:gd name="connsiteX29" fmla="*/ 1135 w 10000"/>
                <a:gd name="connsiteY29" fmla="*/ 5327 h 10025"/>
                <a:gd name="connsiteX30" fmla="*/ 684 w 10000"/>
                <a:gd name="connsiteY30" fmla="*/ 5621 h 10025"/>
                <a:gd name="connsiteX31" fmla="*/ 609 w 10000"/>
                <a:gd name="connsiteY31" fmla="*/ 5986 h 10025"/>
                <a:gd name="connsiteX32" fmla="*/ 384 w 10000"/>
                <a:gd name="connsiteY32" fmla="*/ 6351 h 10025"/>
                <a:gd name="connsiteX33" fmla="*/ 234 w 10000"/>
                <a:gd name="connsiteY33" fmla="*/ 6935 h 10025"/>
                <a:gd name="connsiteX34" fmla="*/ 8 w 10000"/>
                <a:gd name="connsiteY34" fmla="*/ 7593 h 10025"/>
                <a:gd name="connsiteX35" fmla="*/ 384 w 10000"/>
                <a:gd name="connsiteY35" fmla="*/ 7664 h 10025"/>
                <a:gd name="connsiteX36" fmla="*/ 458 w 10000"/>
                <a:gd name="connsiteY36" fmla="*/ 8245 h 10025"/>
                <a:gd name="connsiteX37" fmla="*/ 684 w 10000"/>
                <a:gd name="connsiteY37" fmla="*/ 8831 h 10025"/>
                <a:gd name="connsiteX38" fmla="*/ 1059 w 10000"/>
                <a:gd name="connsiteY38" fmla="*/ 10000 h 10025"/>
                <a:gd name="connsiteX39" fmla="*/ 5428 w 10000"/>
                <a:gd name="connsiteY39" fmla="*/ 8984 h 10025"/>
                <a:gd name="connsiteX40" fmla="*/ 5884 w 10000"/>
                <a:gd name="connsiteY40" fmla="*/ 8740 h 10025"/>
                <a:gd name="connsiteX41" fmla="*/ 6040 w 10000"/>
                <a:gd name="connsiteY41" fmla="*/ 8368 h 10025"/>
                <a:gd name="connsiteX42" fmla="*/ 6382 w 10000"/>
                <a:gd name="connsiteY42" fmla="*/ 7982 h 10025"/>
                <a:gd name="connsiteX43" fmla="*/ 6428 w 10000"/>
                <a:gd name="connsiteY43" fmla="*/ 8181 h 10025"/>
                <a:gd name="connsiteX44" fmla="*/ 6444 w 10000"/>
                <a:gd name="connsiteY44" fmla="*/ 8428 h 10025"/>
                <a:gd name="connsiteX45" fmla="*/ 6766 w 10000"/>
                <a:gd name="connsiteY45" fmla="*/ 9268 h 10025"/>
                <a:gd name="connsiteX0" fmla="*/ 7446 w 10000"/>
                <a:gd name="connsiteY0" fmla="*/ 9488 h 10025"/>
                <a:gd name="connsiteX1" fmla="*/ 7446 w 10000"/>
                <a:gd name="connsiteY1" fmla="*/ 8978 h 10025"/>
                <a:gd name="connsiteX2" fmla="*/ 7821 w 10000"/>
                <a:gd name="connsiteY2" fmla="*/ 8978 h 10025"/>
                <a:gd name="connsiteX3" fmla="*/ 8047 w 10000"/>
                <a:gd name="connsiteY3" fmla="*/ 8029 h 10025"/>
                <a:gd name="connsiteX4" fmla="*/ 8648 w 10000"/>
                <a:gd name="connsiteY4" fmla="*/ 7444 h 10025"/>
                <a:gd name="connsiteX5" fmla="*/ 8873 w 10000"/>
                <a:gd name="connsiteY5" fmla="*/ 6351 h 10025"/>
                <a:gd name="connsiteX6" fmla="*/ 8722 w 10000"/>
                <a:gd name="connsiteY6" fmla="*/ 5768 h 10025"/>
                <a:gd name="connsiteX7" fmla="*/ 9098 w 10000"/>
                <a:gd name="connsiteY7" fmla="*/ 4525 h 10025"/>
                <a:gd name="connsiteX8" fmla="*/ 9399 w 10000"/>
                <a:gd name="connsiteY8" fmla="*/ 4160 h 10025"/>
                <a:gd name="connsiteX9" fmla="*/ 10000 w 10000"/>
                <a:gd name="connsiteY9" fmla="*/ 3576 h 10025"/>
                <a:gd name="connsiteX10" fmla="*/ 9774 w 10000"/>
                <a:gd name="connsiteY10" fmla="*/ 3502 h 10025"/>
                <a:gd name="connsiteX11" fmla="*/ 9399 w 10000"/>
                <a:gd name="connsiteY11" fmla="*/ 3140 h 10025"/>
                <a:gd name="connsiteX12" fmla="*/ 9173 w 10000"/>
                <a:gd name="connsiteY12" fmla="*/ 2044 h 10025"/>
                <a:gd name="connsiteX13" fmla="*/ 9173 w 10000"/>
                <a:gd name="connsiteY13" fmla="*/ 1460 h 10025"/>
                <a:gd name="connsiteX14" fmla="*/ 9098 w 10000"/>
                <a:gd name="connsiteY14" fmla="*/ 729 h 10025"/>
                <a:gd name="connsiteX15" fmla="*/ 8873 w 10000"/>
                <a:gd name="connsiteY15" fmla="*/ 511 h 10025"/>
                <a:gd name="connsiteX16" fmla="*/ 8497 w 10000"/>
                <a:gd name="connsiteY16" fmla="*/ 219 h 10025"/>
                <a:gd name="connsiteX17" fmla="*/ 8272 w 10000"/>
                <a:gd name="connsiteY17" fmla="*/ 0 h 10025"/>
                <a:gd name="connsiteX18" fmla="*/ 7821 w 10000"/>
                <a:gd name="connsiteY18" fmla="*/ 293 h 10025"/>
                <a:gd name="connsiteX19" fmla="*/ 7370 w 10000"/>
                <a:gd name="connsiteY19" fmla="*/ 729 h 10025"/>
                <a:gd name="connsiteX20" fmla="*/ 6769 w 10000"/>
                <a:gd name="connsiteY20" fmla="*/ 729 h 10025"/>
                <a:gd name="connsiteX21" fmla="*/ 5717 w 10000"/>
                <a:gd name="connsiteY21" fmla="*/ 729 h 10025"/>
                <a:gd name="connsiteX22" fmla="*/ 5717 w 10000"/>
                <a:gd name="connsiteY22" fmla="*/ 658 h 10025"/>
                <a:gd name="connsiteX23" fmla="*/ 5643 w 10000"/>
                <a:gd name="connsiteY23" fmla="*/ 729 h 10025"/>
                <a:gd name="connsiteX24" fmla="*/ 1961 w 10000"/>
                <a:gd name="connsiteY24" fmla="*/ 729 h 10025"/>
                <a:gd name="connsiteX25" fmla="*/ 1961 w 10000"/>
                <a:gd name="connsiteY25" fmla="*/ 2263 h 10025"/>
                <a:gd name="connsiteX26" fmla="*/ 1285 w 10000"/>
                <a:gd name="connsiteY26" fmla="*/ 2263 h 10025"/>
                <a:gd name="connsiteX27" fmla="*/ 1285 w 10000"/>
                <a:gd name="connsiteY27" fmla="*/ 2556 h 10025"/>
                <a:gd name="connsiteX28" fmla="*/ 1285 w 10000"/>
                <a:gd name="connsiteY28" fmla="*/ 5179 h 10025"/>
                <a:gd name="connsiteX29" fmla="*/ 1135 w 10000"/>
                <a:gd name="connsiteY29" fmla="*/ 5327 h 10025"/>
                <a:gd name="connsiteX30" fmla="*/ 684 w 10000"/>
                <a:gd name="connsiteY30" fmla="*/ 5621 h 10025"/>
                <a:gd name="connsiteX31" fmla="*/ 609 w 10000"/>
                <a:gd name="connsiteY31" fmla="*/ 5986 h 10025"/>
                <a:gd name="connsiteX32" fmla="*/ 384 w 10000"/>
                <a:gd name="connsiteY32" fmla="*/ 6351 h 10025"/>
                <a:gd name="connsiteX33" fmla="*/ 234 w 10000"/>
                <a:gd name="connsiteY33" fmla="*/ 6935 h 10025"/>
                <a:gd name="connsiteX34" fmla="*/ 8 w 10000"/>
                <a:gd name="connsiteY34" fmla="*/ 7593 h 10025"/>
                <a:gd name="connsiteX35" fmla="*/ 384 w 10000"/>
                <a:gd name="connsiteY35" fmla="*/ 7664 h 10025"/>
                <a:gd name="connsiteX36" fmla="*/ 458 w 10000"/>
                <a:gd name="connsiteY36" fmla="*/ 8245 h 10025"/>
                <a:gd name="connsiteX37" fmla="*/ 684 w 10000"/>
                <a:gd name="connsiteY37" fmla="*/ 8831 h 10025"/>
                <a:gd name="connsiteX38" fmla="*/ 1059 w 10000"/>
                <a:gd name="connsiteY38" fmla="*/ 10000 h 10025"/>
                <a:gd name="connsiteX39" fmla="*/ 5428 w 10000"/>
                <a:gd name="connsiteY39" fmla="*/ 8984 h 10025"/>
                <a:gd name="connsiteX40" fmla="*/ 5884 w 10000"/>
                <a:gd name="connsiteY40" fmla="*/ 8740 h 10025"/>
                <a:gd name="connsiteX41" fmla="*/ 6040 w 10000"/>
                <a:gd name="connsiteY41" fmla="*/ 8368 h 10025"/>
                <a:gd name="connsiteX42" fmla="*/ 6382 w 10000"/>
                <a:gd name="connsiteY42" fmla="*/ 7982 h 10025"/>
                <a:gd name="connsiteX43" fmla="*/ 6428 w 10000"/>
                <a:gd name="connsiteY43" fmla="*/ 8181 h 10025"/>
                <a:gd name="connsiteX44" fmla="*/ 6444 w 10000"/>
                <a:gd name="connsiteY44" fmla="*/ 8428 h 10025"/>
                <a:gd name="connsiteX45" fmla="*/ 6766 w 10000"/>
                <a:gd name="connsiteY45" fmla="*/ 9268 h 10025"/>
                <a:gd name="connsiteX0" fmla="*/ 7446 w 10000"/>
                <a:gd name="connsiteY0" fmla="*/ 9488 h 10143"/>
                <a:gd name="connsiteX1" fmla="*/ 7446 w 10000"/>
                <a:gd name="connsiteY1" fmla="*/ 8978 h 10143"/>
                <a:gd name="connsiteX2" fmla="*/ 7821 w 10000"/>
                <a:gd name="connsiteY2" fmla="*/ 8978 h 10143"/>
                <a:gd name="connsiteX3" fmla="*/ 8047 w 10000"/>
                <a:gd name="connsiteY3" fmla="*/ 8029 h 10143"/>
                <a:gd name="connsiteX4" fmla="*/ 8648 w 10000"/>
                <a:gd name="connsiteY4" fmla="*/ 7444 h 10143"/>
                <a:gd name="connsiteX5" fmla="*/ 8873 w 10000"/>
                <a:gd name="connsiteY5" fmla="*/ 6351 h 10143"/>
                <a:gd name="connsiteX6" fmla="*/ 8722 w 10000"/>
                <a:gd name="connsiteY6" fmla="*/ 5768 h 10143"/>
                <a:gd name="connsiteX7" fmla="*/ 9098 w 10000"/>
                <a:gd name="connsiteY7" fmla="*/ 4525 h 10143"/>
                <a:gd name="connsiteX8" fmla="*/ 9399 w 10000"/>
                <a:gd name="connsiteY8" fmla="*/ 4160 h 10143"/>
                <a:gd name="connsiteX9" fmla="*/ 10000 w 10000"/>
                <a:gd name="connsiteY9" fmla="*/ 3576 h 10143"/>
                <a:gd name="connsiteX10" fmla="*/ 9774 w 10000"/>
                <a:gd name="connsiteY10" fmla="*/ 3502 h 10143"/>
                <a:gd name="connsiteX11" fmla="*/ 9399 w 10000"/>
                <a:gd name="connsiteY11" fmla="*/ 3140 h 10143"/>
                <a:gd name="connsiteX12" fmla="*/ 9173 w 10000"/>
                <a:gd name="connsiteY12" fmla="*/ 2044 h 10143"/>
                <a:gd name="connsiteX13" fmla="*/ 9173 w 10000"/>
                <a:gd name="connsiteY13" fmla="*/ 1460 h 10143"/>
                <a:gd name="connsiteX14" fmla="*/ 9098 w 10000"/>
                <a:gd name="connsiteY14" fmla="*/ 729 h 10143"/>
                <a:gd name="connsiteX15" fmla="*/ 8873 w 10000"/>
                <a:gd name="connsiteY15" fmla="*/ 511 h 10143"/>
                <a:gd name="connsiteX16" fmla="*/ 8497 w 10000"/>
                <a:gd name="connsiteY16" fmla="*/ 219 h 10143"/>
                <a:gd name="connsiteX17" fmla="*/ 8272 w 10000"/>
                <a:gd name="connsiteY17" fmla="*/ 0 h 10143"/>
                <a:gd name="connsiteX18" fmla="*/ 7821 w 10000"/>
                <a:gd name="connsiteY18" fmla="*/ 293 h 10143"/>
                <a:gd name="connsiteX19" fmla="*/ 7370 w 10000"/>
                <a:gd name="connsiteY19" fmla="*/ 729 h 10143"/>
                <a:gd name="connsiteX20" fmla="*/ 6769 w 10000"/>
                <a:gd name="connsiteY20" fmla="*/ 729 h 10143"/>
                <a:gd name="connsiteX21" fmla="*/ 5717 w 10000"/>
                <a:gd name="connsiteY21" fmla="*/ 729 h 10143"/>
                <a:gd name="connsiteX22" fmla="*/ 5717 w 10000"/>
                <a:gd name="connsiteY22" fmla="*/ 658 h 10143"/>
                <a:gd name="connsiteX23" fmla="*/ 5643 w 10000"/>
                <a:gd name="connsiteY23" fmla="*/ 729 h 10143"/>
                <a:gd name="connsiteX24" fmla="*/ 1961 w 10000"/>
                <a:gd name="connsiteY24" fmla="*/ 729 h 10143"/>
                <a:gd name="connsiteX25" fmla="*/ 1961 w 10000"/>
                <a:gd name="connsiteY25" fmla="*/ 2263 h 10143"/>
                <a:gd name="connsiteX26" fmla="*/ 1285 w 10000"/>
                <a:gd name="connsiteY26" fmla="*/ 2263 h 10143"/>
                <a:gd name="connsiteX27" fmla="*/ 1285 w 10000"/>
                <a:gd name="connsiteY27" fmla="*/ 2556 h 10143"/>
                <a:gd name="connsiteX28" fmla="*/ 1285 w 10000"/>
                <a:gd name="connsiteY28" fmla="*/ 5179 h 10143"/>
                <a:gd name="connsiteX29" fmla="*/ 1135 w 10000"/>
                <a:gd name="connsiteY29" fmla="*/ 5327 h 10143"/>
                <a:gd name="connsiteX30" fmla="*/ 684 w 10000"/>
                <a:gd name="connsiteY30" fmla="*/ 5621 h 10143"/>
                <a:gd name="connsiteX31" fmla="*/ 609 w 10000"/>
                <a:gd name="connsiteY31" fmla="*/ 5986 h 10143"/>
                <a:gd name="connsiteX32" fmla="*/ 384 w 10000"/>
                <a:gd name="connsiteY32" fmla="*/ 6351 h 10143"/>
                <a:gd name="connsiteX33" fmla="*/ 234 w 10000"/>
                <a:gd name="connsiteY33" fmla="*/ 6935 h 10143"/>
                <a:gd name="connsiteX34" fmla="*/ 8 w 10000"/>
                <a:gd name="connsiteY34" fmla="*/ 7593 h 10143"/>
                <a:gd name="connsiteX35" fmla="*/ 384 w 10000"/>
                <a:gd name="connsiteY35" fmla="*/ 7664 h 10143"/>
                <a:gd name="connsiteX36" fmla="*/ 458 w 10000"/>
                <a:gd name="connsiteY36" fmla="*/ 8245 h 10143"/>
                <a:gd name="connsiteX37" fmla="*/ 684 w 10000"/>
                <a:gd name="connsiteY37" fmla="*/ 8831 h 10143"/>
                <a:gd name="connsiteX38" fmla="*/ 1059 w 10000"/>
                <a:gd name="connsiteY38" fmla="*/ 10000 h 10143"/>
                <a:gd name="connsiteX39" fmla="*/ 1068 w 10000"/>
                <a:gd name="connsiteY39" fmla="*/ 10012 h 10143"/>
                <a:gd name="connsiteX40" fmla="*/ 5428 w 10000"/>
                <a:gd name="connsiteY40" fmla="*/ 8984 h 10143"/>
                <a:gd name="connsiteX41" fmla="*/ 5884 w 10000"/>
                <a:gd name="connsiteY41" fmla="*/ 8740 h 10143"/>
                <a:gd name="connsiteX42" fmla="*/ 6040 w 10000"/>
                <a:gd name="connsiteY42" fmla="*/ 8368 h 10143"/>
                <a:gd name="connsiteX43" fmla="*/ 6382 w 10000"/>
                <a:gd name="connsiteY43" fmla="*/ 7982 h 10143"/>
                <a:gd name="connsiteX44" fmla="*/ 6428 w 10000"/>
                <a:gd name="connsiteY44" fmla="*/ 8181 h 10143"/>
                <a:gd name="connsiteX45" fmla="*/ 6444 w 10000"/>
                <a:gd name="connsiteY45" fmla="*/ 8428 h 10143"/>
                <a:gd name="connsiteX46" fmla="*/ 6766 w 10000"/>
                <a:gd name="connsiteY46" fmla="*/ 9268 h 10143"/>
                <a:gd name="connsiteX0" fmla="*/ 7446 w 10000"/>
                <a:gd name="connsiteY0" fmla="*/ 9488 h 10115"/>
                <a:gd name="connsiteX1" fmla="*/ 7446 w 10000"/>
                <a:gd name="connsiteY1" fmla="*/ 8978 h 10115"/>
                <a:gd name="connsiteX2" fmla="*/ 7821 w 10000"/>
                <a:gd name="connsiteY2" fmla="*/ 8978 h 10115"/>
                <a:gd name="connsiteX3" fmla="*/ 8047 w 10000"/>
                <a:gd name="connsiteY3" fmla="*/ 8029 h 10115"/>
                <a:gd name="connsiteX4" fmla="*/ 8648 w 10000"/>
                <a:gd name="connsiteY4" fmla="*/ 7444 h 10115"/>
                <a:gd name="connsiteX5" fmla="*/ 8873 w 10000"/>
                <a:gd name="connsiteY5" fmla="*/ 6351 h 10115"/>
                <a:gd name="connsiteX6" fmla="*/ 8722 w 10000"/>
                <a:gd name="connsiteY6" fmla="*/ 5768 h 10115"/>
                <a:gd name="connsiteX7" fmla="*/ 9098 w 10000"/>
                <a:gd name="connsiteY7" fmla="*/ 4525 h 10115"/>
                <a:gd name="connsiteX8" fmla="*/ 9399 w 10000"/>
                <a:gd name="connsiteY8" fmla="*/ 4160 h 10115"/>
                <a:gd name="connsiteX9" fmla="*/ 10000 w 10000"/>
                <a:gd name="connsiteY9" fmla="*/ 3576 h 10115"/>
                <a:gd name="connsiteX10" fmla="*/ 9774 w 10000"/>
                <a:gd name="connsiteY10" fmla="*/ 3502 h 10115"/>
                <a:gd name="connsiteX11" fmla="*/ 9399 w 10000"/>
                <a:gd name="connsiteY11" fmla="*/ 3140 h 10115"/>
                <a:gd name="connsiteX12" fmla="*/ 9173 w 10000"/>
                <a:gd name="connsiteY12" fmla="*/ 2044 h 10115"/>
                <a:gd name="connsiteX13" fmla="*/ 9173 w 10000"/>
                <a:gd name="connsiteY13" fmla="*/ 1460 h 10115"/>
                <a:gd name="connsiteX14" fmla="*/ 9098 w 10000"/>
                <a:gd name="connsiteY14" fmla="*/ 729 h 10115"/>
                <a:gd name="connsiteX15" fmla="*/ 8873 w 10000"/>
                <a:gd name="connsiteY15" fmla="*/ 511 h 10115"/>
                <a:gd name="connsiteX16" fmla="*/ 8497 w 10000"/>
                <a:gd name="connsiteY16" fmla="*/ 219 h 10115"/>
                <a:gd name="connsiteX17" fmla="*/ 8272 w 10000"/>
                <a:gd name="connsiteY17" fmla="*/ 0 h 10115"/>
                <a:gd name="connsiteX18" fmla="*/ 7821 w 10000"/>
                <a:gd name="connsiteY18" fmla="*/ 293 h 10115"/>
                <a:gd name="connsiteX19" fmla="*/ 7370 w 10000"/>
                <a:gd name="connsiteY19" fmla="*/ 729 h 10115"/>
                <a:gd name="connsiteX20" fmla="*/ 6769 w 10000"/>
                <a:gd name="connsiteY20" fmla="*/ 729 h 10115"/>
                <a:gd name="connsiteX21" fmla="*/ 5717 w 10000"/>
                <a:gd name="connsiteY21" fmla="*/ 729 h 10115"/>
                <a:gd name="connsiteX22" fmla="*/ 5717 w 10000"/>
                <a:gd name="connsiteY22" fmla="*/ 658 h 10115"/>
                <a:gd name="connsiteX23" fmla="*/ 5643 w 10000"/>
                <a:gd name="connsiteY23" fmla="*/ 729 h 10115"/>
                <a:gd name="connsiteX24" fmla="*/ 1961 w 10000"/>
                <a:gd name="connsiteY24" fmla="*/ 729 h 10115"/>
                <a:gd name="connsiteX25" fmla="*/ 1961 w 10000"/>
                <a:gd name="connsiteY25" fmla="*/ 2263 h 10115"/>
                <a:gd name="connsiteX26" fmla="*/ 1285 w 10000"/>
                <a:gd name="connsiteY26" fmla="*/ 2263 h 10115"/>
                <a:gd name="connsiteX27" fmla="*/ 1285 w 10000"/>
                <a:gd name="connsiteY27" fmla="*/ 2556 h 10115"/>
                <a:gd name="connsiteX28" fmla="*/ 1285 w 10000"/>
                <a:gd name="connsiteY28" fmla="*/ 5179 h 10115"/>
                <a:gd name="connsiteX29" fmla="*/ 1135 w 10000"/>
                <a:gd name="connsiteY29" fmla="*/ 5327 h 10115"/>
                <a:gd name="connsiteX30" fmla="*/ 684 w 10000"/>
                <a:gd name="connsiteY30" fmla="*/ 5621 h 10115"/>
                <a:gd name="connsiteX31" fmla="*/ 609 w 10000"/>
                <a:gd name="connsiteY31" fmla="*/ 5986 h 10115"/>
                <a:gd name="connsiteX32" fmla="*/ 384 w 10000"/>
                <a:gd name="connsiteY32" fmla="*/ 6351 h 10115"/>
                <a:gd name="connsiteX33" fmla="*/ 234 w 10000"/>
                <a:gd name="connsiteY33" fmla="*/ 6935 h 10115"/>
                <a:gd name="connsiteX34" fmla="*/ 8 w 10000"/>
                <a:gd name="connsiteY34" fmla="*/ 7593 h 10115"/>
                <a:gd name="connsiteX35" fmla="*/ 384 w 10000"/>
                <a:gd name="connsiteY35" fmla="*/ 7664 h 10115"/>
                <a:gd name="connsiteX36" fmla="*/ 458 w 10000"/>
                <a:gd name="connsiteY36" fmla="*/ 8245 h 10115"/>
                <a:gd name="connsiteX37" fmla="*/ 684 w 10000"/>
                <a:gd name="connsiteY37" fmla="*/ 8831 h 10115"/>
                <a:gd name="connsiteX38" fmla="*/ 1059 w 10000"/>
                <a:gd name="connsiteY38" fmla="*/ 10000 h 10115"/>
                <a:gd name="connsiteX39" fmla="*/ 3268 w 10000"/>
                <a:gd name="connsiteY39" fmla="*/ 9947 h 10115"/>
                <a:gd name="connsiteX40" fmla="*/ 5428 w 10000"/>
                <a:gd name="connsiteY40" fmla="*/ 8984 h 10115"/>
                <a:gd name="connsiteX41" fmla="*/ 5884 w 10000"/>
                <a:gd name="connsiteY41" fmla="*/ 8740 h 10115"/>
                <a:gd name="connsiteX42" fmla="*/ 6040 w 10000"/>
                <a:gd name="connsiteY42" fmla="*/ 8368 h 10115"/>
                <a:gd name="connsiteX43" fmla="*/ 6382 w 10000"/>
                <a:gd name="connsiteY43" fmla="*/ 7982 h 10115"/>
                <a:gd name="connsiteX44" fmla="*/ 6428 w 10000"/>
                <a:gd name="connsiteY44" fmla="*/ 8181 h 10115"/>
                <a:gd name="connsiteX45" fmla="*/ 6444 w 10000"/>
                <a:gd name="connsiteY45" fmla="*/ 8428 h 10115"/>
                <a:gd name="connsiteX46" fmla="*/ 6766 w 10000"/>
                <a:gd name="connsiteY46" fmla="*/ 9268 h 10115"/>
                <a:gd name="connsiteX0" fmla="*/ 7446 w 10000"/>
                <a:gd name="connsiteY0" fmla="*/ 9488 h 10115"/>
                <a:gd name="connsiteX1" fmla="*/ 7446 w 10000"/>
                <a:gd name="connsiteY1" fmla="*/ 8978 h 10115"/>
                <a:gd name="connsiteX2" fmla="*/ 7821 w 10000"/>
                <a:gd name="connsiteY2" fmla="*/ 8978 h 10115"/>
                <a:gd name="connsiteX3" fmla="*/ 8047 w 10000"/>
                <a:gd name="connsiteY3" fmla="*/ 8029 h 10115"/>
                <a:gd name="connsiteX4" fmla="*/ 8648 w 10000"/>
                <a:gd name="connsiteY4" fmla="*/ 7444 h 10115"/>
                <a:gd name="connsiteX5" fmla="*/ 8873 w 10000"/>
                <a:gd name="connsiteY5" fmla="*/ 6351 h 10115"/>
                <a:gd name="connsiteX6" fmla="*/ 8722 w 10000"/>
                <a:gd name="connsiteY6" fmla="*/ 5768 h 10115"/>
                <a:gd name="connsiteX7" fmla="*/ 9098 w 10000"/>
                <a:gd name="connsiteY7" fmla="*/ 4525 h 10115"/>
                <a:gd name="connsiteX8" fmla="*/ 9399 w 10000"/>
                <a:gd name="connsiteY8" fmla="*/ 4160 h 10115"/>
                <a:gd name="connsiteX9" fmla="*/ 10000 w 10000"/>
                <a:gd name="connsiteY9" fmla="*/ 3576 h 10115"/>
                <a:gd name="connsiteX10" fmla="*/ 9774 w 10000"/>
                <a:gd name="connsiteY10" fmla="*/ 3502 h 10115"/>
                <a:gd name="connsiteX11" fmla="*/ 9399 w 10000"/>
                <a:gd name="connsiteY11" fmla="*/ 3140 h 10115"/>
                <a:gd name="connsiteX12" fmla="*/ 9173 w 10000"/>
                <a:gd name="connsiteY12" fmla="*/ 2044 h 10115"/>
                <a:gd name="connsiteX13" fmla="*/ 9173 w 10000"/>
                <a:gd name="connsiteY13" fmla="*/ 1460 h 10115"/>
                <a:gd name="connsiteX14" fmla="*/ 9098 w 10000"/>
                <a:gd name="connsiteY14" fmla="*/ 729 h 10115"/>
                <a:gd name="connsiteX15" fmla="*/ 8873 w 10000"/>
                <a:gd name="connsiteY15" fmla="*/ 511 h 10115"/>
                <a:gd name="connsiteX16" fmla="*/ 8497 w 10000"/>
                <a:gd name="connsiteY16" fmla="*/ 219 h 10115"/>
                <a:gd name="connsiteX17" fmla="*/ 8272 w 10000"/>
                <a:gd name="connsiteY17" fmla="*/ 0 h 10115"/>
                <a:gd name="connsiteX18" fmla="*/ 7821 w 10000"/>
                <a:gd name="connsiteY18" fmla="*/ 293 h 10115"/>
                <a:gd name="connsiteX19" fmla="*/ 7370 w 10000"/>
                <a:gd name="connsiteY19" fmla="*/ 729 h 10115"/>
                <a:gd name="connsiteX20" fmla="*/ 6769 w 10000"/>
                <a:gd name="connsiteY20" fmla="*/ 729 h 10115"/>
                <a:gd name="connsiteX21" fmla="*/ 5717 w 10000"/>
                <a:gd name="connsiteY21" fmla="*/ 729 h 10115"/>
                <a:gd name="connsiteX22" fmla="*/ 5717 w 10000"/>
                <a:gd name="connsiteY22" fmla="*/ 658 h 10115"/>
                <a:gd name="connsiteX23" fmla="*/ 5643 w 10000"/>
                <a:gd name="connsiteY23" fmla="*/ 729 h 10115"/>
                <a:gd name="connsiteX24" fmla="*/ 1961 w 10000"/>
                <a:gd name="connsiteY24" fmla="*/ 729 h 10115"/>
                <a:gd name="connsiteX25" fmla="*/ 1961 w 10000"/>
                <a:gd name="connsiteY25" fmla="*/ 2263 h 10115"/>
                <a:gd name="connsiteX26" fmla="*/ 1285 w 10000"/>
                <a:gd name="connsiteY26" fmla="*/ 2263 h 10115"/>
                <a:gd name="connsiteX27" fmla="*/ 1285 w 10000"/>
                <a:gd name="connsiteY27" fmla="*/ 2556 h 10115"/>
                <a:gd name="connsiteX28" fmla="*/ 1285 w 10000"/>
                <a:gd name="connsiteY28" fmla="*/ 5179 h 10115"/>
                <a:gd name="connsiteX29" fmla="*/ 1135 w 10000"/>
                <a:gd name="connsiteY29" fmla="*/ 5327 h 10115"/>
                <a:gd name="connsiteX30" fmla="*/ 684 w 10000"/>
                <a:gd name="connsiteY30" fmla="*/ 5621 h 10115"/>
                <a:gd name="connsiteX31" fmla="*/ 609 w 10000"/>
                <a:gd name="connsiteY31" fmla="*/ 5986 h 10115"/>
                <a:gd name="connsiteX32" fmla="*/ 384 w 10000"/>
                <a:gd name="connsiteY32" fmla="*/ 6351 h 10115"/>
                <a:gd name="connsiteX33" fmla="*/ 234 w 10000"/>
                <a:gd name="connsiteY33" fmla="*/ 6935 h 10115"/>
                <a:gd name="connsiteX34" fmla="*/ 8 w 10000"/>
                <a:gd name="connsiteY34" fmla="*/ 7593 h 10115"/>
                <a:gd name="connsiteX35" fmla="*/ 384 w 10000"/>
                <a:gd name="connsiteY35" fmla="*/ 7664 h 10115"/>
                <a:gd name="connsiteX36" fmla="*/ 458 w 10000"/>
                <a:gd name="connsiteY36" fmla="*/ 8245 h 10115"/>
                <a:gd name="connsiteX37" fmla="*/ 684 w 10000"/>
                <a:gd name="connsiteY37" fmla="*/ 8831 h 10115"/>
                <a:gd name="connsiteX38" fmla="*/ 1059 w 10000"/>
                <a:gd name="connsiteY38" fmla="*/ 10000 h 10115"/>
                <a:gd name="connsiteX39" fmla="*/ 3268 w 10000"/>
                <a:gd name="connsiteY39" fmla="*/ 9947 h 10115"/>
                <a:gd name="connsiteX40" fmla="*/ 5428 w 10000"/>
                <a:gd name="connsiteY40" fmla="*/ 8984 h 10115"/>
                <a:gd name="connsiteX41" fmla="*/ 5884 w 10000"/>
                <a:gd name="connsiteY41" fmla="*/ 8740 h 10115"/>
                <a:gd name="connsiteX42" fmla="*/ 6040 w 10000"/>
                <a:gd name="connsiteY42" fmla="*/ 8368 h 10115"/>
                <a:gd name="connsiteX43" fmla="*/ 6382 w 10000"/>
                <a:gd name="connsiteY43" fmla="*/ 7982 h 10115"/>
                <a:gd name="connsiteX44" fmla="*/ 6428 w 10000"/>
                <a:gd name="connsiteY44" fmla="*/ 8181 h 10115"/>
                <a:gd name="connsiteX45" fmla="*/ 6444 w 10000"/>
                <a:gd name="connsiteY45" fmla="*/ 8428 h 10115"/>
                <a:gd name="connsiteX46" fmla="*/ 6766 w 10000"/>
                <a:gd name="connsiteY46" fmla="*/ 9268 h 10115"/>
                <a:gd name="connsiteX0" fmla="*/ 7446 w 10000"/>
                <a:gd name="connsiteY0" fmla="*/ 9488 h 10039"/>
                <a:gd name="connsiteX1" fmla="*/ 7446 w 10000"/>
                <a:gd name="connsiteY1" fmla="*/ 8978 h 10039"/>
                <a:gd name="connsiteX2" fmla="*/ 7821 w 10000"/>
                <a:gd name="connsiteY2" fmla="*/ 8978 h 10039"/>
                <a:gd name="connsiteX3" fmla="*/ 8047 w 10000"/>
                <a:gd name="connsiteY3" fmla="*/ 8029 h 10039"/>
                <a:gd name="connsiteX4" fmla="*/ 8648 w 10000"/>
                <a:gd name="connsiteY4" fmla="*/ 7444 h 10039"/>
                <a:gd name="connsiteX5" fmla="*/ 8873 w 10000"/>
                <a:gd name="connsiteY5" fmla="*/ 6351 h 10039"/>
                <a:gd name="connsiteX6" fmla="*/ 8722 w 10000"/>
                <a:gd name="connsiteY6" fmla="*/ 5768 h 10039"/>
                <a:gd name="connsiteX7" fmla="*/ 9098 w 10000"/>
                <a:gd name="connsiteY7" fmla="*/ 4525 h 10039"/>
                <a:gd name="connsiteX8" fmla="*/ 9399 w 10000"/>
                <a:gd name="connsiteY8" fmla="*/ 4160 h 10039"/>
                <a:gd name="connsiteX9" fmla="*/ 10000 w 10000"/>
                <a:gd name="connsiteY9" fmla="*/ 3576 h 10039"/>
                <a:gd name="connsiteX10" fmla="*/ 9774 w 10000"/>
                <a:gd name="connsiteY10" fmla="*/ 3502 h 10039"/>
                <a:gd name="connsiteX11" fmla="*/ 9399 w 10000"/>
                <a:gd name="connsiteY11" fmla="*/ 3140 h 10039"/>
                <a:gd name="connsiteX12" fmla="*/ 9173 w 10000"/>
                <a:gd name="connsiteY12" fmla="*/ 2044 h 10039"/>
                <a:gd name="connsiteX13" fmla="*/ 9173 w 10000"/>
                <a:gd name="connsiteY13" fmla="*/ 1460 h 10039"/>
                <a:gd name="connsiteX14" fmla="*/ 9098 w 10000"/>
                <a:gd name="connsiteY14" fmla="*/ 729 h 10039"/>
                <a:gd name="connsiteX15" fmla="*/ 8873 w 10000"/>
                <a:gd name="connsiteY15" fmla="*/ 511 h 10039"/>
                <a:gd name="connsiteX16" fmla="*/ 8497 w 10000"/>
                <a:gd name="connsiteY16" fmla="*/ 219 h 10039"/>
                <a:gd name="connsiteX17" fmla="*/ 8272 w 10000"/>
                <a:gd name="connsiteY17" fmla="*/ 0 h 10039"/>
                <a:gd name="connsiteX18" fmla="*/ 7821 w 10000"/>
                <a:gd name="connsiteY18" fmla="*/ 293 h 10039"/>
                <a:gd name="connsiteX19" fmla="*/ 7370 w 10000"/>
                <a:gd name="connsiteY19" fmla="*/ 729 h 10039"/>
                <a:gd name="connsiteX20" fmla="*/ 6769 w 10000"/>
                <a:gd name="connsiteY20" fmla="*/ 729 h 10039"/>
                <a:gd name="connsiteX21" fmla="*/ 5717 w 10000"/>
                <a:gd name="connsiteY21" fmla="*/ 729 h 10039"/>
                <a:gd name="connsiteX22" fmla="*/ 5717 w 10000"/>
                <a:gd name="connsiteY22" fmla="*/ 658 h 10039"/>
                <a:gd name="connsiteX23" fmla="*/ 5643 w 10000"/>
                <a:gd name="connsiteY23" fmla="*/ 729 h 10039"/>
                <a:gd name="connsiteX24" fmla="*/ 1961 w 10000"/>
                <a:gd name="connsiteY24" fmla="*/ 729 h 10039"/>
                <a:gd name="connsiteX25" fmla="*/ 1961 w 10000"/>
                <a:gd name="connsiteY25" fmla="*/ 2263 h 10039"/>
                <a:gd name="connsiteX26" fmla="*/ 1285 w 10000"/>
                <a:gd name="connsiteY26" fmla="*/ 2263 h 10039"/>
                <a:gd name="connsiteX27" fmla="*/ 1285 w 10000"/>
                <a:gd name="connsiteY27" fmla="*/ 2556 h 10039"/>
                <a:gd name="connsiteX28" fmla="*/ 1285 w 10000"/>
                <a:gd name="connsiteY28" fmla="*/ 5179 h 10039"/>
                <a:gd name="connsiteX29" fmla="*/ 1135 w 10000"/>
                <a:gd name="connsiteY29" fmla="*/ 5327 h 10039"/>
                <a:gd name="connsiteX30" fmla="*/ 684 w 10000"/>
                <a:gd name="connsiteY30" fmla="*/ 5621 h 10039"/>
                <a:gd name="connsiteX31" fmla="*/ 609 w 10000"/>
                <a:gd name="connsiteY31" fmla="*/ 5986 h 10039"/>
                <a:gd name="connsiteX32" fmla="*/ 384 w 10000"/>
                <a:gd name="connsiteY32" fmla="*/ 6351 h 10039"/>
                <a:gd name="connsiteX33" fmla="*/ 234 w 10000"/>
                <a:gd name="connsiteY33" fmla="*/ 6935 h 10039"/>
                <a:gd name="connsiteX34" fmla="*/ 8 w 10000"/>
                <a:gd name="connsiteY34" fmla="*/ 7593 h 10039"/>
                <a:gd name="connsiteX35" fmla="*/ 384 w 10000"/>
                <a:gd name="connsiteY35" fmla="*/ 7664 h 10039"/>
                <a:gd name="connsiteX36" fmla="*/ 458 w 10000"/>
                <a:gd name="connsiteY36" fmla="*/ 8245 h 10039"/>
                <a:gd name="connsiteX37" fmla="*/ 684 w 10000"/>
                <a:gd name="connsiteY37" fmla="*/ 8831 h 10039"/>
                <a:gd name="connsiteX38" fmla="*/ 1059 w 10000"/>
                <a:gd name="connsiteY38" fmla="*/ 10000 h 10039"/>
                <a:gd name="connsiteX39" fmla="*/ 4939 w 10000"/>
                <a:gd name="connsiteY39" fmla="*/ 9433 h 10039"/>
                <a:gd name="connsiteX40" fmla="*/ 5428 w 10000"/>
                <a:gd name="connsiteY40" fmla="*/ 8984 h 10039"/>
                <a:gd name="connsiteX41" fmla="*/ 5884 w 10000"/>
                <a:gd name="connsiteY41" fmla="*/ 8740 h 10039"/>
                <a:gd name="connsiteX42" fmla="*/ 6040 w 10000"/>
                <a:gd name="connsiteY42" fmla="*/ 8368 h 10039"/>
                <a:gd name="connsiteX43" fmla="*/ 6382 w 10000"/>
                <a:gd name="connsiteY43" fmla="*/ 7982 h 10039"/>
                <a:gd name="connsiteX44" fmla="*/ 6428 w 10000"/>
                <a:gd name="connsiteY44" fmla="*/ 8181 h 10039"/>
                <a:gd name="connsiteX45" fmla="*/ 6444 w 10000"/>
                <a:gd name="connsiteY45" fmla="*/ 8428 h 10039"/>
                <a:gd name="connsiteX46" fmla="*/ 6766 w 10000"/>
                <a:gd name="connsiteY46" fmla="*/ 9268 h 10039"/>
                <a:gd name="connsiteX0" fmla="*/ 7446 w 10000"/>
                <a:gd name="connsiteY0" fmla="*/ 9488 h 10039"/>
                <a:gd name="connsiteX1" fmla="*/ 7446 w 10000"/>
                <a:gd name="connsiteY1" fmla="*/ 8978 h 10039"/>
                <a:gd name="connsiteX2" fmla="*/ 7821 w 10000"/>
                <a:gd name="connsiteY2" fmla="*/ 8978 h 10039"/>
                <a:gd name="connsiteX3" fmla="*/ 8047 w 10000"/>
                <a:gd name="connsiteY3" fmla="*/ 8029 h 10039"/>
                <a:gd name="connsiteX4" fmla="*/ 8648 w 10000"/>
                <a:gd name="connsiteY4" fmla="*/ 7444 h 10039"/>
                <a:gd name="connsiteX5" fmla="*/ 8873 w 10000"/>
                <a:gd name="connsiteY5" fmla="*/ 6351 h 10039"/>
                <a:gd name="connsiteX6" fmla="*/ 8722 w 10000"/>
                <a:gd name="connsiteY6" fmla="*/ 5768 h 10039"/>
                <a:gd name="connsiteX7" fmla="*/ 9098 w 10000"/>
                <a:gd name="connsiteY7" fmla="*/ 4525 h 10039"/>
                <a:gd name="connsiteX8" fmla="*/ 9399 w 10000"/>
                <a:gd name="connsiteY8" fmla="*/ 4160 h 10039"/>
                <a:gd name="connsiteX9" fmla="*/ 10000 w 10000"/>
                <a:gd name="connsiteY9" fmla="*/ 3576 h 10039"/>
                <a:gd name="connsiteX10" fmla="*/ 9774 w 10000"/>
                <a:gd name="connsiteY10" fmla="*/ 3502 h 10039"/>
                <a:gd name="connsiteX11" fmla="*/ 9399 w 10000"/>
                <a:gd name="connsiteY11" fmla="*/ 3140 h 10039"/>
                <a:gd name="connsiteX12" fmla="*/ 9173 w 10000"/>
                <a:gd name="connsiteY12" fmla="*/ 2044 h 10039"/>
                <a:gd name="connsiteX13" fmla="*/ 9173 w 10000"/>
                <a:gd name="connsiteY13" fmla="*/ 1460 h 10039"/>
                <a:gd name="connsiteX14" fmla="*/ 9098 w 10000"/>
                <a:gd name="connsiteY14" fmla="*/ 729 h 10039"/>
                <a:gd name="connsiteX15" fmla="*/ 8873 w 10000"/>
                <a:gd name="connsiteY15" fmla="*/ 511 h 10039"/>
                <a:gd name="connsiteX16" fmla="*/ 8497 w 10000"/>
                <a:gd name="connsiteY16" fmla="*/ 219 h 10039"/>
                <a:gd name="connsiteX17" fmla="*/ 8272 w 10000"/>
                <a:gd name="connsiteY17" fmla="*/ 0 h 10039"/>
                <a:gd name="connsiteX18" fmla="*/ 7821 w 10000"/>
                <a:gd name="connsiteY18" fmla="*/ 293 h 10039"/>
                <a:gd name="connsiteX19" fmla="*/ 7370 w 10000"/>
                <a:gd name="connsiteY19" fmla="*/ 729 h 10039"/>
                <a:gd name="connsiteX20" fmla="*/ 6769 w 10000"/>
                <a:gd name="connsiteY20" fmla="*/ 729 h 10039"/>
                <a:gd name="connsiteX21" fmla="*/ 5717 w 10000"/>
                <a:gd name="connsiteY21" fmla="*/ 729 h 10039"/>
                <a:gd name="connsiteX22" fmla="*/ 5717 w 10000"/>
                <a:gd name="connsiteY22" fmla="*/ 658 h 10039"/>
                <a:gd name="connsiteX23" fmla="*/ 5643 w 10000"/>
                <a:gd name="connsiteY23" fmla="*/ 729 h 10039"/>
                <a:gd name="connsiteX24" fmla="*/ 1961 w 10000"/>
                <a:gd name="connsiteY24" fmla="*/ 729 h 10039"/>
                <a:gd name="connsiteX25" fmla="*/ 1961 w 10000"/>
                <a:gd name="connsiteY25" fmla="*/ 2263 h 10039"/>
                <a:gd name="connsiteX26" fmla="*/ 1285 w 10000"/>
                <a:gd name="connsiteY26" fmla="*/ 2263 h 10039"/>
                <a:gd name="connsiteX27" fmla="*/ 1285 w 10000"/>
                <a:gd name="connsiteY27" fmla="*/ 2556 h 10039"/>
                <a:gd name="connsiteX28" fmla="*/ 1285 w 10000"/>
                <a:gd name="connsiteY28" fmla="*/ 5179 h 10039"/>
                <a:gd name="connsiteX29" fmla="*/ 1135 w 10000"/>
                <a:gd name="connsiteY29" fmla="*/ 5327 h 10039"/>
                <a:gd name="connsiteX30" fmla="*/ 684 w 10000"/>
                <a:gd name="connsiteY30" fmla="*/ 5621 h 10039"/>
                <a:gd name="connsiteX31" fmla="*/ 609 w 10000"/>
                <a:gd name="connsiteY31" fmla="*/ 5986 h 10039"/>
                <a:gd name="connsiteX32" fmla="*/ 384 w 10000"/>
                <a:gd name="connsiteY32" fmla="*/ 6351 h 10039"/>
                <a:gd name="connsiteX33" fmla="*/ 234 w 10000"/>
                <a:gd name="connsiteY33" fmla="*/ 6935 h 10039"/>
                <a:gd name="connsiteX34" fmla="*/ 8 w 10000"/>
                <a:gd name="connsiteY34" fmla="*/ 7593 h 10039"/>
                <a:gd name="connsiteX35" fmla="*/ 384 w 10000"/>
                <a:gd name="connsiteY35" fmla="*/ 7664 h 10039"/>
                <a:gd name="connsiteX36" fmla="*/ 458 w 10000"/>
                <a:gd name="connsiteY36" fmla="*/ 8245 h 10039"/>
                <a:gd name="connsiteX37" fmla="*/ 684 w 10000"/>
                <a:gd name="connsiteY37" fmla="*/ 8831 h 10039"/>
                <a:gd name="connsiteX38" fmla="*/ 1059 w 10000"/>
                <a:gd name="connsiteY38" fmla="*/ 10000 h 10039"/>
                <a:gd name="connsiteX39" fmla="*/ 4939 w 10000"/>
                <a:gd name="connsiteY39" fmla="*/ 9433 h 10039"/>
                <a:gd name="connsiteX40" fmla="*/ 5428 w 10000"/>
                <a:gd name="connsiteY40" fmla="*/ 8984 h 10039"/>
                <a:gd name="connsiteX41" fmla="*/ 5884 w 10000"/>
                <a:gd name="connsiteY41" fmla="*/ 8740 h 10039"/>
                <a:gd name="connsiteX42" fmla="*/ 6040 w 10000"/>
                <a:gd name="connsiteY42" fmla="*/ 8368 h 10039"/>
                <a:gd name="connsiteX43" fmla="*/ 6382 w 10000"/>
                <a:gd name="connsiteY43" fmla="*/ 7982 h 10039"/>
                <a:gd name="connsiteX44" fmla="*/ 6428 w 10000"/>
                <a:gd name="connsiteY44" fmla="*/ 8181 h 10039"/>
                <a:gd name="connsiteX45" fmla="*/ 6444 w 10000"/>
                <a:gd name="connsiteY45" fmla="*/ 8428 h 10039"/>
                <a:gd name="connsiteX46" fmla="*/ 6766 w 10000"/>
                <a:gd name="connsiteY46" fmla="*/ 9268 h 10039"/>
                <a:gd name="connsiteX0" fmla="*/ 7446 w 10000"/>
                <a:gd name="connsiteY0" fmla="*/ 9488 h 10039"/>
                <a:gd name="connsiteX1" fmla="*/ 7446 w 10000"/>
                <a:gd name="connsiteY1" fmla="*/ 8978 h 10039"/>
                <a:gd name="connsiteX2" fmla="*/ 7821 w 10000"/>
                <a:gd name="connsiteY2" fmla="*/ 8978 h 10039"/>
                <a:gd name="connsiteX3" fmla="*/ 8047 w 10000"/>
                <a:gd name="connsiteY3" fmla="*/ 8029 h 10039"/>
                <a:gd name="connsiteX4" fmla="*/ 8648 w 10000"/>
                <a:gd name="connsiteY4" fmla="*/ 7444 h 10039"/>
                <a:gd name="connsiteX5" fmla="*/ 8873 w 10000"/>
                <a:gd name="connsiteY5" fmla="*/ 6351 h 10039"/>
                <a:gd name="connsiteX6" fmla="*/ 8722 w 10000"/>
                <a:gd name="connsiteY6" fmla="*/ 5768 h 10039"/>
                <a:gd name="connsiteX7" fmla="*/ 9098 w 10000"/>
                <a:gd name="connsiteY7" fmla="*/ 4525 h 10039"/>
                <a:gd name="connsiteX8" fmla="*/ 9399 w 10000"/>
                <a:gd name="connsiteY8" fmla="*/ 4160 h 10039"/>
                <a:gd name="connsiteX9" fmla="*/ 10000 w 10000"/>
                <a:gd name="connsiteY9" fmla="*/ 3576 h 10039"/>
                <a:gd name="connsiteX10" fmla="*/ 9774 w 10000"/>
                <a:gd name="connsiteY10" fmla="*/ 3502 h 10039"/>
                <a:gd name="connsiteX11" fmla="*/ 9399 w 10000"/>
                <a:gd name="connsiteY11" fmla="*/ 3140 h 10039"/>
                <a:gd name="connsiteX12" fmla="*/ 9173 w 10000"/>
                <a:gd name="connsiteY12" fmla="*/ 2044 h 10039"/>
                <a:gd name="connsiteX13" fmla="*/ 9173 w 10000"/>
                <a:gd name="connsiteY13" fmla="*/ 1460 h 10039"/>
                <a:gd name="connsiteX14" fmla="*/ 9098 w 10000"/>
                <a:gd name="connsiteY14" fmla="*/ 729 h 10039"/>
                <a:gd name="connsiteX15" fmla="*/ 8873 w 10000"/>
                <a:gd name="connsiteY15" fmla="*/ 511 h 10039"/>
                <a:gd name="connsiteX16" fmla="*/ 8497 w 10000"/>
                <a:gd name="connsiteY16" fmla="*/ 219 h 10039"/>
                <a:gd name="connsiteX17" fmla="*/ 8272 w 10000"/>
                <a:gd name="connsiteY17" fmla="*/ 0 h 10039"/>
                <a:gd name="connsiteX18" fmla="*/ 7821 w 10000"/>
                <a:gd name="connsiteY18" fmla="*/ 293 h 10039"/>
                <a:gd name="connsiteX19" fmla="*/ 7370 w 10000"/>
                <a:gd name="connsiteY19" fmla="*/ 729 h 10039"/>
                <a:gd name="connsiteX20" fmla="*/ 6769 w 10000"/>
                <a:gd name="connsiteY20" fmla="*/ 729 h 10039"/>
                <a:gd name="connsiteX21" fmla="*/ 5717 w 10000"/>
                <a:gd name="connsiteY21" fmla="*/ 729 h 10039"/>
                <a:gd name="connsiteX22" fmla="*/ 5717 w 10000"/>
                <a:gd name="connsiteY22" fmla="*/ 658 h 10039"/>
                <a:gd name="connsiteX23" fmla="*/ 5643 w 10000"/>
                <a:gd name="connsiteY23" fmla="*/ 729 h 10039"/>
                <a:gd name="connsiteX24" fmla="*/ 1961 w 10000"/>
                <a:gd name="connsiteY24" fmla="*/ 729 h 10039"/>
                <a:gd name="connsiteX25" fmla="*/ 1961 w 10000"/>
                <a:gd name="connsiteY25" fmla="*/ 2263 h 10039"/>
                <a:gd name="connsiteX26" fmla="*/ 1285 w 10000"/>
                <a:gd name="connsiteY26" fmla="*/ 2263 h 10039"/>
                <a:gd name="connsiteX27" fmla="*/ 1285 w 10000"/>
                <a:gd name="connsiteY27" fmla="*/ 2556 h 10039"/>
                <a:gd name="connsiteX28" fmla="*/ 1285 w 10000"/>
                <a:gd name="connsiteY28" fmla="*/ 5179 h 10039"/>
                <a:gd name="connsiteX29" fmla="*/ 1135 w 10000"/>
                <a:gd name="connsiteY29" fmla="*/ 5327 h 10039"/>
                <a:gd name="connsiteX30" fmla="*/ 684 w 10000"/>
                <a:gd name="connsiteY30" fmla="*/ 5621 h 10039"/>
                <a:gd name="connsiteX31" fmla="*/ 609 w 10000"/>
                <a:gd name="connsiteY31" fmla="*/ 5986 h 10039"/>
                <a:gd name="connsiteX32" fmla="*/ 384 w 10000"/>
                <a:gd name="connsiteY32" fmla="*/ 6351 h 10039"/>
                <a:gd name="connsiteX33" fmla="*/ 234 w 10000"/>
                <a:gd name="connsiteY33" fmla="*/ 6935 h 10039"/>
                <a:gd name="connsiteX34" fmla="*/ 8 w 10000"/>
                <a:gd name="connsiteY34" fmla="*/ 7593 h 10039"/>
                <a:gd name="connsiteX35" fmla="*/ 384 w 10000"/>
                <a:gd name="connsiteY35" fmla="*/ 7664 h 10039"/>
                <a:gd name="connsiteX36" fmla="*/ 458 w 10000"/>
                <a:gd name="connsiteY36" fmla="*/ 8245 h 10039"/>
                <a:gd name="connsiteX37" fmla="*/ 684 w 10000"/>
                <a:gd name="connsiteY37" fmla="*/ 8831 h 10039"/>
                <a:gd name="connsiteX38" fmla="*/ 1059 w 10000"/>
                <a:gd name="connsiteY38" fmla="*/ 10000 h 10039"/>
                <a:gd name="connsiteX39" fmla="*/ 4939 w 10000"/>
                <a:gd name="connsiteY39" fmla="*/ 9433 h 10039"/>
                <a:gd name="connsiteX40" fmla="*/ 5409 w 10000"/>
                <a:gd name="connsiteY40" fmla="*/ 8947 h 10039"/>
                <a:gd name="connsiteX41" fmla="*/ 5884 w 10000"/>
                <a:gd name="connsiteY41" fmla="*/ 8740 h 10039"/>
                <a:gd name="connsiteX42" fmla="*/ 6040 w 10000"/>
                <a:gd name="connsiteY42" fmla="*/ 8368 h 10039"/>
                <a:gd name="connsiteX43" fmla="*/ 6382 w 10000"/>
                <a:gd name="connsiteY43" fmla="*/ 7982 h 10039"/>
                <a:gd name="connsiteX44" fmla="*/ 6428 w 10000"/>
                <a:gd name="connsiteY44" fmla="*/ 8181 h 10039"/>
                <a:gd name="connsiteX45" fmla="*/ 6444 w 10000"/>
                <a:gd name="connsiteY45" fmla="*/ 8428 h 10039"/>
                <a:gd name="connsiteX46" fmla="*/ 6766 w 10000"/>
                <a:gd name="connsiteY46" fmla="*/ 9268 h 10039"/>
                <a:gd name="connsiteX0" fmla="*/ 7446 w 10000"/>
                <a:gd name="connsiteY0" fmla="*/ 9488 h 10039"/>
                <a:gd name="connsiteX1" fmla="*/ 7446 w 10000"/>
                <a:gd name="connsiteY1" fmla="*/ 8978 h 10039"/>
                <a:gd name="connsiteX2" fmla="*/ 7821 w 10000"/>
                <a:gd name="connsiteY2" fmla="*/ 8978 h 10039"/>
                <a:gd name="connsiteX3" fmla="*/ 8047 w 10000"/>
                <a:gd name="connsiteY3" fmla="*/ 8029 h 10039"/>
                <a:gd name="connsiteX4" fmla="*/ 8648 w 10000"/>
                <a:gd name="connsiteY4" fmla="*/ 7444 h 10039"/>
                <a:gd name="connsiteX5" fmla="*/ 8873 w 10000"/>
                <a:gd name="connsiteY5" fmla="*/ 6351 h 10039"/>
                <a:gd name="connsiteX6" fmla="*/ 8722 w 10000"/>
                <a:gd name="connsiteY6" fmla="*/ 5768 h 10039"/>
                <a:gd name="connsiteX7" fmla="*/ 9098 w 10000"/>
                <a:gd name="connsiteY7" fmla="*/ 4525 h 10039"/>
                <a:gd name="connsiteX8" fmla="*/ 9399 w 10000"/>
                <a:gd name="connsiteY8" fmla="*/ 4160 h 10039"/>
                <a:gd name="connsiteX9" fmla="*/ 10000 w 10000"/>
                <a:gd name="connsiteY9" fmla="*/ 3576 h 10039"/>
                <a:gd name="connsiteX10" fmla="*/ 9774 w 10000"/>
                <a:gd name="connsiteY10" fmla="*/ 3502 h 10039"/>
                <a:gd name="connsiteX11" fmla="*/ 9399 w 10000"/>
                <a:gd name="connsiteY11" fmla="*/ 3140 h 10039"/>
                <a:gd name="connsiteX12" fmla="*/ 9173 w 10000"/>
                <a:gd name="connsiteY12" fmla="*/ 2044 h 10039"/>
                <a:gd name="connsiteX13" fmla="*/ 9173 w 10000"/>
                <a:gd name="connsiteY13" fmla="*/ 1460 h 10039"/>
                <a:gd name="connsiteX14" fmla="*/ 9098 w 10000"/>
                <a:gd name="connsiteY14" fmla="*/ 729 h 10039"/>
                <a:gd name="connsiteX15" fmla="*/ 8873 w 10000"/>
                <a:gd name="connsiteY15" fmla="*/ 511 h 10039"/>
                <a:gd name="connsiteX16" fmla="*/ 8497 w 10000"/>
                <a:gd name="connsiteY16" fmla="*/ 219 h 10039"/>
                <a:gd name="connsiteX17" fmla="*/ 8272 w 10000"/>
                <a:gd name="connsiteY17" fmla="*/ 0 h 10039"/>
                <a:gd name="connsiteX18" fmla="*/ 7821 w 10000"/>
                <a:gd name="connsiteY18" fmla="*/ 293 h 10039"/>
                <a:gd name="connsiteX19" fmla="*/ 7370 w 10000"/>
                <a:gd name="connsiteY19" fmla="*/ 729 h 10039"/>
                <a:gd name="connsiteX20" fmla="*/ 6769 w 10000"/>
                <a:gd name="connsiteY20" fmla="*/ 729 h 10039"/>
                <a:gd name="connsiteX21" fmla="*/ 5717 w 10000"/>
                <a:gd name="connsiteY21" fmla="*/ 729 h 10039"/>
                <a:gd name="connsiteX22" fmla="*/ 5717 w 10000"/>
                <a:gd name="connsiteY22" fmla="*/ 658 h 10039"/>
                <a:gd name="connsiteX23" fmla="*/ 5643 w 10000"/>
                <a:gd name="connsiteY23" fmla="*/ 729 h 10039"/>
                <a:gd name="connsiteX24" fmla="*/ 1961 w 10000"/>
                <a:gd name="connsiteY24" fmla="*/ 729 h 10039"/>
                <a:gd name="connsiteX25" fmla="*/ 1961 w 10000"/>
                <a:gd name="connsiteY25" fmla="*/ 2263 h 10039"/>
                <a:gd name="connsiteX26" fmla="*/ 1285 w 10000"/>
                <a:gd name="connsiteY26" fmla="*/ 2263 h 10039"/>
                <a:gd name="connsiteX27" fmla="*/ 1285 w 10000"/>
                <a:gd name="connsiteY27" fmla="*/ 2556 h 10039"/>
                <a:gd name="connsiteX28" fmla="*/ 1285 w 10000"/>
                <a:gd name="connsiteY28" fmla="*/ 5179 h 10039"/>
                <a:gd name="connsiteX29" fmla="*/ 1135 w 10000"/>
                <a:gd name="connsiteY29" fmla="*/ 5327 h 10039"/>
                <a:gd name="connsiteX30" fmla="*/ 684 w 10000"/>
                <a:gd name="connsiteY30" fmla="*/ 5621 h 10039"/>
                <a:gd name="connsiteX31" fmla="*/ 609 w 10000"/>
                <a:gd name="connsiteY31" fmla="*/ 5986 h 10039"/>
                <a:gd name="connsiteX32" fmla="*/ 384 w 10000"/>
                <a:gd name="connsiteY32" fmla="*/ 6351 h 10039"/>
                <a:gd name="connsiteX33" fmla="*/ 234 w 10000"/>
                <a:gd name="connsiteY33" fmla="*/ 6935 h 10039"/>
                <a:gd name="connsiteX34" fmla="*/ 8 w 10000"/>
                <a:gd name="connsiteY34" fmla="*/ 7593 h 10039"/>
                <a:gd name="connsiteX35" fmla="*/ 384 w 10000"/>
                <a:gd name="connsiteY35" fmla="*/ 7664 h 10039"/>
                <a:gd name="connsiteX36" fmla="*/ 458 w 10000"/>
                <a:gd name="connsiteY36" fmla="*/ 8245 h 10039"/>
                <a:gd name="connsiteX37" fmla="*/ 684 w 10000"/>
                <a:gd name="connsiteY37" fmla="*/ 8831 h 10039"/>
                <a:gd name="connsiteX38" fmla="*/ 1059 w 10000"/>
                <a:gd name="connsiteY38" fmla="*/ 10000 h 10039"/>
                <a:gd name="connsiteX39" fmla="*/ 4939 w 10000"/>
                <a:gd name="connsiteY39" fmla="*/ 9433 h 10039"/>
                <a:gd name="connsiteX40" fmla="*/ 5409 w 10000"/>
                <a:gd name="connsiteY40" fmla="*/ 8947 h 10039"/>
                <a:gd name="connsiteX41" fmla="*/ 5884 w 10000"/>
                <a:gd name="connsiteY41" fmla="*/ 8740 h 10039"/>
                <a:gd name="connsiteX42" fmla="*/ 6040 w 10000"/>
                <a:gd name="connsiteY42" fmla="*/ 8368 h 10039"/>
                <a:gd name="connsiteX43" fmla="*/ 6382 w 10000"/>
                <a:gd name="connsiteY43" fmla="*/ 7982 h 10039"/>
                <a:gd name="connsiteX44" fmla="*/ 6428 w 10000"/>
                <a:gd name="connsiteY44" fmla="*/ 8181 h 10039"/>
                <a:gd name="connsiteX45" fmla="*/ 6444 w 10000"/>
                <a:gd name="connsiteY45" fmla="*/ 8428 h 10039"/>
                <a:gd name="connsiteX46" fmla="*/ 6766 w 10000"/>
                <a:gd name="connsiteY46" fmla="*/ 9268 h 10039"/>
                <a:gd name="connsiteX0" fmla="*/ 7446 w 10000"/>
                <a:gd name="connsiteY0" fmla="*/ 9488 h 10039"/>
                <a:gd name="connsiteX1" fmla="*/ 7446 w 10000"/>
                <a:gd name="connsiteY1" fmla="*/ 8978 h 10039"/>
                <a:gd name="connsiteX2" fmla="*/ 7821 w 10000"/>
                <a:gd name="connsiteY2" fmla="*/ 8978 h 10039"/>
                <a:gd name="connsiteX3" fmla="*/ 8047 w 10000"/>
                <a:gd name="connsiteY3" fmla="*/ 8029 h 10039"/>
                <a:gd name="connsiteX4" fmla="*/ 8648 w 10000"/>
                <a:gd name="connsiteY4" fmla="*/ 7444 h 10039"/>
                <a:gd name="connsiteX5" fmla="*/ 8873 w 10000"/>
                <a:gd name="connsiteY5" fmla="*/ 6351 h 10039"/>
                <a:gd name="connsiteX6" fmla="*/ 8722 w 10000"/>
                <a:gd name="connsiteY6" fmla="*/ 5768 h 10039"/>
                <a:gd name="connsiteX7" fmla="*/ 9098 w 10000"/>
                <a:gd name="connsiteY7" fmla="*/ 4525 h 10039"/>
                <a:gd name="connsiteX8" fmla="*/ 9399 w 10000"/>
                <a:gd name="connsiteY8" fmla="*/ 4160 h 10039"/>
                <a:gd name="connsiteX9" fmla="*/ 10000 w 10000"/>
                <a:gd name="connsiteY9" fmla="*/ 3576 h 10039"/>
                <a:gd name="connsiteX10" fmla="*/ 9774 w 10000"/>
                <a:gd name="connsiteY10" fmla="*/ 3502 h 10039"/>
                <a:gd name="connsiteX11" fmla="*/ 9399 w 10000"/>
                <a:gd name="connsiteY11" fmla="*/ 3140 h 10039"/>
                <a:gd name="connsiteX12" fmla="*/ 9173 w 10000"/>
                <a:gd name="connsiteY12" fmla="*/ 2044 h 10039"/>
                <a:gd name="connsiteX13" fmla="*/ 9173 w 10000"/>
                <a:gd name="connsiteY13" fmla="*/ 1460 h 10039"/>
                <a:gd name="connsiteX14" fmla="*/ 9098 w 10000"/>
                <a:gd name="connsiteY14" fmla="*/ 729 h 10039"/>
                <a:gd name="connsiteX15" fmla="*/ 8873 w 10000"/>
                <a:gd name="connsiteY15" fmla="*/ 511 h 10039"/>
                <a:gd name="connsiteX16" fmla="*/ 8497 w 10000"/>
                <a:gd name="connsiteY16" fmla="*/ 219 h 10039"/>
                <a:gd name="connsiteX17" fmla="*/ 8272 w 10000"/>
                <a:gd name="connsiteY17" fmla="*/ 0 h 10039"/>
                <a:gd name="connsiteX18" fmla="*/ 7821 w 10000"/>
                <a:gd name="connsiteY18" fmla="*/ 293 h 10039"/>
                <a:gd name="connsiteX19" fmla="*/ 7370 w 10000"/>
                <a:gd name="connsiteY19" fmla="*/ 729 h 10039"/>
                <a:gd name="connsiteX20" fmla="*/ 6769 w 10000"/>
                <a:gd name="connsiteY20" fmla="*/ 729 h 10039"/>
                <a:gd name="connsiteX21" fmla="*/ 5717 w 10000"/>
                <a:gd name="connsiteY21" fmla="*/ 729 h 10039"/>
                <a:gd name="connsiteX22" fmla="*/ 5717 w 10000"/>
                <a:gd name="connsiteY22" fmla="*/ 658 h 10039"/>
                <a:gd name="connsiteX23" fmla="*/ 5643 w 10000"/>
                <a:gd name="connsiteY23" fmla="*/ 729 h 10039"/>
                <a:gd name="connsiteX24" fmla="*/ 1961 w 10000"/>
                <a:gd name="connsiteY24" fmla="*/ 729 h 10039"/>
                <a:gd name="connsiteX25" fmla="*/ 1961 w 10000"/>
                <a:gd name="connsiteY25" fmla="*/ 2263 h 10039"/>
                <a:gd name="connsiteX26" fmla="*/ 1285 w 10000"/>
                <a:gd name="connsiteY26" fmla="*/ 2263 h 10039"/>
                <a:gd name="connsiteX27" fmla="*/ 1285 w 10000"/>
                <a:gd name="connsiteY27" fmla="*/ 2556 h 10039"/>
                <a:gd name="connsiteX28" fmla="*/ 1285 w 10000"/>
                <a:gd name="connsiteY28" fmla="*/ 5179 h 10039"/>
                <a:gd name="connsiteX29" fmla="*/ 1135 w 10000"/>
                <a:gd name="connsiteY29" fmla="*/ 5327 h 10039"/>
                <a:gd name="connsiteX30" fmla="*/ 684 w 10000"/>
                <a:gd name="connsiteY30" fmla="*/ 5621 h 10039"/>
                <a:gd name="connsiteX31" fmla="*/ 609 w 10000"/>
                <a:gd name="connsiteY31" fmla="*/ 5986 h 10039"/>
                <a:gd name="connsiteX32" fmla="*/ 384 w 10000"/>
                <a:gd name="connsiteY32" fmla="*/ 6351 h 10039"/>
                <a:gd name="connsiteX33" fmla="*/ 234 w 10000"/>
                <a:gd name="connsiteY33" fmla="*/ 6935 h 10039"/>
                <a:gd name="connsiteX34" fmla="*/ 8 w 10000"/>
                <a:gd name="connsiteY34" fmla="*/ 7593 h 10039"/>
                <a:gd name="connsiteX35" fmla="*/ 384 w 10000"/>
                <a:gd name="connsiteY35" fmla="*/ 7664 h 10039"/>
                <a:gd name="connsiteX36" fmla="*/ 458 w 10000"/>
                <a:gd name="connsiteY36" fmla="*/ 8245 h 10039"/>
                <a:gd name="connsiteX37" fmla="*/ 684 w 10000"/>
                <a:gd name="connsiteY37" fmla="*/ 8831 h 10039"/>
                <a:gd name="connsiteX38" fmla="*/ 1059 w 10000"/>
                <a:gd name="connsiteY38" fmla="*/ 10000 h 10039"/>
                <a:gd name="connsiteX39" fmla="*/ 4939 w 10000"/>
                <a:gd name="connsiteY39" fmla="*/ 9433 h 10039"/>
                <a:gd name="connsiteX40" fmla="*/ 5409 w 10000"/>
                <a:gd name="connsiteY40" fmla="*/ 8947 h 10039"/>
                <a:gd name="connsiteX41" fmla="*/ 5884 w 10000"/>
                <a:gd name="connsiteY41" fmla="*/ 8740 h 10039"/>
                <a:gd name="connsiteX42" fmla="*/ 6040 w 10000"/>
                <a:gd name="connsiteY42" fmla="*/ 8368 h 10039"/>
                <a:gd name="connsiteX43" fmla="*/ 6382 w 10000"/>
                <a:gd name="connsiteY43" fmla="*/ 7982 h 10039"/>
                <a:gd name="connsiteX44" fmla="*/ 6428 w 10000"/>
                <a:gd name="connsiteY44" fmla="*/ 8181 h 10039"/>
                <a:gd name="connsiteX45" fmla="*/ 6444 w 10000"/>
                <a:gd name="connsiteY45" fmla="*/ 8428 h 10039"/>
                <a:gd name="connsiteX46" fmla="*/ 6766 w 10000"/>
                <a:gd name="connsiteY46" fmla="*/ 9268 h 10039"/>
                <a:gd name="connsiteX0" fmla="*/ 7446 w 10000"/>
                <a:gd name="connsiteY0" fmla="*/ 9488 h 10039"/>
                <a:gd name="connsiteX1" fmla="*/ 7446 w 10000"/>
                <a:gd name="connsiteY1" fmla="*/ 8978 h 10039"/>
                <a:gd name="connsiteX2" fmla="*/ 7821 w 10000"/>
                <a:gd name="connsiteY2" fmla="*/ 8978 h 10039"/>
                <a:gd name="connsiteX3" fmla="*/ 8047 w 10000"/>
                <a:gd name="connsiteY3" fmla="*/ 8029 h 10039"/>
                <a:gd name="connsiteX4" fmla="*/ 8648 w 10000"/>
                <a:gd name="connsiteY4" fmla="*/ 7444 h 10039"/>
                <a:gd name="connsiteX5" fmla="*/ 8873 w 10000"/>
                <a:gd name="connsiteY5" fmla="*/ 6351 h 10039"/>
                <a:gd name="connsiteX6" fmla="*/ 8722 w 10000"/>
                <a:gd name="connsiteY6" fmla="*/ 5768 h 10039"/>
                <a:gd name="connsiteX7" fmla="*/ 9098 w 10000"/>
                <a:gd name="connsiteY7" fmla="*/ 4525 h 10039"/>
                <a:gd name="connsiteX8" fmla="*/ 9399 w 10000"/>
                <a:gd name="connsiteY8" fmla="*/ 4160 h 10039"/>
                <a:gd name="connsiteX9" fmla="*/ 10000 w 10000"/>
                <a:gd name="connsiteY9" fmla="*/ 3576 h 10039"/>
                <a:gd name="connsiteX10" fmla="*/ 9774 w 10000"/>
                <a:gd name="connsiteY10" fmla="*/ 3502 h 10039"/>
                <a:gd name="connsiteX11" fmla="*/ 9399 w 10000"/>
                <a:gd name="connsiteY11" fmla="*/ 3140 h 10039"/>
                <a:gd name="connsiteX12" fmla="*/ 9173 w 10000"/>
                <a:gd name="connsiteY12" fmla="*/ 2044 h 10039"/>
                <a:gd name="connsiteX13" fmla="*/ 9173 w 10000"/>
                <a:gd name="connsiteY13" fmla="*/ 1460 h 10039"/>
                <a:gd name="connsiteX14" fmla="*/ 9098 w 10000"/>
                <a:gd name="connsiteY14" fmla="*/ 729 h 10039"/>
                <a:gd name="connsiteX15" fmla="*/ 8873 w 10000"/>
                <a:gd name="connsiteY15" fmla="*/ 511 h 10039"/>
                <a:gd name="connsiteX16" fmla="*/ 8497 w 10000"/>
                <a:gd name="connsiteY16" fmla="*/ 219 h 10039"/>
                <a:gd name="connsiteX17" fmla="*/ 8272 w 10000"/>
                <a:gd name="connsiteY17" fmla="*/ 0 h 10039"/>
                <a:gd name="connsiteX18" fmla="*/ 7821 w 10000"/>
                <a:gd name="connsiteY18" fmla="*/ 293 h 10039"/>
                <a:gd name="connsiteX19" fmla="*/ 7370 w 10000"/>
                <a:gd name="connsiteY19" fmla="*/ 729 h 10039"/>
                <a:gd name="connsiteX20" fmla="*/ 6769 w 10000"/>
                <a:gd name="connsiteY20" fmla="*/ 729 h 10039"/>
                <a:gd name="connsiteX21" fmla="*/ 5717 w 10000"/>
                <a:gd name="connsiteY21" fmla="*/ 729 h 10039"/>
                <a:gd name="connsiteX22" fmla="*/ 5717 w 10000"/>
                <a:gd name="connsiteY22" fmla="*/ 658 h 10039"/>
                <a:gd name="connsiteX23" fmla="*/ 5643 w 10000"/>
                <a:gd name="connsiteY23" fmla="*/ 729 h 10039"/>
                <a:gd name="connsiteX24" fmla="*/ 1961 w 10000"/>
                <a:gd name="connsiteY24" fmla="*/ 729 h 10039"/>
                <a:gd name="connsiteX25" fmla="*/ 1961 w 10000"/>
                <a:gd name="connsiteY25" fmla="*/ 2263 h 10039"/>
                <a:gd name="connsiteX26" fmla="*/ 1285 w 10000"/>
                <a:gd name="connsiteY26" fmla="*/ 2263 h 10039"/>
                <a:gd name="connsiteX27" fmla="*/ 1285 w 10000"/>
                <a:gd name="connsiteY27" fmla="*/ 2556 h 10039"/>
                <a:gd name="connsiteX28" fmla="*/ 1285 w 10000"/>
                <a:gd name="connsiteY28" fmla="*/ 5179 h 10039"/>
                <a:gd name="connsiteX29" fmla="*/ 1135 w 10000"/>
                <a:gd name="connsiteY29" fmla="*/ 5327 h 10039"/>
                <a:gd name="connsiteX30" fmla="*/ 684 w 10000"/>
                <a:gd name="connsiteY30" fmla="*/ 5621 h 10039"/>
                <a:gd name="connsiteX31" fmla="*/ 609 w 10000"/>
                <a:gd name="connsiteY31" fmla="*/ 5986 h 10039"/>
                <a:gd name="connsiteX32" fmla="*/ 384 w 10000"/>
                <a:gd name="connsiteY32" fmla="*/ 6351 h 10039"/>
                <a:gd name="connsiteX33" fmla="*/ 234 w 10000"/>
                <a:gd name="connsiteY33" fmla="*/ 6935 h 10039"/>
                <a:gd name="connsiteX34" fmla="*/ 8 w 10000"/>
                <a:gd name="connsiteY34" fmla="*/ 7593 h 10039"/>
                <a:gd name="connsiteX35" fmla="*/ 384 w 10000"/>
                <a:gd name="connsiteY35" fmla="*/ 7664 h 10039"/>
                <a:gd name="connsiteX36" fmla="*/ 458 w 10000"/>
                <a:gd name="connsiteY36" fmla="*/ 8245 h 10039"/>
                <a:gd name="connsiteX37" fmla="*/ 684 w 10000"/>
                <a:gd name="connsiteY37" fmla="*/ 8831 h 10039"/>
                <a:gd name="connsiteX38" fmla="*/ 1059 w 10000"/>
                <a:gd name="connsiteY38" fmla="*/ 10000 h 10039"/>
                <a:gd name="connsiteX39" fmla="*/ 4939 w 10000"/>
                <a:gd name="connsiteY39" fmla="*/ 9433 h 10039"/>
                <a:gd name="connsiteX40" fmla="*/ 5409 w 10000"/>
                <a:gd name="connsiteY40" fmla="*/ 8947 h 10039"/>
                <a:gd name="connsiteX41" fmla="*/ 5884 w 10000"/>
                <a:gd name="connsiteY41" fmla="*/ 8740 h 10039"/>
                <a:gd name="connsiteX42" fmla="*/ 6040 w 10000"/>
                <a:gd name="connsiteY42" fmla="*/ 8368 h 10039"/>
                <a:gd name="connsiteX43" fmla="*/ 6382 w 10000"/>
                <a:gd name="connsiteY43" fmla="*/ 7982 h 10039"/>
                <a:gd name="connsiteX44" fmla="*/ 6428 w 10000"/>
                <a:gd name="connsiteY44" fmla="*/ 8181 h 10039"/>
                <a:gd name="connsiteX45" fmla="*/ 6444 w 10000"/>
                <a:gd name="connsiteY45" fmla="*/ 8428 h 10039"/>
                <a:gd name="connsiteX46" fmla="*/ 6766 w 10000"/>
                <a:gd name="connsiteY46" fmla="*/ 9268 h 10039"/>
                <a:gd name="connsiteX0" fmla="*/ 7446 w 10000"/>
                <a:gd name="connsiteY0" fmla="*/ 9488 h 10039"/>
                <a:gd name="connsiteX1" fmla="*/ 7446 w 10000"/>
                <a:gd name="connsiteY1" fmla="*/ 8978 h 10039"/>
                <a:gd name="connsiteX2" fmla="*/ 7821 w 10000"/>
                <a:gd name="connsiteY2" fmla="*/ 8978 h 10039"/>
                <a:gd name="connsiteX3" fmla="*/ 8047 w 10000"/>
                <a:gd name="connsiteY3" fmla="*/ 8029 h 10039"/>
                <a:gd name="connsiteX4" fmla="*/ 8648 w 10000"/>
                <a:gd name="connsiteY4" fmla="*/ 7444 h 10039"/>
                <a:gd name="connsiteX5" fmla="*/ 8873 w 10000"/>
                <a:gd name="connsiteY5" fmla="*/ 6351 h 10039"/>
                <a:gd name="connsiteX6" fmla="*/ 8722 w 10000"/>
                <a:gd name="connsiteY6" fmla="*/ 5768 h 10039"/>
                <a:gd name="connsiteX7" fmla="*/ 9098 w 10000"/>
                <a:gd name="connsiteY7" fmla="*/ 4525 h 10039"/>
                <a:gd name="connsiteX8" fmla="*/ 9399 w 10000"/>
                <a:gd name="connsiteY8" fmla="*/ 4160 h 10039"/>
                <a:gd name="connsiteX9" fmla="*/ 10000 w 10000"/>
                <a:gd name="connsiteY9" fmla="*/ 3576 h 10039"/>
                <a:gd name="connsiteX10" fmla="*/ 9774 w 10000"/>
                <a:gd name="connsiteY10" fmla="*/ 3502 h 10039"/>
                <a:gd name="connsiteX11" fmla="*/ 9399 w 10000"/>
                <a:gd name="connsiteY11" fmla="*/ 3140 h 10039"/>
                <a:gd name="connsiteX12" fmla="*/ 9173 w 10000"/>
                <a:gd name="connsiteY12" fmla="*/ 2044 h 10039"/>
                <a:gd name="connsiteX13" fmla="*/ 9173 w 10000"/>
                <a:gd name="connsiteY13" fmla="*/ 1460 h 10039"/>
                <a:gd name="connsiteX14" fmla="*/ 9098 w 10000"/>
                <a:gd name="connsiteY14" fmla="*/ 729 h 10039"/>
                <a:gd name="connsiteX15" fmla="*/ 8873 w 10000"/>
                <a:gd name="connsiteY15" fmla="*/ 511 h 10039"/>
                <a:gd name="connsiteX16" fmla="*/ 8497 w 10000"/>
                <a:gd name="connsiteY16" fmla="*/ 219 h 10039"/>
                <a:gd name="connsiteX17" fmla="*/ 8272 w 10000"/>
                <a:gd name="connsiteY17" fmla="*/ 0 h 10039"/>
                <a:gd name="connsiteX18" fmla="*/ 7821 w 10000"/>
                <a:gd name="connsiteY18" fmla="*/ 293 h 10039"/>
                <a:gd name="connsiteX19" fmla="*/ 7370 w 10000"/>
                <a:gd name="connsiteY19" fmla="*/ 729 h 10039"/>
                <a:gd name="connsiteX20" fmla="*/ 6769 w 10000"/>
                <a:gd name="connsiteY20" fmla="*/ 729 h 10039"/>
                <a:gd name="connsiteX21" fmla="*/ 5717 w 10000"/>
                <a:gd name="connsiteY21" fmla="*/ 729 h 10039"/>
                <a:gd name="connsiteX22" fmla="*/ 5717 w 10000"/>
                <a:gd name="connsiteY22" fmla="*/ 658 h 10039"/>
                <a:gd name="connsiteX23" fmla="*/ 5643 w 10000"/>
                <a:gd name="connsiteY23" fmla="*/ 729 h 10039"/>
                <a:gd name="connsiteX24" fmla="*/ 1961 w 10000"/>
                <a:gd name="connsiteY24" fmla="*/ 729 h 10039"/>
                <a:gd name="connsiteX25" fmla="*/ 1961 w 10000"/>
                <a:gd name="connsiteY25" fmla="*/ 2263 h 10039"/>
                <a:gd name="connsiteX26" fmla="*/ 1285 w 10000"/>
                <a:gd name="connsiteY26" fmla="*/ 2263 h 10039"/>
                <a:gd name="connsiteX27" fmla="*/ 1285 w 10000"/>
                <a:gd name="connsiteY27" fmla="*/ 2556 h 10039"/>
                <a:gd name="connsiteX28" fmla="*/ 1285 w 10000"/>
                <a:gd name="connsiteY28" fmla="*/ 5179 h 10039"/>
                <a:gd name="connsiteX29" fmla="*/ 1135 w 10000"/>
                <a:gd name="connsiteY29" fmla="*/ 5327 h 10039"/>
                <a:gd name="connsiteX30" fmla="*/ 684 w 10000"/>
                <a:gd name="connsiteY30" fmla="*/ 5621 h 10039"/>
                <a:gd name="connsiteX31" fmla="*/ 609 w 10000"/>
                <a:gd name="connsiteY31" fmla="*/ 5986 h 10039"/>
                <a:gd name="connsiteX32" fmla="*/ 384 w 10000"/>
                <a:gd name="connsiteY32" fmla="*/ 6351 h 10039"/>
                <a:gd name="connsiteX33" fmla="*/ 234 w 10000"/>
                <a:gd name="connsiteY33" fmla="*/ 6935 h 10039"/>
                <a:gd name="connsiteX34" fmla="*/ 8 w 10000"/>
                <a:gd name="connsiteY34" fmla="*/ 7593 h 10039"/>
                <a:gd name="connsiteX35" fmla="*/ 384 w 10000"/>
                <a:gd name="connsiteY35" fmla="*/ 7664 h 10039"/>
                <a:gd name="connsiteX36" fmla="*/ 458 w 10000"/>
                <a:gd name="connsiteY36" fmla="*/ 8245 h 10039"/>
                <a:gd name="connsiteX37" fmla="*/ 684 w 10000"/>
                <a:gd name="connsiteY37" fmla="*/ 8831 h 10039"/>
                <a:gd name="connsiteX38" fmla="*/ 1059 w 10000"/>
                <a:gd name="connsiteY38" fmla="*/ 10000 h 10039"/>
                <a:gd name="connsiteX39" fmla="*/ 4939 w 10000"/>
                <a:gd name="connsiteY39" fmla="*/ 9433 h 10039"/>
                <a:gd name="connsiteX40" fmla="*/ 5409 w 10000"/>
                <a:gd name="connsiteY40" fmla="*/ 8947 h 10039"/>
                <a:gd name="connsiteX41" fmla="*/ 5884 w 10000"/>
                <a:gd name="connsiteY41" fmla="*/ 8740 h 10039"/>
                <a:gd name="connsiteX42" fmla="*/ 6040 w 10000"/>
                <a:gd name="connsiteY42" fmla="*/ 8368 h 10039"/>
                <a:gd name="connsiteX43" fmla="*/ 6382 w 10000"/>
                <a:gd name="connsiteY43" fmla="*/ 7982 h 10039"/>
                <a:gd name="connsiteX44" fmla="*/ 6428 w 10000"/>
                <a:gd name="connsiteY44" fmla="*/ 8181 h 10039"/>
                <a:gd name="connsiteX45" fmla="*/ 6444 w 10000"/>
                <a:gd name="connsiteY45" fmla="*/ 8428 h 10039"/>
                <a:gd name="connsiteX46" fmla="*/ 6766 w 10000"/>
                <a:gd name="connsiteY46" fmla="*/ 9268 h 10039"/>
                <a:gd name="connsiteX0" fmla="*/ 7446 w 10000"/>
                <a:gd name="connsiteY0" fmla="*/ 9488 h 10039"/>
                <a:gd name="connsiteX1" fmla="*/ 7446 w 10000"/>
                <a:gd name="connsiteY1" fmla="*/ 8978 h 10039"/>
                <a:gd name="connsiteX2" fmla="*/ 7821 w 10000"/>
                <a:gd name="connsiteY2" fmla="*/ 8978 h 10039"/>
                <a:gd name="connsiteX3" fmla="*/ 8047 w 10000"/>
                <a:gd name="connsiteY3" fmla="*/ 8029 h 10039"/>
                <a:gd name="connsiteX4" fmla="*/ 8648 w 10000"/>
                <a:gd name="connsiteY4" fmla="*/ 7444 h 10039"/>
                <a:gd name="connsiteX5" fmla="*/ 8873 w 10000"/>
                <a:gd name="connsiteY5" fmla="*/ 6351 h 10039"/>
                <a:gd name="connsiteX6" fmla="*/ 8722 w 10000"/>
                <a:gd name="connsiteY6" fmla="*/ 5768 h 10039"/>
                <a:gd name="connsiteX7" fmla="*/ 9098 w 10000"/>
                <a:gd name="connsiteY7" fmla="*/ 4525 h 10039"/>
                <a:gd name="connsiteX8" fmla="*/ 9399 w 10000"/>
                <a:gd name="connsiteY8" fmla="*/ 4160 h 10039"/>
                <a:gd name="connsiteX9" fmla="*/ 10000 w 10000"/>
                <a:gd name="connsiteY9" fmla="*/ 3576 h 10039"/>
                <a:gd name="connsiteX10" fmla="*/ 9774 w 10000"/>
                <a:gd name="connsiteY10" fmla="*/ 3502 h 10039"/>
                <a:gd name="connsiteX11" fmla="*/ 9399 w 10000"/>
                <a:gd name="connsiteY11" fmla="*/ 3140 h 10039"/>
                <a:gd name="connsiteX12" fmla="*/ 9173 w 10000"/>
                <a:gd name="connsiteY12" fmla="*/ 2044 h 10039"/>
                <a:gd name="connsiteX13" fmla="*/ 9173 w 10000"/>
                <a:gd name="connsiteY13" fmla="*/ 1460 h 10039"/>
                <a:gd name="connsiteX14" fmla="*/ 9098 w 10000"/>
                <a:gd name="connsiteY14" fmla="*/ 729 h 10039"/>
                <a:gd name="connsiteX15" fmla="*/ 8873 w 10000"/>
                <a:gd name="connsiteY15" fmla="*/ 511 h 10039"/>
                <a:gd name="connsiteX16" fmla="*/ 8497 w 10000"/>
                <a:gd name="connsiteY16" fmla="*/ 219 h 10039"/>
                <a:gd name="connsiteX17" fmla="*/ 8272 w 10000"/>
                <a:gd name="connsiteY17" fmla="*/ 0 h 10039"/>
                <a:gd name="connsiteX18" fmla="*/ 7821 w 10000"/>
                <a:gd name="connsiteY18" fmla="*/ 293 h 10039"/>
                <a:gd name="connsiteX19" fmla="*/ 7370 w 10000"/>
                <a:gd name="connsiteY19" fmla="*/ 729 h 10039"/>
                <a:gd name="connsiteX20" fmla="*/ 6769 w 10000"/>
                <a:gd name="connsiteY20" fmla="*/ 729 h 10039"/>
                <a:gd name="connsiteX21" fmla="*/ 5717 w 10000"/>
                <a:gd name="connsiteY21" fmla="*/ 729 h 10039"/>
                <a:gd name="connsiteX22" fmla="*/ 5717 w 10000"/>
                <a:gd name="connsiteY22" fmla="*/ 658 h 10039"/>
                <a:gd name="connsiteX23" fmla="*/ 5643 w 10000"/>
                <a:gd name="connsiteY23" fmla="*/ 729 h 10039"/>
                <a:gd name="connsiteX24" fmla="*/ 1961 w 10000"/>
                <a:gd name="connsiteY24" fmla="*/ 729 h 10039"/>
                <a:gd name="connsiteX25" fmla="*/ 1961 w 10000"/>
                <a:gd name="connsiteY25" fmla="*/ 2263 h 10039"/>
                <a:gd name="connsiteX26" fmla="*/ 1285 w 10000"/>
                <a:gd name="connsiteY26" fmla="*/ 2263 h 10039"/>
                <a:gd name="connsiteX27" fmla="*/ 1285 w 10000"/>
                <a:gd name="connsiteY27" fmla="*/ 2556 h 10039"/>
                <a:gd name="connsiteX28" fmla="*/ 1285 w 10000"/>
                <a:gd name="connsiteY28" fmla="*/ 5179 h 10039"/>
                <a:gd name="connsiteX29" fmla="*/ 1135 w 10000"/>
                <a:gd name="connsiteY29" fmla="*/ 5327 h 10039"/>
                <a:gd name="connsiteX30" fmla="*/ 684 w 10000"/>
                <a:gd name="connsiteY30" fmla="*/ 5621 h 10039"/>
                <a:gd name="connsiteX31" fmla="*/ 609 w 10000"/>
                <a:gd name="connsiteY31" fmla="*/ 5986 h 10039"/>
                <a:gd name="connsiteX32" fmla="*/ 384 w 10000"/>
                <a:gd name="connsiteY32" fmla="*/ 6351 h 10039"/>
                <a:gd name="connsiteX33" fmla="*/ 234 w 10000"/>
                <a:gd name="connsiteY33" fmla="*/ 6935 h 10039"/>
                <a:gd name="connsiteX34" fmla="*/ 8 w 10000"/>
                <a:gd name="connsiteY34" fmla="*/ 7593 h 10039"/>
                <a:gd name="connsiteX35" fmla="*/ 384 w 10000"/>
                <a:gd name="connsiteY35" fmla="*/ 7664 h 10039"/>
                <a:gd name="connsiteX36" fmla="*/ 458 w 10000"/>
                <a:gd name="connsiteY36" fmla="*/ 8245 h 10039"/>
                <a:gd name="connsiteX37" fmla="*/ 684 w 10000"/>
                <a:gd name="connsiteY37" fmla="*/ 8831 h 10039"/>
                <a:gd name="connsiteX38" fmla="*/ 1059 w 10000"/>
                <a:gd name="connsiteY38" fmla="*/ 10000 h 10039"/>
                <a:gd name="connsiteX39" fmla="*/ 4939 w 10000"/>
                <a:gd name="connsiteY39" fmla="*/ 9433 h 10039"/>
                <a:gd name="connsiteX40" fmla="*/ 5409 w 10000"/>
                <a:gd name="connsiteY40" fmla="*/ 8947 h 10039"/>
                <a:gd name="connsiteX41" fmla="*/ 5884 w 10000"/>
                <a:gd name="connsiteY41" fmla="*/ 8740 h 10039"/>
                <a:gd name="connsiteX42" fmla="*/ 6040 w 10000"/>
                <a:gd name="connsiteY42" fmla="*/ 8368 h 10039"/>
                <a:gd name="connsiteX43" fmla="*/ 6382 w 10000"/>
                <a:gd name="connsiteY43" fmla="*/ 7982 h 10039"/>
                <a:gd name="connsiteX44" fmla="*/ 6428 w 10000"/>
                <a:gd name="connsiteY44" fmla="*/ 8181 h 10039"/>
                <a:gd name="connsiteX45" fmla="*/ 6444 w 10000"/>
                <a:gd name="connsiteY45" fmla="*/ 8428 h 10039"/>
                <a:gd name="connsiteX46" fmla="*/ 6766 w 10000"/>
                <a:gd name="connsiteY46" fmla="*/ 9268 h 10039"/>
                <a:gd name="connsiteX0" fmla="*/ 7446 w 10000"/>
                <a:gd name="connsiteY0" fmla="*/ 9488 h 10039"/>
                <a:gd name="connsiteX1" fmla="*/ 7446 w 10000"/>
                <a:gd name="connsiteY1" fmla="*/ 8978 h 10039"/>
                <a:gd name="connsiteX2" fmla="*/ 7821 w 10000"/>
                <a:gd name="connsiteY2" fmla="*/ 8978 h 10039"/>
                <a:gd name="connsiteX3" fmla="*/ 8047 w 10000"/>
                <a:gd name="connsiteY3" fmla="*/ 8029 h 10039"/>
                <a:gd name="connsiteX4" fmla="*/ 8648 w 10000"/>
                <a:gd name="connsiteY4" fmla="*/ 7444 h 10039"/>
                <a:gd name="connsiteX5" fmla="*/ 8873 w 10000"/>
                <a:gd name="connsiteY5" fmla="*/ 6351 h 10039"/>
                <a:gd name="connsiteX6" fmla="*/ 8722 w 10000"/>
                <a:gd name="connsiteY6" fmla="*/ 5768 h 10039"/>
                <a:gd name="connsiteX7" fmla="*/ 9098 w 10000"/>
                <a:gd name="connsiteY7" fmla="*/ 4525 h 10039"/>
                <a:gd name="connsiteX8" fmla="*/ 9399 w 10000"/>
                <a:gd name="connsiteY8" fmla="*/ 4160 h 10039"/>
                <a:gd name="connsiteX9" fmla="*/ 10000 w 10000"/>
                <a:gd name="connsiteY9" fmla="*/ 3576 h 10039"/>
                <a:gd name="connsiteX10" fmla="*/ 9774 w 10000"/>
                <a:gd name="connsiteY10" fmla="*/ 3502 h 10039"/>
                <a:gd name="connsiteX11" fmla="*/ 9399 w 10000"/>
                <a:gd name="connsiteY11" fmla="*/ 3140 h 10039"/>
                <a:gd name="connsiteX12" fmla="*/ 9173 w 10000"/>
                <a:gd name="connsiteY12" fmla="*/ 2044 h 10039"/>
                <a:gd name="connsiteX13" fmla="*/ 9173 w 10000"/>
                <a:gd name="connsiteY13" fmla="*/ 1460 h 10039"/>
                <a:gd name="connsiteX14" fmla="*/ 9098 w 10000"/>
                <a:gd name="connsiteY14" fmla="*/ 729 h 10039"/>
                <a:gd name="connsiteX15" fmla="*/ 8873 w 10000"/>
                <a:gd name="connsiteY15" fmla="*/ 511 h 10039"/>
                <a:gd name="connsiteX16" fmla="*/ 8497 w 10000"/>
                <a:gd name="connsiteY16" fmla="*/ 219 h 10039"/>
                <a:gd name="connsiteX17" fmla="*/ 8272 w 10000"/>
                <a:gd name="connsiteY17" fmla="*/ 0 h 10039"/>
                <a:gd name="connsiteX18" fmla="*/ 7821 w 10000"/>
                <a:gd name="connsiteY18" fmla="*/ 293 h 10039"/>
                <a:gd name="connsiteX19" fmla="*/ 7370 w 10000"/>
                <a:gd name="connsiteY19" fmla="*/ 729 h 10039"/>
                <a:gd name="connsiteX20" fmla="*/ 6769 w 10000"/>
                <a:gd name="connsiteY20" fmla="*/ 729 h 10039"/>
                <a:gd name="connsiteX21" fmla="*/ 5717 w 10000"/>
                <a:gd name="connsiteY21" fmla="*/ 729 h 10039"/>
                <a:gd name="connsiteX22" fmla="*/ 5717 w 10000"/>
                <a:gd name="connsiteY22" fmla="*/ 658 h 10039"/>
                <a:gd name="connsiteX23" fmla="*/ 5643 w 10000"/>
                <a:gd name="connsiteY23" fmla="*/ 729 h 10039"/>
                <a:gd name="connsiteX24" fmla="*/ 1961 w 10000"/>
                <a:gd name="connsiteY24" fmla="*/ 729 h 10039"/>
                <a:gd name="connsiteX25" fmla="*/ 1961 w 10000"/>
                <a:gd name="connsiteY25" fmla="*/ 2263 h 10039"/>
                <a:gd name="connsiteX26" fmla="*/ 1285 w 10000"/>
                <a:gd name="connsiteY26" fmla="*/ 2263 h 10039"/>
                <a:gd name="connsiteX27" fmla="*/ 1285 w 10000"/>
                <a:gd name="connsiteY27" fmla="*/ 2556 h 10039"/>
                <a:gd name="connsiteX28" fmla="*/ 1285 w 10000"/>
                <a:gd name="connsiteY28" fmla="*/ 5179 h 10039"/>
                <a:gd name="connsiteX29" fmla="*/ 1135 w 10000"/>
                <a:gd name="connsiteY29" fmla="*/ 5327 h 10039"/>
                <a:gd name="connsiteX30" fmla="*/ 684 w 10000"/>
                <a:gd name="connsiteY30" fmla="*/ 5621 h 10039"/>
                <a:gd name="connsiteX31" fmla="*/ 609 w 10000"/>
                <a:gd name="connsiteY31" fmla="*/ 5986 h 10039"/>
                <a:gd name="connsiteX32" fmla="*/ 384 w 10000"/>
                <a:gd name="connsiteY32" fmla="*/ 6351 h 10039"/>
                <a:gd name="connsiteX33" fmla="*/ 234 w 10000"/>
                <a:gd name="connsiteY33" fmla="*/ 6935 h 10039"/>
                <a:gd name="connsiteX34" fmla="*/ 8 w 10000"/>
                <a:gd name="connsiteY34" fmla="*/ 7593 h 10039"/>
                <a:gd name="connsiteX35" fmla="*/ 384 w 10000"/>
                <a:gd name="connsiteY35" fmla="*/ 7664 h 10039"/>
                <a:gd name="connsiteX36" fmla="*/ 458 w 10000"/>
                <a:gd name="connsiteY36" fmla="*/ 8245 h 10039"/>
                <a:gd name="connsiteX37" fmla="*/ 684 w 10000"/>
                <a:gd name="connsiteY37" fmla="*/ 8831 h 10039"/>
                <a:gd name="connsiteX38" fmla="*/ 1059 w 10000"/>
                <a:gd name="connsiteY38" fmla="*/ 10000 h 10039"/>
                <a:gd name="connsiteX39" fmla="*/ 4939 w 10000"/>
                <a:gd name="connsiteY39" fmla="*/ 9433 h 10039"/>
                <a:gd name="connsiteX40" fmla="*/ 5016 w 10000"/>
                <a:gd name="connsiteY40" fmla="*/ 9302 h 10039"/>
                <a:gd name="connsiteX41" fmla="*/ 5409 w 10000"/>
                <a:gd name="connsiteY41" fmla="*/ 8947 h 10039"/>
                <a:gd name="connsiteX42" fmla="*/ 5884 w 10000"/>
                <a:gd name="connsiteY42" fmla="*/ 8740 h 10039"/>
                <a:gd name="connsiteX43" fmla="*/ 6040 w 10000"/>
                <a:gd name="connsiteY43" fmla="*/ 8368 h 10039"/>
                <a:gd name="connsiteX44" fmla="*/ 6382 w 10000"/>
                <a:gd name="connsiteY44" fmla="*/ 7982 h 10039"/>
                <a:gd name="connsiteX45" fmla="*/ 6428 w 10000"/>
                <a:gd name="connsiteY45" fmla="*/ 8181 h 10039"/>
                <a:gd name="connsiteX46" fmla="*/ 6444 w 10000"/>
                <a:gd name="connsiteY46" fmla="*/ 8428 h 10039"/>
                <a:gd name="connsiteX47" fmla="*/ 6766 w 10000"/>
                <a:gd name="connsiteY47" fmla="*/ 9268 h 10039"/>
                <a:gd name="connsiteX0" fmla="*/ 7446 w 10000"/>
                <a:gd name="connsiteY0" fmla="*/ 9488 h 10039"/>
                <a:gd name="connsiteX1" fmla="*/ 7446 w 10000"/>
                <a:gd name="connsiteY1" fmla="*/ 8978 h 10039"/>
                <a:gd name="connsiteX2" fmla="*/ 7821 w 10000"/>
                <a:gd name="connsiteY2" fmla="*/ 8978 h 10039"/>
                <a:gd name="connsiteX3" fmla="*/ 8047 w 10000"/>
                <a:gd name="connsiteY3" fmla="*/ 8029 h 10039"/>
                <a:gd name="connsiteX4" fmla="*/ 8648 w 10000"/>
                <a:gd name="connsiteY4" fmla="*/ 7444 h 10039"/>
                <a:gd name="connsiteX5" fmla="*/ 8873 w 10000"/>
                <a:gd name="connsiteY5" fmla="*/ 6351 h 10039"/>
                <a:gd name="connsiteX6" fmla="*/ 8722 w 10000"/>
                <a:gd name="connsiteY6" fmla="*/ 5768 h 10039"/>
                <a:gd name="connsiteX7" fmla="*/ 9098 w 10000"/>
                <a:gd name="connsiteY7" fmla="*/ 4525 h 10039"/>
                <a:gd name="connsiteX8" fmla="*/ 9399 w 10000"/>
                <a:gd name="connsiteY8" fmla="*/ 4160 h 10039"/>
                <a:gd name="connsiteX9" fmla="*/ 10000 w 10000"/>
                <a:gd name="connsiteY9" fmla="*/ 3576 h 10039"/>
                <a:gd name="connsiteX10" fmla="*/ 9774 w 10000"/>
                <a:gd name="connsiteY10" fmla="*/ 3502 h 10039"/>
                <a:gd name="connsiteX11" fmla="*/ 9399 w 10000"/>
                <a:gd name="connsiteY11" fmla="*/ 3140 h 10039"/>
                <a:gd name="connsiteX12" fmla="*/ 9173 w 10000"/>
                <a:gd name="connsiteY12" fmla="*/ 2044 h 10039"/>
                <a:gd name="connsiteX13" fmla="*/ 9173 w 10000"/>
                <a:gd name="connsiteY13" fmla="*/ 1460 h 10039"/>
                <a:gd name="connsiteX14" fmla="*/ 9098 w 10000"/>
                <a:gd name="connsiteY14" fmla="*/ 729 h 10039"/>
                <a:gd name="connsiteX15" fmla="*/ 8873 w 10000"/>
                <a:gd name="connsiteY15" fmla="*/ 511 h 10039"/>
                <a:gd name="connsiteX16" fmla="*/ 8497 w 10000"/>
                <a:gd name="connsiteY16" fmla="*/ 219 h 10039"/>
                <a:gd name="connsiteX17" fmla="*/ 8272 w 10000"/>
                <a:gd name="connsiteY17" fmla="*/ 0 h 10039"/>
                <a:gd name="connsiteX18" fmla="*/ 7821 w 10000"/>
                <a:gd name="connsiteY18" fmla="*/ 293 h 10039"/>
                <a:gd name="connsiteX19" fmla="*/ 7370 w 10000"/>
                <a:gd name="connsiteY19" fmla="*/ 729 h 10039"/>
                <a:gd name="connsiteX20" fmla="*/ 6769 w 10000"/>
                <a:gd name="connsiteY20" fmla="*/ 729 h 10039"/>
                <a:gd name="connsiteX21" fmla="*/ 5717 w 10000"/>
                <a:gd name="connsiteY21" fmla="*/ 729 h 10039"/>
                <a:gd name="connsiteX22" fmla="*/ 5717 w 10000"/>
                <a:gd name="connsiteY22" fmla="*/ 658 h 10039"/>
                <a:gd name="connsiteX23" fmla="*/ 5643 w 10000"/>
                <a:gd name="connsiteY23" fmla="*/ 729 h 10039"/>
                <a:gd name="connsiteX24" fmla="*/ 1961 w 10000"/>
                <a:gd name="connsiteY24" fmla="*/ 729 h 10039"/>
                <a:gd name="connsiteX25" fmla="*/ 1961 w 10000"/>
                <a:gd name="connsiteY25" fmla="*/ 2263 h 10039"/>
                <a:gd name="connsiteX26" fmla="*/ 1285 w 10000"/>
                <a:gd name="connsiteY26" fmla="*/ 2263 h 10039"/>
                <a:gd name="connsiteX27" fmla="*/ 1285 w 10000"/>
                <a:gd name="connsiteY27" fmla="*/ 2556 h 10039"/>
                <a:gd name="connsiteX28" fmla="*/ 1285 w 10000"/>
                <a:gd name="connsiteY28" fmla="*/ 5179 h 10039"/>
                <a:gd name="connsiteX29" fmla="*/ 1135 w 10000"/>
                <a:gd name="connsiteY29" fmla="*/ 5327 h 10039"/>
                <a:gd name="connsiteX30" fmla="*/ 684 w 10000"/>
                <a:gd name="connsiteY30" fmla="*/ 5621 h 10039"/>
                <a:gd name="connsiteX31" fmla="*/ 609 w 10000"/>
                <a:gd name="connsiteY31" fmla="*/ 5986 h 10039"/>
                <a:gd name="connsiteX32" fmla="*/ 384 w 10000"/>
                <a:gd name="connsiteY32" fmla="*/ 6351 h 10039"/>
                <a:gd name="connsiteX33" fmla="*/ 234 w 10000"/>
                <a:gd name="connsiteY33" fmla="*/ 6935 h 10039"/>
                <a:gd name="connsiteX34" fmla="*/ 8 w 10000"/>
                <a:gd name="connsiteY34" fmla="*/ 7593 h 10039"/>
                <a:gd name="connsiteX35" fmla="*/ 384 w 10000"/>
                <a:gd name="connsiteY35" fmla="*/ 7664 h 10039"/>
                <a:gd name="connsiteX36" fmla="*/ 458 w 10000"/>
                <a:gd name="connsiteY36" fmla="*/ 8245 h 10039"/>
                <a:gd name="connsiteX37" fmla="*/ 684 w 10000"/>
                <a:gd name="connsiteY37" fmla="*/ 8831 h 10039"/>
                <a:gd name="connsiteX38" fmla="*/ 1059 w 10000"/>
                <a:gd name="connsiteY38" fmla="*/ 10000 h 10039"/>
                <a:gd name="connsiteX39" fmla="*/ 4939 w 10000"/>
                <a:gd name="connsiteY39" fmla="*/ 9433 h 10039"/>
                <a:gd name="connsiteX40" fmla="*/ 5016 w 10000"/>
                <a:gd name="connsiteY40" fmla="*/ 9302 h 10039"/>
                <a:gd name="connsiteX41" fmla="*/ 5409 w 10000"/>
                <a:gd name="connsiteY41" fmla="*/ 8947 h 10039"/>
                <a:gd name="connsiteX42" fmla="*/ 5884 w 10000"/>
                <a:gd name="connsiteY42" fmla="*/ 8740 h 10039"/>
                <a:gd name="connsiteX43" fmla="*/ 6040 w 10000"/>
                <a:gd name="connsiteY43" fmla="*/ 8368 h 10039"/>
                <a:gd name="connsiteX44" fmla="*/ 6382 w 10000"/>
                <a:gd name="connsiteY44" fmla="*/ 7982 h 10039"/>
                <a:gd name="connsiteX45" fmla="*/ 6428 w 10000"/>
                <a:gd name="connsiteY45" fmla="*/ 8181 h 10039"/>
                <a:gd name="connsiteX46" fmla="*/ 6444 w 10000"/>
                <a:gd name="connsiteY46" fmla="*/ 8428 h 10039"/>
                <a:gd name="connsiteX47" fmla="*/ 6766 w 10000"/>
                <a:gd name="connsiteY47" fmla="*/ 9268 h 10039"/>
                <a:gd name="connsiteX0" fmla="*/ 7446 w 10000"/>
                <a:gd name="connsiteY0" fmla="*/ 9488 h 10039"/>
                <a:gd name="connsiteX1" fmla="*/ 7446 w 10000"/>
                <a:gd name="connsiteY1" fmla="*/ 8978 h 10039"/>
                <a:gd name="connsiteX2" fmla="*/ 7821 w 10000"/>
                <a:gd name="connsiteY2" fmla="*/ 8978 h 10039"/>
                <a:gd name="connsiteX3" fmla="*/ 8047 w 10000"/>
                <a:gd name="connsiteY3" fmla="*/ 8029 h 10039"/>
                <a:gd name="connsiteX4" fmla="*/ 8648 w 10000"/>
                <a:gd name="connsiteY4" fmla="*/ 7444 h 10039"/>
                <a:gd name="connsiteX5" fmla="*/ 8873 w 10000"/>
                <a:gd name="connsiteY5" fmla="*/ 6351 h 10039"/>
                <a:gd name="connsiteX6" fmla="*/ 8722 w 10000"/>
                <a:gd name="connsiteY6" fmla="*/ 5768 h 10039"/>
                <a:gd name="connsiteX7" fmla="*/ 9098 w 10000"/>
                <a:gd name="connsiteY7" fmla="*/ 4525 h 10039"/>
                <a:gd name="connsiteX8" fmla="*/ 9399 w 10000"/>
                <a:gd name="connsiteY8" fmla="*/ 4160 h 10039"/>
                <a:gd name="connsiteX9" fmla="*/ 10000 w 10000"/>
                <a:gd name="connsiteY9" fmla="*/ 3576 h 10039"/>
                <a:gd name="connsiteX10" fmla="*/ 9774 w 10000"/>
                <a:gd name="connsiteY10" fmla="*/ 3502 h 10039"/>
                <a:gd name="connsiteX11" fmla="*/ 9399 w 10000"/>
                <a:gd name="connsiteY11" fmla="*/ 3140 h 10039"/>
                <a:gd name="connsiteX12" fmla="*/ 9173 w 10000"/>
                <a:gd name="connsiteY12" fmla="*/ 2044 h 10039"/>
                <a:gd name="connsiteX13" fmla="*/ 9173 w 10000"/>
                <a:gd name="connsiteY13" fmla="*/ 1460 h 10039"/>
                <a:gd name="connsiteX14" fmla="*/ 9098 w 10000"/>
                <a:gd name="connsiteY14" fmla="*/ 729 h 10039"/>
                <a:gd name="connsiteX15" fmla="*/ 8873 w 10000"/>
                <a:gd name="connsiteY15" fmla="*/ 511 h 10039"/>
                <a:gd name="connsiteX16" fmla="*/ 8497 w 10000"/>
                <a:gd name="connsiteY16" fmla="*/ 219 h 10039"/>
                <a:gd name="connsiteX17" fmla="*/ 8272 w 10000"/>
                <a:gd name="connsiteY17" fmla="*/ 0 h 10039"/>
                <a:gd name="connsiteX18" fmla="*/ 7821 w 10000"/>
                <a:gd name="connsiteY18" fmla="*/ 293 h 10039"/>
                <a:gd name="connsiteX19" fmla="*/ 7370 w 10000"/>
                <a:gd name="connsiteY19" fmla="*/ 729 h 10039"/>
                <a:gd name="connsiteX20" fmla="*/ 6769 w 10000"/>
                <a:gd name="connsiteY20" fmla="*/ 729 h 10039"/>
                <a:gd name="connsiteX21" fmla="*/ 5717 w 10000"/>
                <a:gd name="connsiteY21" fmla="*/ 729 h 10039"/>
                <a:gd name="connsiteX22" fmla="*/ 5717 w 10000"/>
                <a:gd name="connsiteY22" fmla="*/ 658 h 10039"/>
                <a:gd name="connsiteX23" fmla="*/ 5643 w 10000"/>
                <a:gd name="connsiteY23" fmla="*/ 729 h 10039"/>
                <a:gd name="connsiteX24" fmla="*/ 1961 w 10000"/>
                <a:gd name="connsiteY24" fmla="*/ 729 h 10039"/>
                <a:gd name="connsiteX25" fmla="*/ 1961 w 10000"/>
                <a:gd name="connsiteY25" fmla="*/ 2263 h 10039"/>
                <a:gd name="connsiteX26" fmla="*/ 1285 w 10000"/>
                <a:gd name="connsiteY26" fmla="*/ 2263 h 10039"/>
                <a:gd name="connsiteX27" fmla="*/ 1285 w 10000"/>
                <a:gd name="connsiteY27" fmla="*/ 2556 h 10039"/>
                <a:gd name="connsiteX28" fmla="*/ 1285 w 10000"/>
                <a:gd name="connsiteY28" fmla="*/ 5179 h 10039"/>
                <a:gd name="connsiteX29" fmla="*/ 1135 w 10000"/>
                <a:gd name="connsiteY29" fmla="*/ 5327 h 10039"/>
                <a:gd name="connsiteX30" fmla="*/ 684 w 10000"/>
                <a:gd name="connsiteY30" fmla="*/ 5621 h 10039"/>
                <a:gd name="connsiteX31" fmla="*/ 609 w 10000"/>
                <a:gd name="connsiteY31" fmla="*/ 5986 h 10039"/>
                <a:gd name="connsiteX32" fmla="*/ 384 w 10000"/>
                <a:gd name="connsiteY32" fmla="*/ 6351 h 10039"/>
                <a:gd name="connsiteX33" fmla="*/ 234 w 10000"/>
                <a:gd name="connsiteY33" fmla="*/ 6935 h 10039"/>
                <a:gd name="connsiteX34" fmla="*/ 8 w 10000"/>
                <a:gd name="connsiteY34" fmla="*/ 7593 h 10039"/>
                <a:gd name="connsiteX35" fmla="*/ 384 w 10000"/>
                <a:gd name="connsiteY35" fmla="*/ 7664 h 10039"/>
                <a:gd name="connsiteX36" fmla="*/ 458 w 10000"/>
                <a:gd name="connsiteY36" fmla="*/ 8245 h 10039"/>
                <a:gd name="connsiteX37" fmla="*/ 684 w 10000"/>
                <a:gd name="connsiteY37" fmla="*/ 8831 h 10039"/>
                <a:gd name="connsiteX38" fmla="*/ 1059 w 10000"/>
                <a:gd name="connsiteY38" fmla="*/ 10000 h 10039"/>
                <a:gd name="connsiteX39" fmla="*/ 4939 w 10000"/>
                <a:gd name="connsiteY39" fmla="*/ 9433 h 10039"/>
                <a:gd name="connsiteX40" fmla="*/ 5016 w 10000"/>
                <a:gd name="connsiteY40" fmla="*/ 9302 h 10039"/>
                <a:gd name="connsiteX41" fmla="*/ 5409 w 10000"/>
                <a:gd name="connsiteY41" fmla="*/ 8947 h 10039"/>
                <a:gd name="connsiteX42" fmla="*/ 5884 w 10000"/>
                <a:gd name="connsiteY42" fmla="*/ 8740 h 10039"/>
                <a:gd name="connsiteX43" fmla="*/ 6040 w 10000"/>
                <a:gd name="connsiteY43" fmla="*/ 8368 h 10039"/>
                <a:gd name="connsiteX44" fmla="*/ 6382 w 10000"/>
                <a:gd name="connsiteY44" fmla="*/ 7982 h 10039"/>
                <a:gd name="connsiteX45" fmla="*/ 6428 w 10000"/>
                <a:gd name="connsiteY45" fmla="*/ 8181 h 10039"/>
                <a:gd name="connsiteX46" fmla="*/ 6444 w 10000"/>
                <a:gd name="connsiteY46" fmla="*/ 8428 h 10039"/>
                <a:gd name="connsiteX47" fmla="*/ 6766 w 10000"/>
                <a:gd name="connsiteY47" fmla="*/ 9268 h 10039"/>
                <a:gd name="connsiteX0" fmla="*/ 7446 w 10000"/>
                <a:gd name="connsiteY0" fmla="*/ 9488 h 10039"/>
                <a:gd name="connsiteX1" fmla="*/ 7446 w 10000"/>
                <a:gd name="connsiteY1" fmla="*/ 8978 h 10039"/>
                <a:gd name="connsiteX2" fmla="*/ 7821 w 10000"/>
                <a:gd name="connsiteY2" fmla="*/ 8978 h 10039"/>
                <a:gd name="connsiteX3" fmla="*/ 8047 w 10000"/>
                <a:gd name="connsiteY3" fmla="*/ 8029 h 10039"/>
                <a:gd name="connsiteX4" fmla="*/ 8648 w 10000"/>
                <a:gd name="connsiteY4" fmla="*/ 7444 h 10039"/>
                <a:gd name="connsiteX5" fmla="*/ 8873 w 10000"/>
                <a:gd name="connsiteY5" fmla="*/ 6351 h 10039"/>
                <a:gd name="connsiteX6" fmla="*/ 8722 w 10000"/>
                <a:gd name="connsiteY6" fmla="*/ 5768 h 10039"/>
                <a:gd name="connsiteX7" fmla="*/ 9098 w 10000"/>
                <a:gd name="connsiteY7" fmla="*/ 4525 h 10039"/>
                <a:gd name="connsiteX8" fmla="*/ 9399 w 10000"/>
                <a:gd name="connsiteY8" fmla="*/ 4160 h 10039"/>
                <a:gd name="connsiteX9" fmla="*/ 10000 w 10000"/>
                <a:gd name="connsiteY9" fmla="*/ 3576 h 10039"/>
                <a:gd name="connsiteX10" fmla="*/ 9774 w 10000"/>
                <a:gd name="connsiteY10" fmla="*/ 3502 h 10039"/>
                <a:gd name="connsiteX11" fmla="*/ 9399 w 10000"/>
                <a:gd name="connsiteY11" fmla="*/ 3140 h 10039"/>
                <a:gd name="connsiteX12" fmla="*/ 9173 w 10000"/>
                <a:gd name="connsiteY12" fmla="*/ 2044 h 10039"/>
                <a:gd name="connsiteX13" fmla="*/ 9173 w 10000"/>
                <a:gd name="connsiteY13" fmla="*/ 1460 h 10039"/>
                <a:gd name="connsiteX14" fmla="*/ 9098 w 10000"/>
                <a:gd name="connsiteY14" fmla="*/ 729 h 10039"/>
                <a:gd name="connsiteX15" fmla="*/ 8873 w 10000"/>
                <a:gd name="connsiteY15" fmla="*/ 511 h 10039"/>
                <a:gd name="connsiteX16" fmla="*/ 8497 w 10000"/>
                <a:gd name="connsiteY16" fmla="*/ 219 h 10039"/>
                <a:gd name="connsiteX17" fmla="*/ 8272 w 10000"/>
                <a:gd name="connsiteY17" fmla="*/ 0 h 10039"/>
                <a:gd name="connsiteX18" fmla="*/ 7821 w 10000"/>
                <a:gd name="connsiteY18" fmla="*/ 293 h 10039"/>
                <a:gd name="connsiteX19" fmla="*/ 7370 w 10000"/>
                <a:gd name="connsiteY19" fmla="*/ 729 h 10039"/>
                <a:gd name="connsiteX20" fmla="*/ 6769 w 10000"/>
                <a:gd name="connsiteY20" fmla="*/ 729 h 10039"/>
                <a:gd name="connsiteX21" fmla="*/ 5717 w 10000"/>
                <a:gd name="connsiteY21" fmla="*/ 729 h 10039"/>
                <a:gd name="connsiteX22" fmla="*/ 5717 w 10000"/>
                <a:gd name="connsiteY22" fmla="*/ 658 h 10039"/>
                <a:gd name="connsiteX23" fmla="*/ 5643 w 10000"/>
                <a:gd name="connsiteY23" fmla="*/ 729 h 10039"/>
                <a:gd name="connsiteX24" fmla="*/ 1961 w 10000"/>
                <a:gd name="connsiteY24" fmla="*/ 729 h 10039"/>
                <a:gd name="connsiteX25" fmla="*/ 1961 w 10000"/>
                <a:gd name="connsiteY25" fmla="*/ 2263 h 10039"/>
                <a:gd name="connsiteX26" fmla="*/ 1285 w 10000"/>
                <a:gd name="connsiteY26" fmla="*/ 2263 h 10039"/>
                <a:gd name="connsiteX27" fmla="*/ 1285 w 10000"/>
                <a:gd name="connsiteY27" fmla="*/ 2556 h 10039"/>
                <a:gd name="connsiteX28" fmla="*/ 1285 w 10000"/>
                <a:gd name="connsiteY28" fmla="*/ 5179 h 10039"/>
                <a:gd name="connsiteX29" fmla="*/ 1135 w 10000"/>
                <a:gd name="connsiteY29" fmla="*/ 5327 h 10039"/>
                <a:gd name="connsiteX30" fmla="*/ 684 w 10000"/>
                <a:gd name="connsiteY30" fmla="*/ 5621 h 10039"/>
                <a:gd name="connsiteX31" fmla="*/ 609 w 10000"/>
                <a:gd name="connsiteY31" fmla="*/ 5986 h 10039"/>
                <a:gd name="connsiteX32" fmla="*/ 384 w 10000"/>
                <a:gd name="connsiteY32" fmla="*/ 6351 h 10039"/>
                <a:gd name="connsiteX33" fmla="*/ 234 w 10000"/>
                <a:gd name="connsiteY33" fmla="*/ 6935 h 10039"/>
                <a:gd name="connsiteX34" fmla="*/ 8 w 10000"/>
                <a:gd name="connsiteY34" fmla="*/ 7593 h 10039"/>
                <a:gd name="connsiteX35" fmla="*/ 384 w 10000"/>
                <a:gd name="connsiteY35" fmla="*/ 7664 h 10039"/>
                <a:gd name="connsiteX36" fmla="*/ 458 w 10000"/>
                <a:gd name="connsiteY36" fmla="*/ 8245 h 10039"/>
                <a:gd name="connsiteX37" fmla="*/ 684 w 10000"/>
                <a:gd name="connsiteY37" fmla="*/ 8831 h 10039"/>
                <a:gd name="connsiteX38" fmla="*/ 1059 w 10000"/>
                <a:gd name="connsiteY38" fmla="*/ 10000 h 10039"/>
                <a:gd name="connsiteX39" fmla="*/ 4939 w 10000"/>
                <a:gd name="connsiteY39" fmla="*/ 9433 h 10039"/>
                <a:gd name="connsiteX40" fmla="*/ 4958 w 10000"/>
                <a:gd name="connsiteY40" fmla="*/ 9255 h 10039"/>
                <a:gd name="connsiteX41" fmla="*/ 5409 w 10000"/>
                <a:gd name="connsiteY41" fmla="*/ 8947 h 10039"/>
                <a:gd name="connsiteX42" fmla="*/ 5884 w 10000"/>
                <a:gd name="connsiteY42" fmla="*/ 8740 h 10039"/>
                <a:gd name="connsiteX43" fmla="*/ 6040 w 10000"/>
                <a:gd name="connsiteY43" fmla="*/ 8368 h 10039"/>
                <a:gd name="connsiteX44" fmla="*/ 6382 w 10000"/>
                <a:gd name="connsiteY44" fmla="*/ 7982 h 10039"/>
                <a:gd name="connsiteX45" fmla="*/ 6428 w 10000"/>
                <a:gd name="connsiteY45" fmla="*/ 8181 h 10039"/>
                <a:gd name="connsiteX46" fmla="*/ 6444 w 10000"/>
                <a:gd name="connsiteY46" fmla="*/ 8428 h 10039"/>
                <a:gd name="connsiteX47" fmla="*/ 6766 w 10000"/>
                <a:gd name="connsiteY47" fmla="*/ 9268 h 10039"/>
                <a:gd name="connsiteX0" fmla="*/ 7446 w 10000"/>
                <a:gd name="connsiteY0" fmla="*/ 9488 h 10039"/>
                <a:gd name="connsiteX1" fmla="*/ 7446 w 10000"/>
                <a:gd name="connsiteY1" fmla="*/ 8978 h 10039"/>
                <a:gd name="connsiteX2" fmla="*/ 7821 w 10000"/>
                <a:gd name="connsiteY2" fmla="*/ 8978 h 10039"/>
                <a:gd name="connsiteX3" fmla="*/ 8047 w 10000"/>
                <a:gd name="connsiteY3" fmla="*/ 8029 h 10039"/>
                <a:gd name="connsiteX4" fmla="*/ 8648 w 10000"/>
                <a:gd name="connsiteY4" fmla="*/ 7444 h 10039"/>
                <a:gd name="connsiteX5" fmla="*/ 8873 w 10000"/>
                <a:gd name="connsiteY5" fmla="*/ 6351 h 10039"/>
                <a:gd name="connsiteX6" fmla="*/ 8722 w 10000"/>
                <a:gd name="connsiteY6" fmla="*/ 5768 h 10039"/>
                <a:gd name="connsiteX7" fmla="*/ 9098 w 10000"/>
                <a:gd name="connsiteY7" fmla="*/ 4525 h 10039"/>
                <a:gd name="connsiteX8" fmla="*/ 9399 w 10000"/>
                <a:gd name="connsiteY8" fmla="*/ 4160 h 10039"/>
                <a:gd name="connsiteX9" fmla="*/ 10000 w 10000"/>
                <a:gd name="connsiteY9" fmla="*/ 3576 h 10039"/>
                <a:gd name="connsiteX10" fmla="*/ 9774 w 10000"/>
                <a:gd name="connsiteY10" fmla="*/ 3502 h 10039"/>
                <a:gd name="connsiteX11" fmla="*/ 9399 w 10000"/>
                <a:gd name="connsiteY11" fmla="*/ 3140 h 10039"/>
                <a:gd name="connsiteX12" fmla="*/ 9173 w 10000"/>
                <a:gd name="connsiteY12" fmla="*/ 2044 h 10039"/>
                <a:gd name="connsiteX13" fmla="*/ 9173 w 10000"/>
                <a:gd name="connsiteY13" fmla="*/ 1460 h 10039"/>
                <a:gd name="connsiteX14" fmla="*/ 9098 w 10000"/>
                <a:gd name="connsiteY14" fmla="*/ 729 h 10039"/>
                <a:gd name="connsiteX15" fmla="*/ 8873 w 10000"/>
                <a:gd name="connsiteY15" fmla="*/ 511 h 10039"/>
                <a:gd name="connsiteX16" fmla="*/ 8497 w 10000"/>
                <a:gd name="connsiteY16" fmla="*/ 219 h 10039"/>
                <a:gd name="connsiteX17" fmla="*/ 8272 w 10000"/>
                <a:gd name="connsiteY17" fmla="*/ 0 h 10039"/>
                <a:gd name="connsiteX18" fmla="*/ 7821 w 10000"/>
                <a:gd name="connsiteY18" fmla="*/ 293 h 10039"/>
                <a:gd name="connsiteX19" fmla="*/ 7370 w 10000"/>
                <a:gd name="connsiteY19" fmla="*/ 729 h 10039"/>
                <a:gd name="connsiteX20" fmla="*/ 6769 w 10000"/>
                <a:gd name="connsiteY20" fmla="*/ 729 h 10039"/>
                <a:gd name="connsiteX21" fmla="*/ 5717 w 10000"/>
                <a:gd name="connsiteY21" fmla="*/ 729 h 10039"/>
                <a:gd name="connsiteX22" fmla="*/ 5717 w 10000"/>
                <a:gd name="connsiteY22" fmla="*/ 658 h 10039"/>
                <a:gd name="connsiteX23" fmla="*/ 5643 w 10000"/>
                <a:gd name="connsiteY23" fmla="*/ 729 h 10039"/>
                <a:gd name="connsiteX24" fmla="*/ 1961 w 10000"/>
                <a:gd name="connsiteY24" fmla="*/ 729 h 10039"/>
                <a:gd name="connsiteX25" fmla="*/ 1961 w 10000"/>
                <a:gd name="connsiteY25" fmla="*/ 2263 h 10039"/>
                <a:gd name="connsiteX26" fmla="*/ 1285 w 10000"/>
                <a:gd name="connsiteY26" fmla="*/ 2263 h 10039"/>
                <a:gd name="connsiteX27" fmla="*/ 1285 w 10000"/>
                <a:gd name="connsiteY27" fmla="*/ 2556 h 10039"/>
                <a:gd name="connsiteX28" fmla="*/ 1285 w 10000"/>
                <a:gd name="connsiteY28" fmla="*/ 5179 h 10039"/>
                <a:gd name="connsiteX29" fmla="*/ 1135 w 10000"/>
                <a:gd name="connsiteY29" fmla="*/ 5327 h 10039"/>
                <a:gd name="connsiteX30" fmla="*/ 684 w 10000"/>
                <a:gd name="connsiteY30" fmla="*/ 5621 h 10039"/>
                <a:gd name="connsiteX31" fmla="*/ 609 w 10000"/>
                <a:gd name="connsiteY31" fmla="*/ 5986 h 10039"/>
                <a:gd name="connsiteX32" fmla="*/ 384 w 10000"/>
                <a:gd name="connsiteY32" fmla="*/ 6351 h 10039"/>
                <a:gd name="connsiteX33" fmla="*/ 234 w 10000"/>
                <a:gd name="connsiteY33" fmla="*/ 6935 h 10039"/>
                <a:gd name="connsiteX34" fmla="*/ 8 w 10000"/>
                <a:gd name="connsiteY34" fmla="*/ 7593 h 10039"/>
                <a:gd name="connsiteX35" fmla="*/ 384 w 10000"/>
                <a:gd name="connsiteY35" fmla="*/ 7664 h 10039"/>
                <a:gd name="connsiteX36" fmla="*/ 458 w 10000"/>
                <a:gd name="connsiteY36" fmla="*/ 8245 h 10039"/>
                <a:gd name="connsiteX37" fmla="*/ 684 w 10000"/>
                <a:gd name="connsiteY37" fmla="*/ 8831 h 10039"/>
                <a:gd name="connsiteX38" fmla="*/ 1059 w 10000"/>
                <a:gd name="connsiteY38" fmla="*/ 10000 h 10039"/>
                <a:gd name="connsiteX39" fmla="*/ 4939 w 10000"/>
                <a:gd name="connsiteY39" fmla="*/ 9433 h 10039"/>
                <a:gd name="connsiteX40" fmla="*/ 4958 w 10000"/>
                <a:gd name="connsiteY40" fmla="*/ 9255 h 10039"/>
                <a:gd name="connsiteX41" fmla="*/ 5409 w 10000"/>
                <a:gd name="connsiteY41" fmla="*/ 8947 h 10039"/>
                <a:gd name="connsiteX42" fmla="*/ 5884 w 10000"/>
                <a:gd name="connsiteY42" fmla="*/ 8740 h 10039"/>
                <a:gd name="connsiteX43" fmla="*/ 6040 w 10000"/>
                <a:gd name="connsiteY43" fmla="*/ 8368 h 10039"/>
                <a:gd name="connsiteX44" fmla="*/ 6382 w 10000"/>
                <a:gd name="connsiteY44" fmla="*/ 7982 h 10039"/>
                <a:gd name="connsiteX45" fmla="*/ 6428 w 10000"/>
                <a:gd name="connsiteY45" fmla="*/ 8181 h 10039"/>
                <a:gd name="connsiteX46" fmla="*/ 6444 w 10000"/>
                <a:gd name="connsiteY46" fmla="*/ 8428 h 10039"/>
                <a:gd name="connsiteX47" fmla="*/ 6766 w 10000"/>
                <a:gd name="connsiteY47" fmla="*/ 9268 h 10039"/>
                <a:gd name="connsiteX0" fmla="*/ 7446 w 10000"/>
                <a:gd name="connsiteY0" fmla="*/ 9488 h 10056"/>
                <a:gd name="connsiteX1" fmla="*/ 7446 w 10000"/>
                <a:gd name="connsiteY1" fmla="*/ 8978 h 10056"/>
                <a:gd name="connsiteX2" fmla="*/ 7821 w 10000"/>
                <a:gd name="connsiteY2" fmla="*/ 8978 h 10056"/>
                <a:gd name="connsiteX3" fmla="*/ 8047 w 10000"/>
                <a:gd name="connsiteY3" fmla="*/ 8029 h 10056"/>
                <a:gd name="connsiteX4" fmla="*/ 8648 w 10000"/>
                <a:gd name="connsiteY4" fmla="*/ 7444 h 10056"/>
                <a:gd name="connsiteX5" fmla="*/ 8873 w 10000"/>
                <a:gd name="connsiteY5" fmla="*/ 6351 h 10056"/>
                <a:gd name="connsiteX6" fmla="*/ 8722 w 10000"/>
                <a:gd name="connsiteY6" fmla="*/ 5768 h 10056"/>
                <a:gd name="connsiteX7" fmla="*/ 9098 w 10000"/>
                <a:gd name="connsiteY7" fmla="*/ 4525 h 10056"/>
                <a:gd name="connsiteX8" fmla="*/ 9399 w 10000"/>
                <a:gd name="connsiteY8" fmla="*/ 4160 h 10056"/>
                <a:gd name="connsiteX9" fmla="*/ 10000 w 10000"/>
                <a:gd name="connsiteY9" fmla="*/ 3576 h 10056"/>
                <a:gd name="connsiteX10" fmla="*/ 9774 w 10000"/>
                <a:gd name="connsiteY10" fmla="*/ 3502 h 10056"/>
                <a:gd name="connsiteX11" fmla="*/ 9399 w 10000"/>
                <a:gd name="connsiteY11" fmla="*/ 3140 h 10056"/>
                <a:gd name="connsiteX12" fmla="*/ 9173 w 10000"/>
                <a:gd name="connsiteY12" fmla="*/ 2044 h 10056"/>
                <a:gd name="connsiteX13" fmla="*/ 9173 w 10000"/>
                <a:gd name="connsiteY13" fmla="*/ 1460 h 10056"/>
                <a:gd name="connsiteX14" fmla="*/ 9098 w 10000"/>
                <a:gd name="connsiteY14" fmla="*/ 729 h 10056"/>
                <a:gd name="connsiteX15" fmla="*/ 8873 w 10000"/>
                <a:gd name="connsiteY15" fmla="*/ 511 h 10056"/>
                <a:gd name="connsiteX16" fmla="*/ 8497 w 10000"/>
                <a:gd name="connsiteY16" fmla="*/ 219 h 10056"/>
                <a:gd name="connsiteX17" fmla="*/ 8272 w 10000"/>
                <a:gd name="connsiteY17" fmla="*/ 0 h 10056"/>
                <a:gd name="connsiteX18" fmla="*/ 7821 w 10000"/>
                <a:gd name="connsiteY18" fmla="*/ 293 h 10056"/>
                <a:gd name="connsiteX19" fmla="*/ 7370 w 10000"/>
                <a:gd name="connsiteY19" fmla="*/ 729 h 10056"/>
                <a:gd name="connsiteX20" fmla="*/ 6769 w 10000"/>
                <a:gd name="connsiteY20" fmla="*/ 729 h 10056"/>
                <a:gd name="connsiteX21" fmla="*/ 5717 w 10000"/>
                <a:gd name="connsiteY21" fmla="*/ 729 h 10056"/>
                <a:gd name="connsiteX22" fmla="*/ 5717 w 10000"/>
                <a:gd name="connsiteY22" fmla="*/ 658 h 10056"/>
                <a:gd name="connsiteX23" fmla="*/ 5643 w 10000"/>
                <a:gd name="connsiteY23" fmla="*/ 729 h 10056"/>
                <a:gd name="connsiteX24" fmla="*/ 1961 w 10000"/>
                <a:gd name="connsiteY24" fmla="*/ 729 h 10056"/>
                <a:gd name="connsiteX25" fmla="*/ 1961 w 10000"/>
                <a:gd name="connsiteY25" fmla="*/ 2263 h 10056"/>
                <a:gd name="connsiteX26" fmla="*/ 1285 w 10000"/>
                <a:gd name="connsiteY26" fmla="*/ 2263 h 10056"/>
                <a:gd name="connsiteX27" fmla="*/ 1285 w 10000"/>
                <a:gd name="connsiteY27" fmla="*/ 2556 h 10056"/>
                <a:gd name="connsiteX28" fmla="*/ 1285 w 10000"/>
                <a:gd name="connsiteY28" fmla="*/ 5179 h 10056"/>
                <a:gd name="connsiteX29" fmla="*/ 1135 w 10000"/>
                <a:gd name="connsiteY29" fmla="*/ 5327 h 10056"/>
                <a:gd name="connsiteX30" fmla="*/ 684 w 10000"/>
                <a:gd name="connsiteY30" fmla="*/ 5621 h 10056"/>
                <a:gd name="connsiteX31" fmla="*/ 609 w 10000"/>
                <a:gd name="connsiteY31" fmla="*/ 5986 h 10056"/>
                <a:gd name="connsiteX32" fmla="*/ 384 w 10000"/>
                <a:gd name="connsiteY32" fmla="*/ 6351 h 10056"/>
                <a:gd name="connsiteX33" fmla="*/ 234 w 10000"/>
                <a:gd name="connsiteY33" fmla="*/ 6935 h 10056"/>
                <a:gd name="connsiteX34" fmla="*/ 8 w 10000"/>
                <a:gd name="connsiteY34" fmla="*/ 7593 h 10056"/>
                <a:gd name="connsiteX35" fmla="*/ 384 w 10000"/>
                <a:gd name="connsiteY35" fmla="*/ 7664 h 10056"/>
                <a:gd name="connsiteX36" fmla="*/ 458 w 10000"/>
                <a:gd name="connsiteY36" fmla="*/ 8245 h 10056"/>
                <a:gd name="connsiteX37" fmla="*/ 684 w 10000"/>
                <a:gd name="connsiteY37" fmla="*/ 8831 h 10056"/>
                <a:gd name="connsiteX38" fmla="*/ 1059 w 10000"/>
                <a:gd name="connsiteY38" fmla="*/ 10000 h 10056"/>
                <a:gd name="connsiteX39" fmla="*/ 4315 w 10000"/>
                <a:gd name="connsiteY39" fmla="*/ 9657 h 10056"/>
                <a:gd name="connsiteX40" fmla="*/ 4958 w 10000"/>
                <a:gd name="connsiteY40" fmla="*/ 9255 h 10056"/>
                <a:gd name="connsiteX41" fmla="*/ 5409 w 10000"/>
                <a:gd name="connsiteY41" fmla="*/ 8947 h 10056"/>
                <a:gd name="connsiteX42" fmla="*/ 5884 w 10000"/>
                <a:gd name="connsiteY42" fmla="*/ 8740 h 10056"/>
                <a:gd name="connsiteX43" fmla="*/ 6040 w 10000"/>
                <a:gd name="connsiteY43" fmla="*/ 8368 h 10056"/>
                <a:gd name="connsiteX44" fmla="*/ 6382 w 10000"/>
                <a:gd name="connsiteY44" fmla="*/ 7982 h 10056"/>
                <a:gd name="connsiteX45" fmla="*/ 6428 w 10000"/>
                <a:gd name="connsiteY45" fmla="*/ 8181 h 10056"/>
                <a:gd name="connsiteX46" fmla="*/ 6444 w 10000"/>
                <a:gd name="connsiteY46" fmla="*/ 8428 h 10056"/>
                <a:gd name="connsiteX47" fmla="*/ 6766 w 10000"/>
                <a:gd name="connsiteY47" fmla="*/ 9268 h 10056"/>
                <a:gd name="connsiteX0" fmla="*/ 7446 w 10000"/>
                <a:gd name="connsiteY0" fmla="*/ 9488 h 10056"/>
                <a:gd name="connsiteX1" fmla="*/ 7446 w 10000"/>
                <a:gd name="connsiteY1" fmla="*/ 8978 h 10056"/>
                <a:gd name="connsiteX2" fmla="*/ 7821 w 10000"/>
                <a:gd name="connsiteY2" fmla="*/ 8978 h 10056"/>
                <a:gd name="connsiteX3" fmla="*/ 8047 w 10000"/>
                <a:gd name="connsiteY3" fmla="*/ 8029 h 10056"/>
                <a:gd name="connsiteX4" fmla="*/ 8648 w 10000"/>
                <a:gd name="connsiteY4" fmla="*/ 7444 h 10056"/>
                <a:gd name="connsiteX5" fmla="*/ 8873 w 10000"/>
                <a:gd name="connsiteY5" fmla="*/ 6351 h 10056"/>
                <a:gd name="connsiteX6" fmla="*/ 8722 w 10000"/>
                <a:gd name="connsiteY6" fmla="*/ 5768 h 10056"/>
                <a:gd name="connsiteX7" fmla="*/ 9098 w 10000"/>
                <a:gd name="connsiteY7" fmla="*/ 4525 h 10056"/>
                <a:gd name="connsiteX8" fmla="*/ 9399 w 10000"/>
                <a:gd name="connsiteY8" fmla="*/ 4160 h 10056"/>
                <a:gd name="connsiteX9" fmla="*/ 10000 w 10000"/>
                <a:gd name="connsiteY9" fmla="*/ 3576 h 10056"/>
                <a:gd name="connsiteX10" fmla="*/ 9774 w 10000"/>
                <a:gd name="connsiteY10" fmla="*/ 3502 h 10056"/>
                <a:gd name="connsiteX11" fmla="*/ 9399 w 10000"/>
                <a:gd name="connsiteY11" fmla="*/ 3140 h 10056"/>
                <a:gd name="connsiteX12" fmla="*/ 9173 w 10000"/>
                <a:gd name="connsiteY12" fmla="*/ 2044 h 10056"/>
                <a:gd name="connsiteX13" fmla="*/ 9173 w 10000"/>
                <a:gd name="connsiteY13" fmla="*/ 1460 h 10056"/>
                <a:gd name="connsiteX14" fmla="*/ 9098 w 10000"/>
                <a:gd name="connsiteY14" fmla="*/ 729 h 10056"/>
                <a:gd name="connsiteX15" fmla="*/ 8873 w 10000"/>
                <a:gd name="connsiteY15" fmla="*/ 511 h 10056"/>
                <a:gd name="connsiteX16" fmla="*/ 8497 w 10000"/>
                <a:gd name="connsiteY16" fmla="*/ 219 h 10056"/>
                <a:gd name="connsiteX17" fmla="*/ 8272 w 10000"/>
                <a:gd name="connsiteY17" fmla="*/ 0 h 10056"/>
                <a:gd name="connsiteX18" fmla="*/ 7821 w 10000"/>
                <a:gd name="connsiteY18" fmla="*/ 293 h 10056"/>
                <a:gd name="connsiteX19" fmla="*/ 7370 w 10000"/>
                <a:gd name="connsiteY19" fmla="*/ 729 h 10056"/>
                <a:gd name="connsiteX20" fmla="*/ 6769 w 10000"/>
                <a:gd name="connsiteY20" fmla="*/ 729 h 10056"/>
                <a:gd name="connsiteX21" fmla="*/ 5717 w 10000"/>
                <a:gd name="connsiteY21" fmla="*/ 729 h 10056"/>
                <a:gd name="connsiteX22" fmla="*/ 5717 w 10000"/>
                <a:gd name="connsiteY22" fmla="*/ 658 h 10056"/>
                <a:gd name="connsiteX23" fmla="*/ 5643 w 10000"/>
                <a:gd name="connsiteY23" fmla="*/ 729 h 10056"/>
                <a:gd name="connsiteX24" fmla="*/ 1961 w 10000"/>
                <a:gd name="connsiteY24" fmla="*/ 729 h 10056"/>
                <a:gd name="connsiteX25" fmla="*/ 1961 w 10000"/>
                <a:gd name="connsiteY25" fmla="*/ 2263 h 10056"/>
                <a:gd name="connsiteX26" fmla="*/ 1285 w 10000"/>
                <a:gd name="connsiteY26" fmla="*/ 2263 h 10056"/>
                <a:gd name="connsiteX27" fmla="*/ 1285 w 10000"/>
                <a:gd name="connsiteY27" fmla="*/ 2556 h 10056"/>
                <a:gd name="connsiteX28" fmla="*/ 1285 w 10000"/>
                <a:gd name="connsiteY28" fmla="*/ 5179 h 10056"/>
                <a:gd name="connsiteX29" fmla="*/ 1135 w 10000"/>
                <a:gd name="connsiteY29" fmla="*/ 5327 h 10056"/>
                <a:gd name="connsiteX30" fmla="*/ 684 w 10000"/>
                <a:gd name="connsiteY30" fmla="*/ 5621 h 10056"/>
                <a:gd name="connsiteX31" fmla="*/ 609 w 10000"/>
                <a:gd name="connsiteY31" fmla="*/ 5986 h 10056"/>
                <a:gd name="connsiteX32" fmla="*/ 384 w 10000"/>
                <a:gd name="connsiteY32" fmla="*/ 6351 h 10056"/>
                <a:gd name="connsiteX33" fmla="*/ 234 w 10000"/>
                <a:gd name="connsiteY33" fmla="*/ 6935 h 10056"/>
                <a:gd name="connsiteX34" fmla="*/ 8 w 10000"/>
                <a:gd name="connsiteY34" fmla="*/ 7593 h 10056"/>
                <a:gd name="connsiteX35" fmla="*/ 384 w 10000"/>
                <a:gd name="connsiteY35" fmla="*/ 7664 h 10056"/>
                <a:gd name="connsiteX36" fmla="*/ 458 w 10000"/>
                <a:gd name="connsiteY36" fmla="*/ 8245 h 10056"/>
                <a:gd name="connsiteX37" fmla="*/ 684 w 10000"/>
                <a:gd name="connsiteY37" fmla="*/ 8831 h 10056"/>
                <a:gd name="connsiteX38" fmla="*/ 1059 w 10000"/>
                <a:gd name="connsiteY38" fmla="*/ 10000 h 10056"/>
                <a:gd name="connsiteX39" fmla="*/ 4315 w 10000"/>
                <a:gd name="connsiteY39" fmla="*/ 9657 h 10056"/>
                <a:gd name="connsiteX40" fmla="*/ 5064 w 10000"/>
                <a:gd name="connsiteY40" fmla="*/ 9274 h 10056"/>
                <a:gd name="connsiteX41" fmla="*/ 5409 w 10000"/>
                <a:gd name="connsiteY41" fmla="*/ 8947 h 10056"/>
                <a:gd name="connsiteX42" fmla="*/ 5884 w 10000"/>
                <a:gd name="connsiteY42" fmla="*/ 8740 h 10056"/>
                <a:gd name="connsiteX43" fmla="*/ 6040 w 10000"/>
                <a:gd name="connsiteY43" fmla="*/ 8368 h 10056"/>
                <a:gd name="connsiteX44" fmla="*/ 6382 w 10000"/>
                <a:gd name="connsiteY44" fmla="*/ 7982 h 10056"/>
                <a:gd name="connsiteX45" fmla="*/ 6428 w 10000"/>
                <a:gd name="connsiteY45" fmla="*/ 8181 h 10056"/>
                <a:gd name="connsiteX46" fmla="*/ 6444 w 10000"/>
                <a:gd name="connsiteY46" fmla="*/ 8428 h 10056"/>
                <a:gd name="connsiteX47" fmla="*/ 6766 w 10000"/>
                <a:gd name="connsiteY47" fmla="*/ 9268 h 10056"/>
                <a:gd name="connsiteX0" fmla="*/ 7446 w 10000"/>
                <a:gd name="connsiteY0" fmla="*/ 9488 h 10056"/>
                <a:gd name="connsiteX1" fmla="*/ 7446 w 10000"/>
                <a:gd name="connsiteY1" fmla="*/ 8978 h 10056"/>
                <a:gd name="connsiteX2" fmla="*/ 7821 w 10000"/>
                <a:gd name="connsiteY2" fmla="*/ 8978 h 10056"/>
                <a:gd name="connsiteX3" fmla="*/ 8047 w 10000"/>
                <a:gd name="connsiteY3" fmla="*/ 8029 h 10056"/>
                <a:gd name="connsiteX4" fmla="*/ 8648 w 10000"/>
                <a:gd name="connsiteY4" fmla="*/ 7444 h 10056"/>
                <a:gd name="connsiteX5" fmla="*/ 8873 w 10000"/>
                <a:gd name="connsiteY5" fmla="*/ 6351 h 10056"/>
                <a:gd name="connsiteX6" fmla="*/ 8722 w 10000"/>
                <a:gd name="connsiteY6" fmla="*/ 5768 h 10056"/>
                <a:gd name="connsiteX7" fmla="*/ 9098 w 10000"/>
                <a:gd name="connsiteY7" fmla="*/ 4525 h 10056"/>
                <a:gd name="connsiteX8" fmla="*/ 9399 w 10000"/>
                <a:gd name="connsiteY8" fmla="*/ 4160 h 10056"/>
                <a:gd name="connsiteX9" fmla="*/ 10000 w 10000"/>
                <a:gd name="connsiteY9" fmla="*/ 3576 h 10056"/>
                <a:gd name="connsiteX10" fmla="*/ 9774 w 10000"/>
                <a:gd name="connsiteY10" fmla="*/ 3502 h 10056"/>
                <a:gd name="connsiteX11" fmla="*/ 9399 w 10000"/>
                <a:gd name="connsiteY11" fmla="*/ 3140 h 10056"/>
                <a:gd name="connsiteX12" fmla="*/ 9173 w 10000"/>
                <a:gd name="connsiteY12" fmla="*/ 2044 h 10056"/>
                <a:gd name="connsiteX13" fmla="*/ 9173 w 10000"/>
                <a:gd name="connsiteY13" fmla="*/ 1460 h 10056"/>
                <a:gd name="connsiteX14" fmla="*/ 9098 w 10000"/>
                <a:gd name="connsiteY14" fmla="*/ 729 h 10056"/>
                <a:gd name="connsiteX15" fmla="*/ 8873 w 10000"/>
                <a:gd name="connsiteY15" fmla="*/ 511 h 10056"/>
                <a:gd name="connsiteX16" fmla="*/ 8497 w 10000"/>
                <a:gd name="connsiteY16" fmla="*/ 219 h 10056"/>
                <a:gd name="connsiteX17" fmla="*/ 8272 w 10000"/>
                <a:gd name="connsiteY17" fmla="*/ 0 h 10056"/>
                <a:gd name="connsiteX18" fmla="*/ 7821 w 10000"/>
                <a:gd name="connsiteY18" fmla="*/ 293 h 10056"/>
                <a:gd name="connsiteX19" fmla="*/ 7370 w 10000"/>
                <a:gd name="connsiteY19" fmla="*/ 729 h 10056"/>
                <a:gd name="connsiteX20" fmla="*/ 6769 w 10000"/>
                <a:gd name="connsiteY20" fmla="*/ 729 h 10056"/>
                <a:gd name="connsiteX21" fmla="*/ 5717 w 10000"/>
                <a:gd name="connsiteY21" fmla="*/ 729 h 10056"/>
                <a:gd name="connsiteX22" fmla="*/ 5717 w 10000"/>
                <a:gd name="connsiteY22" fmla="*/ 658 h 10056"/>
                <a:gd name="connsiteX23" fmla="*/ 5643 w 10000"/>
                <a:gd name="connsiteY23" fmla="*/ 729 h 10056"/>
                <a:gd name="connsiteX24" fmla="*/ 1961 w 10000"/>
                <a:gd name="connsiteY24" fmla="*/ 729 h 10056"/>
                <a:gd name="connsiteX25" fmla="*/ 1961 w 10000"/>
                <a:gd name="connsiteY25" fmla="*/ 2263 h 10056"/>
                <a:gd name="connsiteX26" fmla="*/ 1285 w 10000"/>
                <a:gd name="connsiteY26" fmla="*/ 2263 h 10056"/>
                <a:gd name="connsiteX27" fmla="*/ 1285 w 10000"/>
                <a:gd name="connsiteY27" fmla="*/ 2556 h 10056"/>
                <a:gd name="connsiteX28" fmla="*/ 1285 w 10000"/>
                <a:gd name="connsiteY28" fmla="*/ 5179 h 10056"/>
                <a:gd name="connsiteX29" fmla="*/ 1135 w 10000"/>
                <a:gd name="connsiteY29" fmla="*/ 5327 h 10056"/>
                <a:gd name="connsiteX30" fmla="*/ 684 w 10000"/>
                <a:gd name="connsiteY30" fmla="*/ 5621 h 10056"/>
                <a:gd name="connsiteX31" fmla="*/ 609 w 10000"/>
                <a:gd name="connsiteY31" fmla="*/ 5986 h 10056"/>
                <a:gd name="connsiteX32" fmla="*/ 384 w 10000"/>
                <a:gd name="connsiteY32" fmla="*/ 6351 h 10056"/>
                <a:gd name="connsiteX33" fmla="*/ 234 w 10000"/>
                <a:gd name="connsiteY33" fmla="*/ 6935 h 10056"/>
                <a:gd name="connsiteX34" fmla="*/ 8 w 10000"/>
                <a:gd name="connsiteY34" fmla="*/ 7593 h 10056"/>
                <a:gd name="connsiteX35" fmla="*/ 384 w 10000"/>
                <a:gd name="connsiteY35" fmla="*/ 7664 h 10056"/>
                <a:gd name="connsiteX36" fmla="*/ 458 w 10000"/>
                <a:gd name="connsiteY36" fmla="*/ 8245 h 10056"/>
                <a:gd name="connsiteX37" fmla="*/ 684 w 10000"/>
                <a:gd name="connsiteY37" fmla="*/ 8831 h 10056"/>
                <a:gd name="connsiteX38" fmla="*/ 1059 w 10000"/>
                <a:gd name="connsiteY38" fmla="*/ 10000 h 10056"/>
                <a:gd name="connsiteX39" fmla="*/ 4315 w 10000"/>
                <a:gd name="connsiteY39" fmla="*/ 9657 h 10056"/>
                <a:gd name="connsiteX40" fmla="*/ 5064 w 10000"/>
                <a:gd name="connsiteY40" fmla="*/ 9274 h 10056"/>
                <a:gd name="connsiteX41" fmla="*/ 5457 w 10000"/>
                <a:gd name="connsiteY41" fmla="*/ 8984 h 10056"/>
                <a:gd name="connsiteX42" fmla="*/ 5884 w 10000"/>
                <a:gd name="connsiteY42" fmla="*/ 8740 h 10056"/>
                <a:gd name="connsiteX43" fmla="*/ 6040 w 10000"/>
                <a:gd name="connsiteY43" fmla="*/ 8368 h 10056"/>
                <a:gd name="connsiteX44" fmla="*/ 6382 w 10000"/>
                <a:gd name="connsiteY44" fmla="*/ 7982 h 10056"/>
                <a:gd name="connsiteX45" fmla="*/ 6428 w 10000"/>
                <a:gd name="connsiteY45" fmla="*/ 8181 h 10056"/>
                <a:gd name="connsiteX46" fmla="*/ 6444 w 10000"/>
                <a:gd name="connsiteY46" fmla="*/ 8428 h 10056"/>
                <a:gd name="connsiteX47" fmla="*/ 6766 w 10000"/>
                <a:gd name="connsiteY47" fmla="*/ 9268 h 10056"/>
                <a:gd name="connsiteX0" fmla="*/ 7446 w 10000"/>
                <a:gd name="connsiteY0" fmla="*/ 9488 h 10031"/>
                <a:gd name="connsiteX1" fmla="*/ 7446 w 10000"/>
                <a:gd name="connsiteY1" fmla="*/ 8978 h 10031"/>
                <a:gd name="connsiteX2" fmla="*/ 7821 w 10000"/>
                <a:gd name="connsiteY2" fmla="*/ 8978 h 10031"/>
                <a:gd name="connsiteX3" fmla="*/ 8047 w 10000"/>
                <a:gd name="connsiteY3" fmla="*/ 8029 h 10031"/>
                <a:gd name="connsiteX4" fmla="*/ 8648 w 10000"/>
                <a:gd name="connsiteY4" fmla="*/ 7444 h 10031"/>
                <a:gd name="connsiteX5" fmla="*/ 8873 w 10000"/>
                <a:gd name="connsiteY5" fmla="*/ 6351 h 10031"/>
                <a:gd name="connsiteX6" fmla="*/ 8722 w 10000"/>
                <a:gd name="connsiteY6" fmla="*/ 5768 h 10031"/>
                <a:gd name="connsiteX7" fmla="*/ 9098 w 10000"/>
                <a:gd name="connsiteY7" fmla="*/ 4525 h 10031"/>
                <a:gd name="connsiteX8" fmla="*/ 9399 w 10000"/>
                <a:gd name="connsiteY8" fmla="*/ 4160 h 10031"/>
                <a:gd name="connsiteX9" fmla="*/ 10000 w 10000"/>
                <a:gd name="connsiteY9" fmla="*/ 3576 h 10031"/>
                <a:gd name="connsiteX10" fmla="*/ 9774 w 10000"/>
                <a:gd name="connsiteY10" fmla="*/ 3502 h 10031"/>
                <a:gd name="connsiteX11" fmla="*/ 9399 w 10000"/>
                <a:gd name="connsiteY11" fmla="*/ 3140 h 10031"/>
                <a:gd name="connsiteX12" fmla="*/ 9173 w 10000"/>
                <a:gd name="connsiteY12" fmla="*/ 2044 h 10031"/>
                <a:gd name="connsiteX13" fmla="*/ 9173 w 10000"/>
                <a:gd name="connsiteY13" fmla="*/ 1460 h 10031"/>
                <a:gd name="connsiteX14" fmla="*/ 9098 w 10000"/>
                <a:gd name="connsiteY14" fmla="*/ 729 h 10031"/>
                <a:gd name="connsiteX15" fmla="*/ 8873 w 10000"/>
                <a:gd name="connsiteY15" fmla="*/ 511 h 10031"/>
                <a:gd name="connsiteX16" fmla="*/ 8497 w 10000"/>
                <a:gd name="connsiteY16" fmla="*/ 219 h 10031"/>
                <a:gd name="connsiteX17" fmla="*/ 8272 w 10000"/>
                <a:gd name="connsiteY17" fmla="*/ 0 h 10031"/>
                <a:gd name="connsiteX18" fmla="*/ 7821 w 10000"/>
                <a:gd name="connsiteY18" fmla="*/ 293 h 10031"/>
                <a:gd name="connsiteX19" fmla="*/ 7370 w 10000"/>
                <a:gd name="connsiteY19" fmla="*/ 729 h 10031"/>
                <a:gd name="connsiteX20" fmla="*/ 6769 w 10000"/>
                <a:gd name="connsiteY20" fmla="*/ 729 h 10031"/>
                <a:gd name="connsiteX21" fmla="*/ 5717 w 10000"/>
                <a:gd name="connsiteY21" fmla="*/ 729 h 10031"/>
                <a:gd name="connsiteX22" fmla="*/ 5717 w 10000"/>
                <a:gd name="connsiteY22" fmla="*/ 658 h 10031"/>
                <a:gd name="connsiteX23" fmla="*/ 5643 w 10000"/>
                <a:gd name="connsiteY23" fmla="*/ 729 h 10031"/>
                <a:gd name="connsiteX24" fmla="*/ 1961 w 10000"/>
                <a:gd name="connsiteY24" fmla="*/ 729 h 10031"/>
                <a:gd name="connsiteX25" fmla="*/ 1961 w 10000"/>
                <a:gd name="connsiteY25" fmla="*/ 2263 h 10031"/>
                <a:gd name="connsiteX26" fmla="*/ 1285 w 10000"/>
                <a:gd name="connsiteY26" fmla="*/ 2263 h 10031"/>
                <a:gd name="connsiteX27" fmla="*/ 1285 w 10000"/>
                <a:gd name="connsiteY27" fmla="*/ 2556 h 10031"/>
                <a:gd name="connsiteX28" fmla="*/ 1285 w 10000"/>
                <a:gd name="connsiteY28" fmla="*/ 5179 h 10031"/>
                <a:gd name="connsiteX29" fmla="*/ 1135 w 10000"/>
                <a:gd name="connsiteY29" fmla="*/ 5327 h 10031"/>
                <a:gd name="connsiteX30" fmla="*/ 684 w 10000"/>
                <a:gd name="connsiteY30" fmla="*/ 5621 h 10031"/>
                <a:gd name="connsiteX31" fmla="*/ 609 w 10000"/>
                <a:gd name="connsiteY31" fmla="*/ 5986 h 10031"/>
                <a:gd name="connsiteX32" fmla="*/ 384 w 10000"/>
                <a:gd name="connsiteY32" fmla="*/ 6351 h 10031"/>
                <a:gd name="connsiteX33" fmla="*/ 234 w 10000"/>
                <a:gd name="connsiteY33" fmla="*/ 6935 h 10031"/>
                <a:gd name="connsiteX34" fmla="*/ 8 w 10000"/>
                <a:gd name="connsiteY34" fmla="*/ 7593 h 10031"/>
                <a:gd name="connsiteX35" fmla="*/ 384 w 10000"/>
                <a:gd name="connsiteY35" fmla="*/ 7664 h 10031"/>
                <a:gd name="connsiteX36" fmla="*/ 458 w 10000"/>
                <a:gd name="connsiteY36" fmla="*/ 8245 h 10031"/>
                <a:gd name="connsiteX37" fmla="*/ 684 w 10000"/>
                <a:gd name="connsiteY37" fmla="*/ 8831 h 10031"/>
                <a:gd name="connsiteX38" fmla="*/ 1059 w 10000"/>
                <a:gd name="connsiteY38" fmla="*/ 10000 h 10031"/>
                <a:gd name="connsiteX39" fmla="*/ 4373 w 10000"/>
                <a:gd name="connsiteY39" fmla="*/ 9246 h 10031"/>
                <a:gd name="connsiteX40" fmla="*/ 5064 w 10000"/>
                <a:gd name="connsiteY40" fmla="*/ 9274 h 10031"/>
                <a:gd name="connsiteX41" fmla="*/ 5457 w 10000"/>
                <a:gd name="connsiteY41" fmla="*/ 8984 h 10031"/>
                <a:gd name="connsiteX42" fmla="*/ 5884 w 10000"/>
                <a:gd name="connsiteY42" fmla="*/ 8740 h 10031"/>
                <a:gd name="connsiteX43" fmla="*/ 6040 w 10000"/>
                <a:gd name="connsiteY43" fmla="*/ 8368 h 10031"/>
                <a:gd name="connsiteX44" fmla="*/ 6382 w 10000"/>
                <a:gd name="connsiteY44" fmla="*/ 7982 h 10031"/>
                <a:gd name="connsiteX45" fmla="*/ 6428 w 10000"/>
                <a:gd name="connsiteY45" fmla="*/ 8181 h 10031"/>
                <a:gd name="connsiteX46" fmla="*/ 6444 w 10000"/>
                <a:gd name="connsiteY46" fmla="*/ 8428 h 10031"/>
                <a:gd name="connsiteX47" fmla="*/ 6766 w 10000"/>
                <a:gd name="connsiteY47" fmla="*/ 9268 h 10031"/>
                <a:gd name="connsiteX0" fmla="*/ 7446 w 10000"/>
                <a:gd name="connsiteY0" fmla="*/ 9488 h 10031"/>
                <a:gd name="connsiteX1" fmla="*/ 7446 w 10000"/>
                <a:gd name="connsiteY1" fmla="*/ 8978 h 10031"/>
                <a:gd name="connsiteX2" fmla="*/ 7821 w 10000"/>
                <a:gd name="connsiteY2" fmla="*/ 8978 h 10031"/>
                <a:gd name="connsiteX3" fmla="*/ 8047 w 10000"/>
                <a:gd name="connsiteY3" fmla="*/ 8029 h 10031"/>
                <a:gd name="connsiteX4" fmla="*/ 8648 w 10000"/>
                <a:gd name="connsiteY4" fmla="*/ 7444 h 10031"/>
                <a:gd name="connsiteX5" fmla="*/ 8873 w 10000"/>
                <a:gd name="connsiteY5" fmla="*/ 6351 h 10031"/>
                <a:gd name="connsiteX6" fmla="*/ 8722 w 10000"/>
                <a:gd name="connsiteY6" fmla="*/ 5768 h 10031"/>
                <a:gd name="connsiteX7" fmla="*/ 9098 w 10000"/>
                <a:gd name="connsiteY7" fmla="*/ 4525 h 10031"/>
                <a:gd name="connsiteX8" fmla="*/ 9399 w 10000"/>
                <a:gd name="connsiteY8" fmla="*/ 4160 h 10031"/>
                <a:gd name="connsiteX9" fmla="*/ 10000 w 10000"/>
                <a:gd name="connsiteY9" fmla="*/ 3576 h 10031"/>
                <a:gd name="connsiteX10" fmla="*/ 9774 w 10000"/>
                <a:gd name="connsiteY10" fmla="*/ 3502 h 10031"/>
                <a:gd name="connsiteX11" fmla="*/ 9399 w 10000"/>
                <a:gd name="connsiteY11" fmla="*/ 3140 h 10031"/>
                <a:gd name="connsiteX12" fmla="*/ 9173 w 10000"/>
                <a:gd name="connsiteY12" fmla="*/ 2044 h 10031"/>
                <a:gd name="connsiteX13" fmla="*/ 9173 w 10000"/>
                <a:gd name="connsiteY13" fmla="*/ 1460 h 10031"/>
                <a:gd name="connsiteX14" fmla="*/ 9098 w 10000"/>
                <a:gd name="connsiteY14" fmla="*/ 729 h 10031"/>
                <a:gd name="connsiteX15" fmla="*/ 8873 w 10000"/>
                <a:gd name="connsiteY15" fmla="*/ 511 h 10031"/>
                <a:gd name="connsiteX16" fmla="*/ 8497 w 10000"/>
                <a:gd name="connsiteY16" fmla="*/ 219 h 10031"/>
                <a:gd name="connsiteX17" fmla="*/ 8272 w 10000"/>
                <a:gd name="connsiteY17" fmla="*/ 0 h 10031"/>
                <a:gd name="connsiteX18" fmla="*/ 7821 w 10000"/>
                <a:gd name="connsiteY18" fmla="*/ 293 h 10031"/>
                <a:gd name="connsiteX19" fmla="*/ 7370 w 10000"/>
                <a:gd name="connsiteY19" fmla="*/ 729 h 10031"/>
                <a:gd name="connsiteX20" fmla="*/ 6769 w 10000"/>
                <a:gd name="connsiteY20" fmla="*/ 729 h 10031"/>
                <a:gd name="connsiteX21" fmla="*/ 5717 w 10000"/>
                <a:gd name="connsiteY21" fmla="*/ 729 h 10031"/>
                <a:gd name="connsiteX22" fmla="*/ 5717 w 10000"/>
                <a:gd name="connsiteY22" fmla="*/ 658 h 10031"/>
                <a:gd name="connsiteX23" fmla="*/ 5643 w 10000"/>
                <a:gd name="connsiteY23" fmla="*/ 729 h 10031"/>
                <a:gd name="connsiteX24" fmla="*/ 1961 w 10000"/>
                <a:gd name="connsiteY24" fmla="*/ 729 h 10031"/>
                <a:gd name="connsiteX25" fmla="*/ 1961 w 10000"/>
                <a:gd name="connsiteY25" fmla="*/ 2263 h 10031"/>
                <a:gd name="connsiteX26" fmla="*/ 1285 w 10000"/>
                <a:gd name="connsiteY26" fmla="*/ 2263 h 10031"/>
                <a:gd name="connsiteX27" fmla="*/ 1285 w 10000"/>
                <a:gd name="connsiteY27" fmla="*/ 2556 h 10031"/>
                <a:gd name="connsiteX28" fmla="*/ 1285 w 10000"/>
                <a:gd name="connsiteY28" fmla="*/ 5179 h 10031"/>
                <a:gd name="connsiteX29" fmla="*/ 1135 w 10000"/>
                <a:gd name="connsiteY29" fmla="*/ 5327 h 10031"/>
                <a:gd name="connsiteX30" fmla="*/ 684 w 10000"/>
                <a:gd name="connsiteY30" fmla="*/ 5621 h 10031"/>
                <a:gd name="connsiteX31" fmla="*/ 609 w 10000"/>
                <a:gd name="connsiteY31" fmla="*/ 5986 h 10031"/>
                <a:gd name="connsiteX32" fmla="*/ 384 w 10000"/>
                <a:gd name="connsiteY32" fmla="*/ 6351 h 10031"/>
                <a:gd name="connsiteX33" fmla="*/ 234 w 10000"/>
                <a:gd name="connsiteY33" fmla="*/ 6935 h 10031"/>
                <a:gd name="connsiteX34" fmla="*/ 8 w 10000"/>
                <a:gd name="connsiteY34" fmla="*/ 7593 h 10031"/>
                <a:gd name="connsiteX35" fmla="*/ 384 w 10000"/>
                <a:gd name="connsiteY35" fmla="*/ 7664 h 10031"/>
                <a:gd name="connsiteX36" fmla="*/ 458 w 10000"/>
                <a:gd name="connsiteY36" fmla="*/ 8245 h 10031"/>
                <a:gd name="connsiteX37" fmla="*/ 684 w 10000"/>
                <a:gd name="connsiteY37" fmla="*/ 8831 h 10031"/>
                <a:gd name="connsiteX38" fmla="*/ 1059 w 10000"/>
                <a:gd name="connsiteY38" fmla="*/ 10000 h 10031"/>
                <a:gd name="connsiteX39" fmla="*/ 4373 w 10000"/>
                <a:gd name="connsiteY39" fmla="*/ 9246 h 10031"/>
                <a:gd name="connsiteX40" fmla="*/ 5064 w 10000"/>
                <a:gd name="connsiteY40" fmla="*/ 9274 h 10031"/>
                <a:gd name="connsiteX41" fmla="*/ 5457 w 10000"/>
                <a:gd name="connsiteY41" fmla="*/ 8984 h 10031"/>
                <a:gd name="connsiteX42" fmla="*/ 5884 w 10000"/>
                <a:gd name="connsiteY42" fmla="*/ 8740 h 10031"/>
                <a:gd name="connsiteX43" fmla="*/ 6040 w 10000"/>
                <a:gd name="connsiteY43" fmla="*/ 8368 h 10031"/>
                <a:gd name="connsiteX44" fmla="*/ 6382 w 10000"/>
                <a:gd name="connsiteY44" fmla="*/ 7982 h 10031"/>
                <a:gd name="connsiteX45" fmla="*/ 6428 w 10000"/>
                <a:gd name="connsiteY45" fmla="*/ 8181 h 10031"/>
                <a:gd name="connsiteX46" fmla="*/ 6444 w 10000"/>
                <a:gd name="connsiteY46" fmla="*/ 8428 h 10031"/>
                <a:gd name="connsiteX47" fmla="*/ 6766 w 10000"/>
                <a:gd name="connsiteY47" fmla="*/ 9268 h 10031"/>
                <a:gd name="connsiteX0" fmla="*/ 7446 w 10000"/>
                <a:gd name="connsiteY0" fmla="*/ 9488 h 10031"/>
                <a:gd name="connsiteX1" fmla="*/ 7446 w 10000"/>
                <a:gd name="connsiteY1" fmla="*/ 8978 h 10031"/>
                <a:gd name="connsiteX2" fmla="*/ 7821 w 10000"/>
                <a:gd name="connsiteY2" fmla="*/ 8978 h 10031"/>
                <a:gd name="connsiteX3" fmla="*/ 8047 w 10000"/>
                <a:gd name="connsiteY3" fmla="*/ 8029 h 10031"/>
                <a:gd name="connsiteX4" fmla="*/ 8648 w 10000"/>
                <a:gd name="connsiteY4" fmla="*/ 7444 h 10031"/>
                <a:gd name="connsiteX5" fmla="*/ 8873 w 10000"/>
                <a:gd name="connsiteY5" fmla="*/ 6351 h 10031"/>
                <a:gd name="connsiteX6" fmla="*/ 8722 w 10000"/>
                <a:gd name="connsiteY6" fmla="*/ 5768 h 10031"/>
                <a:gd name="connsiteX7" fmla="*/ 9098 w 10000"/>
                <a:gd name="connsiteY7" fmla="*/ 4525 h 10031"/>
                <a:gd name="connsiteX8" fmla="*/ 9399 w 10000"/>
                <a:gd name="connsiteY8" fmla="*/ 4160 h 10031"/>
                <a:gd name="connsiteX9" fmla="*/ 10000 w 10000"/>
                <a:gd name="connsiteY9" fmla="*/ 3576 h 10031"/>
                <a:gd name="connsiteX10" fmla="*/ 9774 w 10000"/>
                <a:gd name="connsiteY10" fmla="*/ 3502 h 10031"/>
                <a:gd name="connsiteX11" fmla="*/ 9399 w 10000"/>
                <a:gd name="connsiteY11" fmla="*/ 3140 h 10031"/>
                <a:gd name="connsiteX12" fmla="*/ 9173 w 10000"/>
                <a:gd name="connsiteY12" fmla="*/ 2044 h 10031"/>
                <a:gd name="connsiteX13" fmla="*/ 9173 w 10000"/>
                <a:gd name="connsiteY13" fmla="*/ 1460 h 10031"/>
                <a:gd name="connsiteX14" fmla="*/ 9098 w 10000"/>
                <a:gd name="connsiteY14" fmla="*/ 729 h 10031"/>
                <a:gd name="connsiteX15" fmla="*/ 8873 w 10000"/>
                <a:gd name="connsiteY15" fmla="*/ 511 h 10031"/>
                <a:gd name="connsiteX16" fmla="*/ 8497 w 10000"/>
                <a:gd name="connsiteY16" fmla="*/ 219 h 10031"/>
                <a:gd name="connsiteX17" fmla="*/ 8272 w 10000"/>
                <a:gd name="connsiteY17" fmla="*/ 0 h 10031"/>
                <a:gd name="connsiteX18" fmla="*/ 7821 w 10000"/>
                <a:gd name="connsiteY18" fmla="*/ 293 h 10031"/>
                <a:gd name="connsiteX19" fmla="*/ 7370 w 10000"/>
                <a:gd name="connsiteY19" fmla="*/ 729 h 10031"/>
                <a:gd name="connsiteX20" fmla="*/ 6769 w 10000"/>
                <a:gd name="connsiteY20" fmla="*/ 729 h 10031"/>
                <a:gd name="connsiteX21" fmla="*/ 5717 w 10000"/>
                <a:gd name="connsiteY21" fmla="*/ 729 h 10031"/>
                <a:gd name="connsiteX22" fmla="*/ 5717 w 10000"/>
                <a:gd name="connsiteY22" fmla="*/ 658 h 10031"/>
                <a:gd name="connsiteX23" fmla="*/ 5643 w 10000"/>
                <a:gd name="connsiteY23" fmla="*/ 729 h 10031"/>
                <a:gd name="connsiteX24" fmla="*/ 1961 w 10000"/>
                <a:gd name="connsiteY24" fmla="*/ 729 h 10031"/>
                <a:gd name="connsiteX25" fmla="*/ 1961 w 10000"/>
                <a:gd name="connsiteY25" fmla="*/ 2263 h 10031"/>
                <a:gd name="connsiteX26" fmla="*/ 1285 w 10000"/>
                <a:gd name="connsiteY26" fmla="*/ 2263 h 10031"/>
                <a:gd name="connsiteX27" fmla="*/ 1285 w 10000"/>
                <a:gd name="connsiteY27" fmla="*/ 2556 h 10031"/>
                <a:gd name="connsiteX28" fmla="*/ 1285 w 10000"/>
                <a:gd name="connsiteY28" fmla="*/ 5179 h 10031"/>
                <a:gd name="connsiteX29" fmla="*/ 1135 w 10000"/>
                <a:gd name="connsiteY29" fmla="*/ 5327 h 10031"/>
                <a:gd name="connsiteX30" fmla="*/ 684 w 10000"/>
                <a:gd name="connsiteY30" fmla="*/ 5621 h 10031"/>
                <a:gd name="connsiteX31" fmla="*/ 609 w 10000"/>
                <a:gd name="connsiteY31" fmla="*/ 5986 h 10031"/>
                <a:gd name="connsiteX32" fmla="*/ 384 w 10000"/>
                <a:gd name="connsiteY32" fmla="*/ 6351 h 10031"/>
                <a:gd name="connsiteX33" fmla="*/ 234 w 10000"/>
                <a:gd name="connsiteY33" fmla="*/ 6935 h 10031"/>
                <a:gd name="connsiteX34" fmla="*/ 8 w 10000"/>
                <a:gd name="connsiteY34" fmla="*/ 7593 h 10031"/>
                <a:gd name="connsiteX35" fmla="*/ 384 w 10000"/>
                <a:gd name="connsiteY35" fmla="*/ 7664 h 10031"/>
                <a:gd name="connsiteX36" fmla="*/ 458 w 10000"/>
                <a:gd name="connsiteY36" fmla="*/ 8245 h 10031"/>
                <a:gd name="connsiteX37" fmla="*/ 684 w 10000"/>
                <a:gd name="connsiteY37" fmla="*/ 8831 h 10031"/>
                <a:gd name="connsiteX38" fmla="*/ 1059 w 10000"/>
                <a:gd name="connsiteY38" fmla="*/ 10000 h 10031"/>
                <a:gd name="connsiteX39" fmla="*/ 4373 w 10000"/>
                <a:gd name="connsiteY39" fmla="*/ 9246 h 10031"/>
                <a:gd name="connsiteX40" fmla="*/ 5064 w 10000"/>
                <a:gd name="connsiteY40" fmla="*/ 9311 h 10031"/>
                <a:gd name="connsiteX41" fmla="*/ 5457 w 10000"/>
                <a:gd name="connsiteY41" fmla="*/ 8984 h 10031"/>
                <a:gd name="connsiteX42" fmla="*/ 5884 w 10000"/>
                <a:gd name="connsiteY42" fmla="*/ 8740 h 10031"/>
                <a:gd name="connsiteX43" fmla="*/ 6040 w 10000"/>
                <a:gd name="connsiteY43" fmla="*/ 8368 h 10031"/>
                <a:gd name="connsiteX44" fmla="*/ 6382 w 10000"/>
                <a:gd name="connsiteY44" fmla="*/ 7982 h 10031"/>
                <a:gd name="connsiteX45" fmla="*/ 6428 w 10000"/>
                <a:gd name="connsiteY45" fmla="*/ 8181 h 10031"/>
                <a:gd name="connsiteX46" fmla="*/ 6444 w 10000"/>
                <a:gd name="connsiteY46" fmla="*/ 8428 h 10031"/>
                <a:gd name="connsiteX47" fmla="*/ 6766 w 10000"/>
                <a:gd name="connsiteY47" fmla="*/ 9268 h 10031"/>
                <a:gd name="connsiteX0" fmla="*/ 7446 w 10000"/>
                <a:gd name="connsiteY0" fmla="*/ 9488 h 10031"/>
                <a:gd name="connsiteX1" fmla="*/ 7446 w 10000"/>
                <a:gd name="connsiteY1" fmla="*/ 8978 h 10031"/>
                <a:gd name="connsiteX2" fmla="*/ 7821 w 10000"/>
                <a:gd name="connsiteY2" fmla="*/ 8978 h 10031"/>
                <a:gd name="connsiteX3" fmla="*/ 8047 w 10000"/>
                <a:gd name="connsiteY3" fmla="*/ 8029 h 10031"/>
                <a:gd name="connsiteX4" fmla="*/ 8648 w 10000"/>
                <a:gd name="connsiteY4" fmla="*/ 7444 h 10031"/>
                <a:gd name="connsiteX5" fmla="*/ 8873 w 10000"/>
                <a:gd name="connsiteY5" fmla="*/ 6351 h 10031"/>
                <a:gd name="connsiteX6" fmla="*/ 8722 w 10000"/>
                <a:gd name="connsiteY6" fmla="*/ 5768 h 10031"/>
                <a:gd name="connsiteX7" fmla="*/ 9098 w 10000"/>
                <a:gd name="connsiteY7" fmla="*/ 4525 h 10031"/>
                <a:gd name="connsiteX8" fmla="*/ 9399 w 10000"/>
                <a:gd name="connsiteY8" fmla="*/ 4160 h 10031"/>
                <a:gd name="connsiteX9" fmla="*/ 10000 w 10000"/>
                <a:gd name="connsiteY9" fmla="*/ 3576 h 10031"/>
                <a:gd name="connsiteX10" fmla="*/ 9774 w 10000"/>
                <a:gd name="connsiteY10" fmla="*/ 3502 h 10031"/>
                <a:gd name="connsiteX11" fmla="*/ 9399 w 10000"/>
                <a:gd name="connsiteY11" fmla="*/ 3140 h 10031"/>
                <a:gd name="connsiteX12" fmla="*/ 9173 w 10000"/>
                <a:gd name="connsiteY12" fmla="*/ 2044 h 10031"/>
                <a:gd name="connsiteX13" fmla="*/ 9173 w 10000"/>
                <a:gd name="connsiteY13" fmla="*/ 1460 h 10031"/>
                <a:gd name="connsiteX14" fmla="*/ 9098 w 10000"/>
                <a:gd name="connsiteY14" fmla="*/ 729 h 10031"/>
                <a:gd name="connsiteX15" fmla="*/ 8873 w 10000"/>
                <a:gd name="connsiteY15" fmla="*/ 511 h 10031"/>
                <a:gd name="connsiteX16" fmla="*/ 8497 w 10000"/>
                <a:gd name="connsiteY16" fmla="*/ 219 h 10031"/>
                <a:gd name="connsiteX17" fmla="*/ 8272 w 10000"/>
                <a:gd name="connsiteY17" fmla="*/ 0 h 10031"/>
                <a:gd name="connsiteX18" fmla="*/ 7821 w 10000"/>
                <a:gd name="connsiteY18" fmla="*/ 293 h 10031"/>
                <a:gd name="connsiteX19" fmla="*/ 7370 w 10000"/>
                <a:gd name="connsiteY19" fmla="*/ 729 h 10031"/>
                <a:gd name="connsiteX20" fmla="*/ 6769 w 10000"/>
                <a:gd name="connsiteY20" fmla="*/ 729 h 10031"/>
                <a:gd name="connsiteX21" fmla="*/ 5717 w 10000"/>
                <a:gd name="connsiteY21" fmla="*/ 729 h 10031"/>
                <a:gd name="connsiteX22" fmla="*/ 5717 w 10000"/>
                <a:gd name="connsiteY22" fmla="*/ 658 h 10031"/>
                <a:gd name="connsiteX23" fmla="*/ 5643 w 10000"/>
                <a:gd name="connsiteY23" fmla="*/ 729 h 10031"/>
                <a:gd name="connsiteX24" fmla="*/ 1961 w 10000"/>
                <a:gd name="connsiteY24" fmla="*/ 729 h 10031"/>
                <a:gd name="connsiteX25" fmla="*/ 1961 w 10000"/>
                <a:gd name="connsiteY25" fmla="*/ 2263 h 10031"/>
                <a:gd name="connsiteX26" fmla="*/ 1285 w 10000"/>
                <a:gd name="connsiteY26" fmla="*/ 2263 h 10031"/>
                <a:gd name="connsiteX27" fmla="*/ 1285 w 10000"/>
                <a:gd name="connsiteY27" fmla="*/ 2556 h 10031"/>
                <a:gd name="connsiteX28" fmla="*/ 1285 w 10000"/>
                <a:gd name="connsiteY28" fmla="*/ 5179 h 10031"/>
                <a:gd name="connsiteX29" fmla="*/ 1135 w 10000"/>
                <a:gd name="connsiteY29" fmla="*/ 5327 h 10031"/>
                <a:gd name="connsiteX30" fmla="*/ 684 w 10000"/>
                <a:gd name="connsiteY30" fmla="*/ 5621 h 10031"/>
                <a:gd name="connsiteX31" fmla="*/ 609 w 10000"/>
                <a:gd name="connsiteY31" fmla="*/ 5986 h 10031"/>
                <a:gd name="connsiteX32" fmla="*/ 384 w 10000"/>
                <a:gd name="connsiteY32" fmla="*/ 6351 h 10031"/>
                <a:gd name="connsiteX33" fmla="*/ 234 w 10000"/>
                <a:gd name="connsiteY33" fmla="*/ 6935 h 10031"/>
                <a:gd name="connsiteX34" fmla="*/ 8 w 10000"/>
                <a:gd name="connsiteY34" fmla="*/ 7593 h 10031"/>
                <a:gd name="connsiteX35" fmla="*/ 384 w 10000"/>
                <a:gd name="connsiteY35" fmla="*/ 7664 h 10031"/>
                <a:gd name="connsiteX36" fmla="*/ 458 w 10000"/>
                <a:gd name="connsiteY36" fmla="*/ 8245 h 10031"/>
                <a:gd name="connsiteX37" fmla="*/ 684 w 10000"/>
                <a:gd name="connsiteY37" fmla="*/ 8831 h 10031"/>
                <a:gd name="connsiteX38" fmla="*/ 1059 w 10000"/>
                <a:gd name="connsiteY38" fmla="*/ 10000 h 10031"/>
                <a:gd name="connsiteX39" fmla="*/ 4373 w 10000"/>
                <a:gd name="connsiteY39" fmla="*/ 9246 h 10031"/>
                <a:gd name="connsiteX40" fmla="*/ 5064 w 10000"/>
                <a:gd name="connsiteY40" fmla="*/ 9311 h 10031"/>
                <a:gd name="connsiteX41" fmla="*/ 5457 w 10000"/>
                <a:gd name="connsiteY41" fmla="*/ 8984 h 10031"/>
                <a:gd name="connsiteX42" fmla="*/ 5884 w 10000"/>
                <a:gd name="connsiteY42" fmla="*/ 8740 h 10031"/>
                <a:gd name="connsiteX43" fmla="*/ 6040 w 10000"/>
                <a:gd name="connsiteY43" fmla="*/ 8368 h 10031"/>
                <a:gd name="connsiteX44" fmla="*/ 6382 w 10000"/>
                <a:gd name="connsiteY44" fmla="*/ 7982 h 10031"/>
                <a:gd name="connsiteX45" fmla="*/ 6428 w 10000"/>
                <a:gd name="connsiteY45" fmla="*/ 8181 h 10031"/>
                <a:gd name="connsiteX46" fmla="*/ 6444 w 10000"/>
                <a:gd name="connsiteY46" fmla="*/ 8428 h 10031"/>
                <a:gd name="connsiteX47" fmla="*/ 6766 w 10000"/>
                <a:gd name="connsiteY47" fmla="*/ 9268 h 10031"/>
                <a:gd name="connsiteX0" fmla="*/ 7446 w 10000"/>
                <a:gd name="connsiteY0" fmla="*/ 9488 h 10033"/>
                <a:gd name="connsiteX1" fmla="*/ 7446 w 10000"/>
                <a:gd name="connsiteY1" fmla="*/ 8978 h 10033"/>
                <a:gd name="connsiteX2" fmla="*/ 7821 w 10000"/>
                <a:gd name="connsiteY2" fmla="*/ 8978 h 10033"/>
                <a:gd name="connsiteX3" fmla="*/ 8047 w 10000"/>
                <a:gd name="connsiteY3" fmla="*/ 8029 h 10033"/>
                <a:gd name="connsiteX4" fmla="*/ 8648 w 10000"/>
                <a:gd name="connsiteY4" fmla="*/ 7444 h 10033"/>
                <a:gd name="connsiteX5" fmla="*/ 8873 w 10000"/>
                <a:gd name="connsiteY5" fmla="*/ 6351 h 10033"/>
                <a:gd name="connsiteX6" fmla="*/ 8722 w 10000"/>
                <a:gd name="connsiteY6" fmla="*/ 5768 h 10033"/>
                <a:gd name="connsiteX7" fmla="*/ 9098 w 10000"/>
                <a:gd name="connsiteY7" fmla="*/ 4525 h 10033"/>
                <a:gd name="connsiteX8" fmla="*/ 9399 w 10000"/>
                <a:gd name="connsiteY8" fmla="*/ 4160 h 10033"/>
                <a:gd name="connsiteX9" fmla="*/ 10000 w 10000"/>
                <a:gd name="connsiteY9" fmla="*/ 3576 h 10033"/>
                <a:gd name="connsiteX10" fmla="*/ 9774 w 10000"/>
                <a:gd name="connsiteY10" fmla="*/ 3502 h 10033"/>
                <a:gd name="connsiteX11" fmla="*/ 9399 w 10000"/>
                <a:gd name="connsiteY11" fmla="*/ 3140 h 10033"/>
                <a:gd name="connsiteX12" fmla="*/ 9173 w 10000"/>
                <a:gd name="connsiteY12" fmla="*/ 2044 h 10033"/>
                <a:gd name="connsiteX13" fmla="*/ 9173 w 10000"/>
                <a:gd name="connsiteY13" fmla="*/ 1460 h 10033"/>
                <a:gd name="connsiteX14" fmla="*/ 9098 w 10000"/>
                <a:gd name="connsiteY14" fmla="*/ 729 h 10033"/>
                <a:gd name="connsiteX15" fmla="*/ 8873 w 10000"/>
                <a:gd name="connsiteY15" fmla="*/ 511 h 10033"/>
                <a:gd name="connsiteX16" fmla="*/ 8497 w 10000"/>
                <a:gd name="connsiteY16" fmla="*/ 219 h 10033"/>
                <a:gd name="connsiteX17" fmla="*/ 8272 w 10000"/>
                <a:gd name="connsiteY17" fmla="*/ 0 h 10033"/>
                <a:gd name="connsiteX18" fmla="*/ 7821 w 10000"/>
                <a:gd name="connsiteY18" fmla="*/ 293 h 10033"/>
                <a:gd name="connsiteX19" fmla="*/ 7370 w 10000"/>
                <a:gd name="connsiteY19" fmla="*/ 729 h 10033"/>
                <a:gd name="connsiteX20" fmla="*/ 6769 w 10000"/>
                <a:gd name="connsiteY20" fmla="*/ 729 h 10033"/>
                <a:gd name="connsiteX21" fmla="*/ 5717 w 10000"/>
                <a:gd name="connsiteY21" fmla="*/ 729 h 10033"/>
                <a:gd name="connsiteX22" fmla="*/ 5717 w 10000"/>
                <a:gd name="connsiteY22" fmla="*/ 658 h 10033"/>
                <a:gd name="connsiteX23" fmla="*/ 5643 w 10000"/>
                <a:gd name="connsiteY23" fmla="*/ 729 h 10033"/>
                <a:gd name="connsiteX24" fmla="*/ 1961 w 10000"/>
                <a:gd name="connsiteY24" fmla="*/ 729 h 10033"/>
                <a:gd name="connsiteX25" fmla="*/ 1961 w 10000"/>
                <a:gd name="connsiteY25" fmla="*/ 2263 h 10033"/>
                <a:gd name="connsiteX26" fmla="*/ 1285 w 10000"/>
                <a:gd name="connsiteY26" fmla="*/ 2263 h 10033"/>
                <a:gd name="connsiteX27" fmla="*/ 1285 w 10000"/>
                <a:gd name="connsiteY27" fmla="*/ 2556 h 10033"/>
                <a:gd name="connsiteX28" fmla="*/ 1285 w 10000"/>
                <a:gd name="connsiteY28" fmla="*/ 5179 h 10033"/>
                <a:gd name="connsiteX29" fmla="*/ 1135 w 10000"/>
                <a:gd name="connsiteY29" fmla="*/ 5327 h 10033"/>
                <a:gd name="connsiteX30" fmla="*/ 684 w 10000"/>
                <a:gd name="connsiteY30" fmla="*/ 5621 h 10033"/>
                <a:gd name="connsiteX31" fmla="*/ 609 w 10000"/>
                <a:gd name="connsiteY31" fmla="*/ 5986 h 10033"/>
                <a:gd name="connsiteX32" fmla="*/ 384 w 10000"/>
                <a:gd name="connsiteY32" fmla="*/ 6351 h 10033"/>
                <a:gd name="connsiteX33" fmla="*/ 234 w 10000"/>
                <a:gd name="connsiteY33" fmla="*/ 6935 h 10033"/>
                <a:gd name="connsiteX34" fmla="*/ 8 w 10000"/>
                <a:gd name="connsiteY34" fmla="*/ 7593 h 10033"/>
                <a:gd name="connsiteX35" fmla="*/ 384 w 10000"/>
                <a:gd name="connsiteY35" fmla="*/ 7664 h 10033"/>
                <a:gd name="connsiteX36" fmla="*/ 458 w 10000"/>
                <a:gd name="connsiteY36" fmla="*/ 8245 h 10033"/>
                <a:gd name="connsiteX37" fmla="*/ 684 w 10000"/>
                <a:gd name="connsiteY37" fmla="*/ 8831 h 10033"/>
                <a:gd name="connsiteX38" fmla="*/ 1059 w 10000"/>
                <a:gd name="connsiteY38" fmla="*/ 10000 h 10033"/>
                <a:gd name="connsiteX39" fmla="*/ 4373 w 10000"/>
                <a:gd name="connsiteY39" fmla="*/ 9293 h 10033"/>
                <a:gd name="connsiteX40" fmla="*/ 5064 w 10000"/>
                <a:gd name="connsiteY40" fmla="*/ 9311 h 10033"/>
                <a:gd name="connsiteX41" fmla="*/ 5457 w 10000"/>
                <a:gd name="connsiteY41" fmla="*/ 8984 h 10033"/>
                <a:gd name="connsiteX42" fmla="*/ 5884 w 10000"/>
                <a:gd name="connsiteY42" fmla="*/ 8740 h 10033"/>
                <a:gd name="connsiteX43" fmla="*/ 6040 w 10000"/>
                <a:gd name="connsiteY43" fmla="*/ 8368 h 10033"/>
                <a:gd name="connsiteX44" fmla="*/ 6382 w 10000"/>
                <a:gd name="connsiteY44" fmla="*/ 7982 h 10033"/>
                <a:gd name="connsiteX45" fmla="*/ 6428 w 10000"/>
                <a:gd name="connsiteY45" fmla="*/ 8181 h 10033"/>
                <a:gd name="connsiteX46" fmla="*/ 6444 w 10000"/>
                <a:gd name="connsiteY46" fmla="*/ 8428 h 10033"/>
                <a:gd name="connsiteX47" fmla="*/ 6766 w 10000"/>
                <a:gd name="connsiteY47" fmla="*/ 9268 h 10033"/>
                <a:gd name="connsiteX0" fmla="*/ 7446 w 10000"/>
                <a:gd name="connsiteY0" fmla="*/ 9488 h 10015"/>
                <a:gd name="connsiteX1" fmla="*/ 7446 w 10000"/>
                <a:gd name="connsiteY1" fmla="*/ 8978 h 10015"/>
                <a:gd name="connsiteX2" fmla="*/ 7821 w 10000"/>
                <a:gd name="connsiteY2" fmla="*/ 8978 h 10015"/>
                <a:gd name="connsiteX3" fmla="*/ 8047 w 10000"/>
                <a:gd name="connsiteY3" fmla="*/ 8029 h 10015"/>
                <a:gd name="connsiteX4" fmla="*/ 8648 w 10000"/>
                <a:gd name="connsiteY4" fmla="*/ 7444 h 10015"/>
                <a:gd name="connsiteX5" fmla="*/ 8873 w 10000"/>
                <a:gd name="connsiteY5" fmla="*/ 6351 h 10015"/>
                <a:gd name="connsiteX6" fmla="*/ 8722 w 10000"/>
                <a:gd name="connsiteY6" fmla="*/ 5768 h 10015"/>
                <a:gd name="connsiteX7" fmla="*/ 9098 w 10000"/>
                <a:gd name="connsiteY7" fmla="*/ 4525 h 10015"/>
                <a:gd name="connsiteX8" fmla="*/ 9399 w 10000"/>
                <a:gd name="connsiteY8" fmla="*/ 4160 h 10015"/>
                <a:gd name="connsiteX9" fmla="*/ 10000 w 10000"/>
                <a:gd name="connsiteY9" fmla="*/ 3576 h 10015"/>
                <a:gd name="connsiteX10" fmla="*/ 9774 w 10000"/>
                <a:gd name="connsiteY10" fmla="*/ 3502 h 10015"/>
                <a:gd name="connsiteX11" fmla="*/ 9399 w 10000"/>
                <a:gd name="connsiteY11" fmla="*/ 3140 h 10015"/>
                <a:gd name="connsiteX12" fmla="*/ 9173 w 10000"/>
                <a:gd name="connsiteY12" fmla="*/ 2044 h 10015"/>
                <a:gd name="connsiteX13" fmla="*/ 9173 w 10000"/>
                <a:gd name="connsiteY13" fmla="*/ 1460 h 10015"/>
                <a:gd name="connsiteX14" fmla="*/ 9098 w 10000"/>
                <a:gd name="connsiteY14" fmla="*/ 729 h 10015"/>
                <a:gd name="connsiteX15" fmla="*/ 8873 w 10000"/>
                <a:gd name="connsiteY15" fmla="*/ 511 h 10015"/>
                <a:gd name="connsiteX16" fmla="*/ 8497 w 10000"/>
                <a:gd name="connsiteY16" fmla="*/ 219 h 10015"/>
                <a:gd name="connsiteX17" fmla="*/ 8272 w 10000"/>
                <a:gd name="connsiteY17" fmla="*/ 0 h 10015"/>
                <a:gd name="connsiteX18" fmla="*/ 7821 w 10000"/>
                <a:gd name="connsiteY18" fmla="*/ 293 h 10015"/>
                <a:gd name="connsiteX19" fmla="*/ 7370 w 10000"/>
                <a:gd name="connsiteY19" fmla="*/ 729 h 10015"/>
                <a:gd name="connsiteX20" fmla="*/ 6769 w 10000"/>
                <a:gd name="connsiteY20" fmla="*/ 729 h 10015"/>
                <a:gd name="connsiteX21" fmla="*/ 5717 w 10000"/>
                <a:gd name="connsiteY21" fmla="*/ 729 h 10015"/>
                <a:gd name="connsiteX22" fmla="*/ 5717 w 10000"/>
                <a:gd name="connsiteY22" fmla="*/ 658 h 10015"/>
                <a:gd name="connsiteX23" fmla="*/ 5643 w 10000"/>
                <a:gd name="connsiteY23" fmla="*/ 729 h 10015"/>
                <a:gd name="connsiteX24" fmla="*/ 1961 w 10000"/>
                <a:gd name="connsiteY24" fmla="*/ 729 h 10015"/>
                <a:gd name="connsiteX25" fmla="*/ 1961 w 10000"/>
                <a:gd name="connsiteY25" fmla="*/ 2263 h 10015"/>
                <a:gd name="connsiteX26" fmla="*/ 1285 w 10000"/>
                <a:gd name="connsiteY26" fmla="*/ 2263 h 10015"/>
                <a:gd name="connsiteX27" fmla="*/ 1285 w 10000"/>
                <a:gd name="connsiteY27" fmla="*/ 2556 h 10015"/>
                <a:gd name="connsiteX28" fmla="*/ 1285 w 10000"/>
                <a:gd name="connsiteY28" fmla="*/ 5179 h 10015"/>
                <a:gd name="connsiteX29" fmla="*/ 1135 w 10000"/>
                <a:gd name="connsiteY29" fmla="*/ 5327 h 10015"/>
                <a:gd name="connsiteX30" fmla="*/ 684 w 10000"/>
                <a:gd name="connsiteY30" fmla="*/ 5621 h 10015"/>
                <a:gd name="connsiteX31" fmla="*/ 609 w 10000"/>
                <a:gd name="connsiteY31" fmla="*/ 5986 h 10015"/>
                <a:gd name="connsiteX32" fmla="*/ 384 w 10000"/>
                <a:gd name="connsiteY32" fmla="*/ 6351 h 10015"/>
                <a:gd name="connsiteX33" fmla="*/ 234 w 10000"/>
                <a:gd name="connsiteY33" fmla="*/ 6935 h 10015"/>
                <a:gd name="connsiteX34" fmla="*/ 8 w 10000"/>
                <a:gd name="connsiteY34" fmla="*/ 7593 h 10015"/>
                <a:gd name="connsiteX35" fmla="*/ 384 w 10000"/>
                <a:gd name="connsiteY35" fmla="*/ 7664 h 10015"/>
                <a:gd name="connsiteX36" fmla="*/ 458 w 10000"/>
                <a:gd name="connsiteY36" fmla="*/ 8245 h 10015"/>
                <a:gd name="connsiteX37" fmla="*/ 684 w 10000"/>
                <a:gd name="connsiteY37" fmla="*/ 8831 h 10015"/>
                <a:gd name="connsiteX38" fmla="*/ 1059 w 10000"/>
                <a:gd name="connsiteY38" fmla="*/ 10000 h 10015"/>
                <a:gd name="connsiteX39" fmla="*/ 3729 w 10000"/>
                <a:gd name="connsiteY39" fmla="*/ 9526 h 10015"/>
                <a:gd name="connsiteX40" fmla="*/ 4373 w 10000"/>
                <a:gd name="connsiteY40" fmla="*/ 9293 h 10015"/>
                <a:gd name="connsiteX41" fmla="*/ 5064 w 10000"/>
                <a:gd name="connsiteY41" fmla="*/ 9311 h 10015"/>
                <a:gd name="connsiteX42" fmla="*/ 5457 w 10000"/>
                <a:gd name="connsiteY42" fmla="*/ 8984 h 10015"/>
                <a:gd name="connsiteX43" fmla="*/ 5884 w 10000"/>
                <a:gd name="connsiteY43" fmla="*/ 8740 h 10015"/>
                <a:gd name="connsiteX44" fmla="*/ 6040 w 10000"/>
                <a:gd name="connsiteY44" fmla="*/ 8368 h 10015"/>
                <a:gd name="connsiteX45" fmla="*/ 6382 w 10000"/>
                <a:gd name="connsiteY45" fmla="*/ 7982 h 10015"/>
                <a:gd name="connsiteX46" fmla="*/ 6428 w 10000"/>
                <a:gd name="connsiteY46" fmla="*/ 8181 h 10015"/>
                <a:gd name="connsiteX47" fmla="*/ 6444 w 10000"/>
                <a:gd name="connsiteY47" fmla="*/ 8428 h 10015"/>
                <a:gd name="connsiteX48" fmla="*/ 6766 w 10000"/>
                <a:gd name="connsiteY48" fmla="*/ 9268 h 10015"/>
                <a:gd name="connsiteX0" fmla="*/ 7446 w 10000"/>
                <a:gd name="connsiteY0" fmla="*/ 9488 h 10020"/>
                <a:gd name="connsiteX1" fmla="*/ 7446 w 10000"/>
                <a:gd name="connsiteY1" fmla="*/ 8978 h 10020"/>
                <a:gd name="connsiteX2" fmla="*/ 7821 w 10000"/>
                <a:gd name="connsiteY2" fmla="*/ 8978 h 10020"/>
                <a:gd name="connsiteX3" fmla="*/ 8047 w 10000"/>
                <a:gd name="connsiteY3" fmla="*/ 8029 h 10020"/>
                <a:gd name="connsiteX4" fmla="*/ 8648 w 10000"/>
                <a:gd name="connsiteY4" fmla="*/ 7444 h 10020"/>
                <a:gd name="connsiteX5" fmla="*/ 8873 w 10000"/>
                <a:gd name="connsiteY5" fmla="*/ 6351 h 10020"/>
                <a:gd name="connsiteX6" fmla="*/ 8722 w 10000"/>
                <a:gd name="connsiteY6" fmla="*/ 5768 h 10020"/>
                <a:gd name="connsiteX7" fmla="*/ 9098 w 10000"/>
                <a:gd name="connsiteY7" fmla="*/ 4525 h 10020"/>
                <a:gd name="connsiteX8" fmla="*/ 9399 w 10000"/>
                <a:gd name="connsiteY8" fmla="*/ 4160 h 10020"/>
                <a:gd name="connsiteX9" fmla="*/ 10000 w 10000"/>
                <a:gd name="connsiteY9" fmla="*/ 3576 h 10020"/>
                <a:gd name="connsiteX10" fmla="*/ 9774 w 10000"/>
                <a:gd name="connsiteY10" fmla="*/ 3502 h 10020"/>
                <a:gd name="connsiteX11" fmla="*/ 9399 w 10000"/>
                <a:gd name="connsiteY11" fmla="*/ 3140 h 10020"/>
                <a:gd name="connsiteX12" fmla="*/ 9173 w 10000"/>
                <a:gd name="connsiteY12" fmla="*/ 2044 h 10020"/>
                <a:gd name="connsiteX13" fmla="*/ 9173 w 10000"/>
                <a:gd name="connsiteY13" fmla="*/ 1460 h 10020"/>
                <a:gd name="connsiteX14" fmla="*/ 9098 w 10000"/>
                <a:gd name="connsiteY14" fmla="*/ 729 h 10020"/>
                <a:gd name="connsiteX15" fmla="*/ 8873 w 10000"/>
                <a:gd name="connsiteY15" fmla="*/ 511 h 10020"/>
                <a:gd name="connsiteX16" fmla="*/ 8497 w 10000"/>
                <a:gd name="connsiteY16" fmla="*/ 219 h 10020"/>
                <a:gd name="connsiteX17" fmla="*/ 8272 w 10000"/>
                <a:gd name="connsiteY17" fmla="*/ 0 h 10020"/>
                <a:gd name="connsiteX18" fmla="*/ 7821 w 10000"/>
                <a:gd name="connsiteY18" fmla="*/ 293 h 10020"/>
                <a:gd name="connsiteX19" fmla="*/ 7370 w 10000"/>
                <a:gd name="connsiteY19" fmla="*/ 729 h 10020"/>
                <a:gd name="connsiteX20" fmla="*/ 6769 w 10000"/>
                <a:gd name="connsiteY20" fmla="*/ 729 h 10020"/>
                <a:gd name="connsiteX21" fmla="*/ 5717 w 10000"/>
                <a:gd name="connsiteY21" fmla="*/ 729 h 10020"/>
                <a:gd name="connsiteX22" fmla="*/ 5717 w 10000"/>
                <a:gd name="connsiteY22" fmla="*/ 658 h 10020"/>
                <a:gd name="connsiteX23" fmla="*/ 5643 w 10000"/>
                <a:gd name="connsiteY23" fmla="*/ 729 h 10020"/>
                <a:gd name="connsiteX24" fmla="*/ 1961 w 10000"/>
                <a:gd name="connsiteY24" fmla="*/ 729 h 10020"/>
                <a:gd name="connsiteX25" fmla="*/ 1961 w 10000"/>
                <a:gd name="connsiteY25" fmla="*/ 2263 h 10020"/>
                <a:gd name="connsiteX26" fmla="*/ 1285 w 10000"/>
                <a:gd name="connsiteY26" fmla="*/ 2263 h 10020"/>
                <a:gd name="connsiteX27" fmla="*/ 1285 w 10000"/>
                <a:gd name="connsiteY27" fmla="*/ 2556 h 10020"/>
                <a:gd name="connsiteX28" fmla="*/ 1285 w 10000"/>
                <a:gd name="connsiteY28" fmla="*/ 5179 h 10020"/>
                <a:gd name="connsiteX29" fmla="*/ 1135 w 10000"/>
                <a:gd name="connsiteY29" fmla="*/ 5327 h 10020"/>
                <a:gd name="connsiteX30" fmla="*/ 684 w 10000"/>
                <a:gd name="connsiteY30" fmla="*/ 5621 h 10020"/>
                <a:gd name="connsiteX31" fmla="*/ 609 w 10000"/>
                <a:gd name="connsiteY31" fmla="*/ 5986 h 10020"/>
                <a:gd name="connsiteX32" fmla="*/ 384 w 10000"/>
                <a:gd name="connsiteY32" fmla="*/ 6351 h 10020"/>
                <a:gd name="connsiteX33" fmla="*/ 234 w 10000"/>
                <a:gd name="connsiteY33" fmla="*/ 6935 h 10020"/>
                <a:gd name="connsiteX34" fmla="*/ 8 w 10000"/>
                <a:gd name="connsiteY34" fmla="*/ 7593 h 10020"/>
                <a:gd name="connsiteX35" fmla="*/ 384 w 10000"/>
                <a:gd name="connsiteY35" fmla="*/ 7664 h 10020"/>
                <a:gd name="connsiteX36" fmla="*/ 458 w 10000"/>
                <a:gd name="connsiteY36" fmla="*/ 8245 h 10020"/>
                <a:gd name="connsiteX37" fmla="*/ 684 w 10000"/>
                <a:gd name="connsiteY37" fmla="*/ 8831 h 10020"/>
                <a:gd name="connsiteX38" fmla="*/ 1059 w 10000"/>
                <a:gd name="connsiteY38" fmla="*/ 10000 h 10020"/>
                <a:gd name="connsiteX39" fmla="*/ 3940 w 10000"/>
                <a:gd name="connsiteY39" fmla="*/ 9647 h 10020"/>
                <a:gd name="connsiteX40" fmla="*/ 4373 w 10000"/>
                <a:gd name="connsiteY40" fmla="*/ 9293 h 10020"/>
                <a:gd name="connsiteX41" fmla="*/ 5064 w 10000"/>
                <a:gd name="connsiteY41" fmla="*/ 9311 h 10020"/>
                <a:gd name="connsiteX42" fmla="*/ 5457 w 10000"/>
                <a:gd name="connsiteY42" fmla="*/ 8984 h 10020"/>
                <a:gd name="connsiteX43" fmla="*/ 5884 w 10000"/>
                <a:gd name="connsiteY43" fmla="*/ 8740 h 10020"/>
                <a:gd name="connsiteX44" fmla="*/ 6040 w 10000"/>
                <a:gd name="connsiteY44" fmla="*/ 8368 h 10020"/>
                <a:gd name="connsiteX45" fmla="*/ 6382 w 10000"/>
                <a:gd name="connsiteY45" fmla="*/ 7982 h 10020"/>
                <a:gd name="connsiteX46" fmla="*/ 6428 w 10000"/>
                <a:gd name="connsiteY46" fmla="*/ 8181 h 10020"/>
                <a:gd name="connsiteX47" fmla="*/ 6444 w 10000"/>
                <a:gd name="connsiteY47" fmla="*/ 8428 h 10020"/>
                <a:gd name="connsiteX48" fmla="*/ 6766 w 10000"/>
                <a:gd name="connsiteY48" fmla="*/ 9268 h 10020"/>
                <a:gd name="connsiteX0" fmla="*/ 7446 w 10000"/>
                <a:gd name="connsiteY0" fmla="*/ 9488 h 10020"/>
                <a:gd name="connsiteX1" fmla="*/ 7446 w 10000"/>
                <a:gd name="connsiteY1" fmla="*/ 8978 h 10020"/>
                <a:gd name="connsiteX2" fmla="*/ 7821 w 10000"/>
                <a:gd name="connsiteY2" fmla="*/ 8978 h 10020"/>
                <a:gd name="connsiteX3" fmla="*/ 8047 w 10000"/>
                <a:gd name="connsiteY3" fmla="*/ 8029 h 10020"/>
                <a:gd name="connsiteX4" fmla="*/ 8648 w 10000"/>
                <a:gd name="connsiteY4" fmla="*/ 7444 h 10020"/>
                <a:gd name="connsiteX5" fmla="*/ 8873 w 10000"/>
                <a:gd name="connsiteY5" fmla="*/ 6351 h 10020"/>
                <a:gd name="connsiteX6" fmla="*/ 8722 w 10000"/>
                <a:gd name="connsiteY6" fmla="*/ 5768 h 10020"/>
                <a:gd name="connsiteX7" fmla="*/ 9098 w 10000"/>
                <a:gd name="connsiteY7" fmla="*/ 4525 h 10020"/>
                <a:gd name="connsiteX8" fmla="*/ 9399 w 10000"/>
                <a:gd name="connsiteY8" fmla="*/ 4160 h 10020"/>
                <a:gd name="connsiteX9" fmla="*/ 10000 w 10000"/>
                <a:gd name="connsiteY9" fmla="*/ 3576 h 10020"/>
                <a:gd name="connsiteX10" fmla="*/ 9774 w 10000"/>
                <a:gd name="connsiteY10" fmla="*/ 3502 h 10020"/>
                <a:gd name="connsiteX11" fmla="*/ 9399 w 10000"/>
                <a:gd name="connsiteY11" fmla="*/ 3140 h 10020"/>
                <a:gd name="connsiteX12" fmla="*/ 9173 w 10000"/>
                <a:gd name="connsiteY12" fmla="*/ 2044 h 10020"/>
                <a:gd name="connsiteX13" fmla="*/ 9173 w 10000"/>
                <a:gd name="connsiteY13" fmla="*/ 1460 h 10020"/>
                <a:gd name="connsiteX14" fmla="*/ 9098 w 10000"/>
                <a:gd name="connsiteY14" fmla="*/ 729 h 10020"/>
                <a:gd name="connsiteX15" fmla="*/ 8873 w 10000"/>
                <a:gd name="connsiteY15" fmla="*/ 511 h 10020"/>
                <a:gd name="connsiteX16" fmla="*/ 8497 w 10000"/>
                <a:gd name="connsiteY16" fmla="*/ 219 h 10020"/>
                <a:gd name="connsiteX17" fmla="*/ 8272 w 10000"/>
                <a:gd name="connsiteY17" fmla="*/ 0 h 10020"/>
                <a:gd name="connsiteX18" fmla="*/ 7821 w 10000"/>
                <a:gd name="connsiteY18" fmla="*/ 293 h 10020"/>
                <a:gd name="connsiteX19" fmla="*/ 7370 w 10000"/>
                <a:gd name="connsiteY19" fmla="*/ 729 h 10020"/>
                <a:gd name="connsiteX20" fmla="*/ 6769 w 10000"/>
                <a:gd name="connsiteY20" fmla="*/ 729 h 10020"/>
                <a:gd name="connsiteX21" fmla="*/ 5717 w 10000"/>
                <a:gd name="connsiteY21" fmla="*/ 729 h 10020"/>
                <a:gd name="connsiteX22" fmla="*/ 5717 w 10000"/>
                <a:gd name="connsiteY22" fmla="*/ 658 h 10020"/>
                <a:gd name="connsiteX23" fmla="*/ 5643 w 10000"/>
                <a:gd name="connsiteY23" fmla="*/ 729 h 10020"/>
                <a:gd name="connsiteX24" fmla="*/ 1961 w 10000"/>
                <a:gd name="connsiteY24" fmla="*/ 729 h 10020"/>
                <a:gd name="connsiteX25" fmla="*/ 1961 w 10000"/>
                <a:gd name="connsiteY25" fmla="*/ 2263 h 10020"/>
                <a:gd name="connsiteX26" fmla="*/ 1285 w 10000"/>
                <a:gd name="connsiteY26" fmla="*/ 2263 h 10020"/>
                <a:gd name="connsiteX27" fmla="*/ 1285 w 10000"/>
                <a:gd name="connsiteY27" fmla="*/ 2556 h 10020"/>
                <a:gd name="connsiteX28" fmla="*/ 1285 w 10000"/>
                <a:gd name="connsiteY28" fmla="*/ 5179 h 10020"/>
                <a:gd name="connsiteX29" fmla="*/ 1135 w 10000"/>
                <a:gd name="connsiteY29" fmla="*/ 5327 h 10020"/>
                <a:gd name="connsiteX30" fmla="*/ 684 w 10000"/>
                <a:gd name="connsiteY30" fmla="*/ 5621 h 10020"/>
                <a:gd name="connsiteX31" fmla="*/ 609 w 10000"/>
                <a:gd name="connsiteY31" fmla="*/ 5986 h 10020"/>
                <a:gd name="connsiteX32" fmla="*/ 384 w 10000"/>
                <a:gd name="connsiteY32" fmla="*/ 6351 h 10020"/>
                <a:gd name="connsiteX33" fmla="*/ 234 w 10000"/>
                <a:gd name="connsiteY33" fmla="*/ 6935 h 10020"/>
                <a:gd name="connsiteX34" fmla="*/ 8 w 10000"/>
                <a:gd name="connsiteY34" fmla="*/ 7593 h 10020"/>
                <a:gd name="connsiteX35" fmla="*/ 384 w 10000"/>
                <a:gd name="connsiteY35" fmla="*/ 7664 h 10020"/>
                <a:gd name="connsiteX36" fmla="*/ 458 w 10000"/>
                <a:gd name="connsiteY36" fmla="*/ 8245 h 10020"/>
                <a:gd name="connsiteX37" fmla="*/ 684 w 10000"/>
                <a:gd name="connsiteY37" fmla="*/ 8831 h 10020"/>
                <a:gd name="connsiteX38" fmla="*/ 1059 w 10000"/>
                <a:gd name="connsiteY38" fmla="*/ 10000 h 10020"/>
                <a:gd name="connsiteX39" fmla="*/ 3940 w 10000"/>
                <a:gd name="connsiteY39" fmla="*/ 9647 h 10020"/>
                <a:gd name="connsiteX40" fmla="*/ 4373 w 10000"/>
                <a:gd name="connsiteY40" fmla="*/ 9293 h 10020"/>
                <a:gd name="connsiteX41" fmla="*/ 5064 w 10000"/>
                <a:gd name="connsiteY41" fmla="*/ 9311 h 10020"/>
                <a:gd name="connsiteX42" fmla="*/ 5457 w 10000"/>
                <a:gd name="connsiteY42" fmla="*/ 8984 h 10020"/>
                <a:gd name="connsiteX43" fmla="*/ 5884 w 10000"/>
                <a:gd name="connsiteY43" fmla="*/ 8740 h 10020"/>
                <a:gd name="connsiteX44" fmla="*/ 6040 w 10000"/>
                <a:gd name="connsiteY44" fmla="*/ 8368 h 10020"/>
                <a:gd name="connsiteX45" fmla="*/ 6382 w 10000"/>
                <a:gd name="connsiteY45" fmla="*/ 7982 h 10020"/>
                <a:gd name="connsiteX46" fmla="*/ 6428 w 10000"/>
                <a:gd name="connsiteY46" fmla="*/ 8181 h 10020"/>
                <a:gd name="connsiteX47" fmla="*/ 6444 w 10000"/>
                <a:gd name="connsiteY47" fmla="*/ 8428 h 10020"/>
                <a:gd name="connsiteX48" fmla="*/ 6766 w 10000"/>
                <a:gd name="connsiteY48" fmla="*/ 9268 h 10020"/>
                <a:gd name="connsiteX0" fmla="*/ 7446 w 10000"/>
                <a:gd name="connsiteY0" fmla="*/ 9488 h 10020"/>
                <a:gd name="connsiteX1" fmla="*/ 7446 w 10000"/>
                <a:gd name="connsiteY1" fmla="*/ 8978 h 10020"/>
                <a:gd name="connsiteX2" fmla="*/ 7821 w 10000"/>
                <a:gd name="connsiteY2" fmla="*/ 8978 h 10020"/>
                <a:gd name="connsiteX3" fmla="*/ 8047 w 10000"/>
                <a:gd name="connsiteY3" fmla="*/ 8029 h 10020"/>
                <a:gd name="connsiteX4" fmla="*/ 8648 w 10000"/>
                <a:gd name="connsiteY4" fmla="*/ 7444 h 10020"/>
                <a:gd name="connsiteX5" fmla="*/ 8873 w 10000"/>
                <a:gd name="connsiteY5" fmla="*/ 6351 h 10020"/>
                <a:gd name="connsiteX6" fmla="*/ 8722 w 10000"/>
                <a:gd name="connsiteY6" fmla="*/ 5768 h 10020"/>
                <a:gd name="connsiteX7" fmla="*/ 9098 w 10000"/>
                <a:gd name="connsiteY7" fmla="*/ 4525 h 10020"/>
                <a:gd name="connsiteX8" fmla="*/ 9399 w 10000"/>
                <a:gd name="connsiteY8" fmla="*/ 4160 h 10020"/>
                <a:gd name="connsiteX9" fmla="*/ 10000 w 10000"/>
                <a:gd name="connsiteY9" fmla="*/ 3576 h 10020"/>
                <a:gd name="connsiteX10" fmla="*/ 9774 w 10000"/>
                <a:gd name="connsiteY10" fmla="*/ 3502 h 10020"/>
                <a:gd name="connsiteX11" fmla="*/ 9399 w 10000"/>
                <a:gd name="connsiteY11" fmla="*/ 3140 h 10020"/>
                <a:gd name="connsiteX12" fmla="*/ 9173 w 10000"/>
                <a:gd name="connsiteY12" fmla="*/ 2044 h 10020"/>
                <a:gd name="connsiteX13" fmla="*/ 9173 w 10000"/>
                <a:gd name="connsiteY13" fmla="*/ 1460 h 10020"/>
                <a:gd name="connsiteX14" fmla="*/ 9098 w 10000"/>
                <a:gd name="connsiteY14" fmla="*/ 729 h 10020"/>
                <a:gd name="connsiteX15" fmla="*/ 8873 w 10000"/>
                <a:gd name="connsiteY15" fmla="*/ 511 h 10020"/>
                <a:gd name="connsiteX16" fmla="*/ 8497 w 10000"/>
                <a:gd name="connsiteY16" fmla="*/ 219 h 10020"/>
                <a:gd name="connsiteX17" fmla="*/ 8272 w 10000"/>
                <a:gd name="connsiteY17" fmla="*/ 0 h 10020"/>
                <a:gd name="connsiteX18" fmla="*/ 7821 w 10000"/>
                <a:gd name="connsiteY18" fmla="*/ 293 h 10020"/>
                <a:gd name="connsiteX19" fmla="*/ 7370 w 10000"/>
                <a:gd name="connsiteY19" fmla="*/ 729 h 10020"/>
                <a:gd name="connsiteX20" fmla="*/ 6769 w 10000"/>
                <a:gd name="connsiteY20" fmla="*/ 729 h 10020"/>
                <a:gd name="connsiteX21" fmla="*/ 5717 w 10000"/>
                <a:gd name="connsiteY21" fmla="*/ 729 h 10020"/>
                <a:gd name="connsiteX22" fmla="*/ 5717 w 10000"/>
                <a:gd name="connsiteY22" fmla="*/ 658 h 10020"/>
                <a:gd name="connsiteX23" fmla="*/ 5643 w 10000"/>
                <a:gd name="connsiteY23" fmla="*/ 729 h 10020"/>
                <a:gd name="connsiteX24" fmla="*/ 1961 w 10000"/>
                <a:gd name="connsiteY24" fmla="*/ 729 h 10020"/>
                <a:gd name="connsiteX25" fmla="*/ 1961 w 10000"/>
                <a:gd name="connsiteY25" fmla="*/ 2263 h 10020"/>
                <a:gd name="connsiteX26" fmla="*/ 1285 w 10000"/>
                <a:gd name="connsiteY26" fmla="*/ 2263 h 10020"/>
                <a:gd name="connsiteX27" fmla="*/ 1285 w 10000"/>
                <a:gd name="connsiteY27" fmla="*/ 2556 h 10020"/>
                <a:gd name="connsiteX28" fmla="*/ 1285 w 10000"/>
                <a:gd name="connsiteY28" fmla="*/ 5179 h 10020"/>
                <a:gd name="connsiteX29" fmla="*/ 1135 w 10000"/>
                <a:gd name="connsiteY29" fmla="*/ 5327 h 10020"/>
                <a:gd name="connsiteX30" fmla="*/ 684 w 10000"/>
                <a:gd name="connsiteY30" fmla="*/ 5621 h 10020"/>
                <a:gd name="connsiteX31" fmla="*/ 609 w 10000"/>
                <a:gd name="connsiteY31" fmla="*/ 5986 h 10020"/>
                <a:gd name="connsiteX32" fmla="*/ 384 w 10000"/>
                <a:gd name="connsiteY32" fmla="*/ 6351 h 10020"/>
                <a:gd name="connsiteX33" fmla="*/ 234 w 10000"/>
                <a:gd name="connsiteY33" fmla="*/ 6935 h 10020"/>
                <a:gd name="connsiteX34" fmla="*/ 8 w 10000"/>
                <a:gd name="connsiteY34" fmla="*/ 7593 h 10020"/>
                <a:gd name="connsiteX35" fmla="*/ 384 w 10000"/>
                <a:gd name="connsiteY35" fmla="*/ 7664 h 10020"/>
                <a:gd name="connsiteX36" fmla="*/ 458 w 10000"/>
                <a:gd name="connsiteY36" fmla="*/ 8245 h 10020"/>
                <a:gd name="connsiteX37" fmla="*/ 684 w 10000"/>
                <a:gd name="connsiteY37" fmla="*/ 8831 h 10020"/>
                <a:gd name="connsiteX38" fmla="*/ 1059 w 10000"/>
                <a:gd name="connsiteY38" fmla="*/ 10000 h 10020"/>
                <a:gd name="connsiteX39" fmla="*/ 3940 w 10000"/>
                <a:gd name="connsiteY39" fmla="*/ 9647 h 10020"/>
                <a:gd name="connsiteX40" fmla="*/ 4209 w 10000"/>
                <a:gd name="connsiteY40" fmla="*/ 9592 h 10020"/>
                <a:gd name="connsiteX41" fmla="*/ 4373 w 10000"/>
                <a:gd name="connsiteY41" fmla="*/ 9293 h 10020"/>
                <a:gd name="connsiteX42" fmla="*/ 5064 w 10000"/>
                <a:gd name="connsiteY42" fmla="*/ 9311 h 10020"/>
                <a:gd name="connsiteX43" fmla="*/ 5457 w 10000"/>
                <a:gd name="connsiteY43" fmla="*/ 8984 h 10020"/>
                <a:gd name="connsiteX44" fmla="*/ 5884 w 10000"/>
                <a:gd name="connsiteY44" fmla="*/ 8740 h 10020"/>
                <a:gd name="connsiteX45" fmla="*/ 6040 w 10000"/>
                <a:gd name="connsiteY45" fmla="*/ 8368 h 10020"/>
                <a:gd name="connsiteX46" fmla="*/ 6382 w 10000"/>
                <a:gd name="connsiteY46" fmla="*/ 7982 h 10020"/>
                <a:gd name="connsiteX47" fmla="*/ 6428 w 10000"/>
                <a:gd name="connsiteY47" fmla="*/ 8181 h 10020"/>
                <a:gd name="connsiteX48" fmla="*/ 6444 w 10000"/>
                <a:gd name="connsiteY48" fmla="*/ 8428 h 10020"/>
                <a:gd name="connsiteX49" fmla="*/ 6766 w 10000"/>
                <a:gd name="connsiteY49" fmla="*/ 9268 h 10020"/>
                <a:gd name="connsiteX0" fmla="*/ 7446 w 10000"/>
                <a:gd name="connsiteY0" fmla="*/ 9488 h 10020"/>
                <a:gd name="connsiteX1" fmla="*/ 7446 w 10000"/>
                <a:gd name="connsiteY1" fmla="*/ 8978 h 10020"/>
                <a:gd name="connsiteX2" fmla="*/ 7821 w 10000"/>
                <a:gd name="connsiteY2" fmla="*/ 8978 h 10020"/>
                <a:gd name="connsiteX3" fmla="*/ 8047 w 10000"/>
                <a:gd name="connsiteY3" fmla="*/ 8029 h 10020"/>
                <a:gd name="connsiteX4" fmla="*/ 8648 w 10000"/>
                <a:gd name="connsiteY4" fmla="*/ 7444 h 10020"/>
                <a:gd name="connsiteX5" fmla="*/ 8873 w 10000"/>
                <a:gd name="connsiteY5" fmla="*/ 6351 h 10020"/>
                <a:gd name="connsiteX6" fmla="*/ 8722 w 10000"/>
                <a:gd name="connsiteY6" fmla="*/ 5768 h 10020"/>
                <a:gd name="connsiteX7" fmla="*/ 9098 w 10000"/>
                <a:gd name="connsiteY7" fmla="*/ 4525 h 10020"/>
                <a:gd name="connsiteX8" fmla="*/ 9399 w 10000"/>
                <a:gd name="connsiteY8" fmla="*/ 4160 h 10020"/>
                <a:gd name="connsiteX9" fmla="*/ 10000 w 10000"/>
                <a:gd name="connsiteY9" fmla="*/ 3576 h 10020"/>
                <a:gd name="connsiteX10" fmla="*/ 9774 w 10000"/>
                <a:gd name="connsiteY10" fmla="*/ 3502 h 10020"/>
                <a:gd name="connsiteX11" fmla="*/ 9399 w 10000"/>
                <a:gd name="connsiteY11" fmla="*/ 3140 h 10020"/>
                <a:gd name="connsiteX12" fmla="*/ 9173 w 10000"/>
                <a:gd name="connsiteY12" fmla="*/ 2044 h 10020"/>
                <a:gd name="connsiteX13" fmla="*/ 9173 w 10000"/>
                <a:gd name="connsiteY13" fmla="*/ 1460 h 10020"/>
                <a:gd name="connsiteX14" fmla="*/ 9098 w 10000"/>
                <a:gd name="connsiteY14" fmla="*/ 729 h 10020"/>
                <a:gd name="connsiteX15" fmla="*/ 8873 w 10000"/>
                <a:gd name="connsiteY15" fmla="*/ 511 h 10020"/>
                <a:gd name="connsiteX16" fmla="*/ 8497 w 10000"/>
                <a:gd name="connsiteY16" fmla="*/ 219 h 10020"/>
                <a:gd name="connsiteX17" fmla="*/ 8272 w 10000"/>
                <a:gd name="connsiteY17" fmla="*/ 0 h 10020"/>
                <a:gd name="connsiteX18" fmla="*/ 7821 w 10000"/>
                <a:gd name="connsiteY18" fmla="*/ 293 h 10020"/>
                <a:gd name="connsiteX19" fmla="*/ 7370 w 10000"/>
                <a:gd name="connsiteY19" fmla="*/ 729 h 10020"/>
                <a:gd name="connsiteX20" fmla="*/ 6769 w 10000"/>
                <a:gd name="connsiteY20" fmla="*/ 729 h 10020"/>
                <a:gd name="connsiteX21" fmla="*/ 5717 w 10000"/>
                <a:gd name="connsiteY21" fmla="*/ 729 h 10020"/>
                <a:gd name="connsiteX22" fmla="*/ 5717 w 10000"/>
                <a:gd name="connsiteY22" fmla="*/ 658 h 10020"/>
                <a:gd name="connsiteX23" fmla="*/ 5643 w 10000"/>
                <a:gd name="connsiteY23" fmla="*/ 729 h 10020"/>
                <a:gd name="connsiteX24" fmla="*/ 1961 w 10000"/>
                <a:gd name="connsiteY24" fmla="*/ 729 h 10020"/>
                <a:gd name="connsiteX25" fmla="*/ 1961 w 10000"/>
                <a:gd name="connsiteY25" fmla="*/ 2263 h 10020"/>
                <a:gd name="connsiteX26" fmla="*/ 1285 w 10000"/>
                <a:gd name="connsiteY26" fmla="*/ 2263 h 10020"/>
                <a:gd name="connsiteX27" fmla="*/ 1285 w 10000"/>
                <a:gd name="connsiteY27" fmla="*/ 2556 h 10020"/>
                <a:gd name="connsiteX28" fmla="*/ 1285 w 10000"/>
                <a:gd name="connsiteY28" fmla="*/ 5179 h 10020"/>
                <a:gd name="connsiteX29" fmla="*/ 1135 w 10000"/>
                <a:gd name="connsiteY29" fmla="*/ 5327 h 10020"/>
                <a:gd name="connsiteX30" fmla="*/ 684 w 10000"/>
                <a:gd name="connsiteY30" fmla="*/ 5621 h 10020"/>
                <a:gd name="connsiteX31" fmla="*/ 609 w 10000"/>
                <a:gd name="connsiteY31" fmla="*/ 5986 h 10020"/>
                <a:gd name="connsiteX32" fmla="*/ 384 w 10000"/>
                <a:gd name="connsiteY32" fmla="*/ 6351 h 10020"/>
                <a:gd name="connsiteX33" fmla="*/ 234 w 10000"/>
                <a:gd name="connsiteY33" fmla="*/ 6935 h 10020"/>
                <a:gd name="connsiteX34" fmla="*/ 8 w 10000"/>
                <a:gd name="connsiteY34" fmla="*/ 7593 h 10020"/>
                <a:gd name="connsiteX35" fmla="*/ 384 w 10000"/>
                <a:gd name="connsiteY35" fmla="*/ 7664 h 10020"/>
                <a:gd name="connsiteX36" fmla="*/ 458 w 10000"/>
                <a:gd name="connsiteY36" fmla="*/ 8245 h 10020"/>
                <a:gd name="connsiteX37" fmla="*/ 684 w 10000"/>
                <a:gd name="connsiteY37" fmla="*/ 8831 h 10020"/>
                <a:gd name="connsiteX38" fmla="*/ 1059 w 10000"/>
                <a:gd name="connsiteY38" fmla="*/ 10000 h 10020"/>
                <a:gd name="connsiteX39" fmla="*/ 3940 w 10000"/>
                <a:gd name="connsiteY39" fmla="*/ 9647 h 10020"/>
                <a:gd name="connsiteX40" fmla="*/ 4219 w 10000"/>
                <a:gd name="connsiteY40" fmla="*/ 9620 h 10020"/>
                <a:gd name="connsiteX41" fmla="*/ 4373 w 10000"/>
                <a:gd name="connsiteY41" fmla="*/ 9293 h 10020"/>
                <a:gd name="connsiteX42" fmla="*/ 5064 w 10000"/>
                <a:gd name="connsiteY42" fmla="*/ 9311 h 10020"/>
                <a:gd name="connsiteX43" fmla="*/ 5457 w 10000"/>
                <a:gd name="connsiteY43" fmla="*/ 8984 h 10020"/>
                <a:gd name="connsiteX44" fmla="*/ 5884 w 10000"/>
                <a:gd name="connsiteY44" fmla="*/ 8740 h 10020"/>
                <a:gd name="connsiteX45" fmla="*/ 6040 w 10000"/>
                <a:gd name="connsiteY45" fmla="*/ 8368 h 10020"/>
                <a:gd name="connsiteX46" fmla="*/ 6382 w 10000"/>
                <a:gd name="connsiteY46" fmla="*/ 7982 h 10020"/>
                <a:gd name="connsiteX47" fmla="*/ 6428 w 10000"/>
                <a:gd name="connsiteY47" fmla="*/ 8181 h 10020"/>
                <a:gd name="connsiteX48" fmla="*/ 6444 w 10000"/>
                <a:gd name="connsiteY48" fmla="*/ 8428 h 10020"/>
                <a:gd name="connsiteX49" fmla="*/ 6766 w 10000"/>
                <a:gd name="connsiteY49" fmla="*/ 9268 h 10020"/>
                <a:gd name="connsiteX0" fmla="*/ 7446 w 10000"/>
                <a:gd name="connsiteY0" fmla="*/ 9488 h 10031"/>
                <a:gd name="connsiteX1" fmla="*/ 7446 w 10000"/>
                <a:gd name="connsiteY1" fmla="*/ 8978 h 10031"/>
                <a:gd name="connsiteX2" fmla="*/ 7821 w 10000"/>
                <a:gd name="connsiteY2" fmla="*/ 8978 h 10031"/>
                <a:gd name="connsiteX3" fmla="*/ 8047 w 10000"/>
                <a:gd name="connsiteY3" fmla="*/ 8029 h 10031"/>
                <a:gd name="connsiteX4" fmla="*/ 8648 w 10000"/>
                <a:gd name="connsiteY4" fmla="*/ 7444 h 10031"/>
                <a:gd name="connsiteX5" fmla="*/ 8873 w 10000"/>
                <a:gd name="connsiteY5" fmla="*/ 6351 h 10031"/>
                <a:gd name="connsiteX6" fmla="*/ 8722 w 10000"/>
                <a:gd name="connsiteY6" fmla="*/ 5768 h 10031"/>
                <a:gd name="connsiteX7" fmla="*/ 9098 w 10000"/>
                <a:gd name="connsiteY7" fmla="*/ 4525 h 10031"/>
                <a:gd name="connsiteX8" fmla="*/ 9399 w 10000"/>
                <a:gd name="connsiteY8" fmla="*/ 4160 h 10031"/>
                <a:gd name="connsiteX9" fmla="*/ 10000 w 10000"/>
                <a:gd name="connsiteY9" fmla="*/ 3576 h 10031"/>
                <a:gd name="connsiteX10" fmla="*/ 9774 w 10000"/>
                <a:gd name="connsiteY10" fmla="*/ 3502 h 10031"/>
                <a:gd name="connsiteX11" fmla="*/ 9399 w 10000"/>
                <a:gd name="connsiteY11" fmla="*/ 3140 h 10031"/>
                <a:gd name="connsiteX12" fmla="*/ 9173 w 10000"/>
                <a:gd name="connsiteY12" fmla="*/ 2044 h 10031"/>
                <a:gd name="connsiteX13" fmla="*/ 9173 w 10000"/>
                <a:gd name="connsiteY13" fmla="*/ 1460 h 10031"/>
                <a:gd name="connsiteX14" fmla="*/ 9098 w 10000"/>
                <a:gd name="connsiteY14" fmla="*/ 729 h 10031"/>
                <a:gd name="connsiteX15" fmla="*/ 8873 w 10000"/>
                <a:gd name="connsiteY15" fmla="*/ 511 h 10031"/>
                <a:gd name="connsiteX16" fmla="*/ 8497 w 10000"/>
                <a:gd name="connsiteY16" fmla="*/ 219 h 10031"/>
                <a:gd name="connsiteX17" fmla="*/ 8272 w 10000"/>
                <a:gd name="connsiteY17" fmla="*/ 0 h 10031"/>
                <a:gd name="connsiteX18" fmla="*/ 7821 w 10000"/>
                <a:gd name="connsiteY18" fmla="*/ 293 h 10031"/>
                <a:gd name="connsiteX19" fmla="*/ 7370 w 10000"/>
                <a:gd name="connsiteY19" fmla="*/ 729 h 10031"/>
                <a:gd name="connsiteX20" fmla="*/ 6769 w 10000"/>
                <a:gd name="connsiteY20" fmla="*/ 729 h 10031"/>
                <a:gd name="connsiteX21" fmla="*/ 5717 w 10000"/>
                <a:gd name="connsiteY21" fmla="*/ 729 h 10031"/>
                <a:gd name="connsiteX22" fmla="*/ 5717 w 10000"/>
                <a:gd name="connsiteY22" fmla="*/ 658 h 10031"/>
                <a:gd name="connsiteX23" fmla="*/ 5643 w 10000"/>
                <a:gd name="connsiteY23" fmla="*/ 729 h 10031"/>
                <a:gd name="connsiteX24" fmla="*/ 1961 w 10000"/>
                <a:gd name="connsiteY24" fmla="*/ 729 h 10031"/>
                <a:gd name="connsiteX25" fmla="*/ 1961 w 10000"/>
                <a:gd name="connsiteY25" fmla="*/ 2263 h 10031"/>
                <a:gd name="connsiteX26" fmla="*/ 1285 w 10000"/>
                <a:gd name="connsiteY26" fmla="*/ 2263 h 10031"/>
                <a:gd name="connsiteX27" fmla="*/ 1285 w 10000"/>
                <a:gd name="connsiteY27" fmla="*/ 2556 h 10031"/>
                <a:gd name="connsiteX28" fmla="*/ 1285 w 10000"/>
                <a:gd name="connsiteY28" fmla="*/ 5179 h 10031"/>
                <a:gd name="connsiteX29" fmla="*/ 1135 w 10000"/>
                <a:gd name="connsiteY29" fmla="*/ 5327 h 10031"/>
                <a:gd name="connsiteX30" fmla="*/ 684 w 10000"/>
                <a:gd name="connsiteY30" fmla="*/ 5621 h 10031"/>
                <a:gd name="connsiteX31" fmla="*/ 609 w 10000"/>
                <a:gd name="connsiteY31" fmla="*/ 5986 h 10031"/>
                <a:gd name="connsiteX32" fmla="*/ 384 w 10000"/>
                <a:gd name="connsiteY32" fmla="*/ 6351 h 10031"/>
                <a:gd name="connsiteX33" fmla="*/ 234 w 10000"/>
                <a:gd name="connsiteY33" fmla="*/ 6935 h 10031"/>
                <a:gd name="connsiteX34" fmla="*/ 8 w 10000"/>
                <a:gd name="connsiteY34" fmla="*/ 7593 h 10031"/>
                <a:gd name="connsiteX35" fmla="*/ 384 w 10000"/>
                <a:gd name="connsiteY35" fmla="*/ 7664 h 10031"/>
                <a:gd name="connsiteX36" fmla="*/ 458 w 10000"/>
                <a:gd name="connsiteY36" fmla="*/ 8245 h 10031"/>
                <a:gd name="connsiteX37" fmla="*/ 684 w 10000"/>
                <a:gd name="connsiteY37" fmla="*/ 8831 h 10031"/>
                <a:gd name="connsiteX38" fmla="*/ 1059 w 10000"/>
                <a:gd name="connsiteY38" fmla="*/ 10000 h 10031"/>
                <a:gd name="connsiteX39" fmla="*/ 3863 w 10000"/>
                <a:gd name="connsiteY39" fmla="*/ 9806 h 10031"/>
                <a:gd name="connsiteX40" fmla="*/ 4219 w 10000"/>
                <a:gd name="connsiteY40" fmla="*/ 9620 h 10031"/>
                <a:gd name="connsiteX41" fmla="*/ 4373 w 10000"/>
                <a:gd name="connsiteY41" fmla="*/ 9293 h 10031"/>
                <a:gd name="connsiteX42" fmla="*/ 5064 w 10000"/>
                <a:gd name="connsiteY42" fmla="*/ 9311 h 10031"/>
                <a:gd name="connsiteX43" fmla="*/ 5457 w 10000"/>
                <a:gd name="connsiteY43" fmla="*/ 8984 h 10031"/>
                <a:gd name="connsiteX44" fmla="*/ 5884 w 10000"/>
                <a:gd name="connsiteY44" fmla="*/ 8740 h 10031"/>
                <a:gd name="connsiteX45" fmla="*/ 6040 w 10000"/>
                <a:gd name="connsiteY45" fmla="*/ 8368 h 10031"/>
                <a:gd name="connsiteX46" fmla="*/ 6382 w 10000"/>
                <a:gd name="connsiteY46" fmla="*/ 7982 h 10031"/>
                <a:gd name="connsiteX47" fmla="*/ 6428 w 10000"/>
                <a:gd name="connsiteY47" fmla="*/ 8181 h 10031"/>
                <a:gd name="connsiteX48" fmla="*/ 6444 w 10000"/>
                <a:gd name="connsiteY48" fmla="*/ 8428 h 10031"/>
                <a:gd name="connsiteX49" fmla="*/ 6766 w 10000"/>
                <a:gd name="connsiteY49" fmla="*/ 9268 h 10031"/>
                <a:gd name="connsiteX0" fmla="*/ 7446 w 10000"/>
                <a:gd name="connsiteY0" fmla="*/ 9488 h 10031"/>
                <a:gd name="connsiteX1" fmla="*/ 7446 w 10000"/>
                <a:gd name="connsiteY1" fmla="*/ 8978 h 10031"/>
                <a:gd name="connsiteX2" fmla="*/ 7821 w 10000"/>
                <a:gd name="connsiteY2" fmla="*/ 8978 h 10031"/>
                <a:gd name="connsiteX3" fmla="*/ 8047 w 10000"/>
                <a:gd name="connsiteY3" fmla="*/ 8029 h 10031"/>
                <a:gd name="connsiteX4" fmla="*/ 8648 w 10000"/>
                <a:gd name="connsiteY4" fmla="*/ 7444 h 10031"/>
                <a:gd name="connsiteX5" fmla="*/ 8873 w 10000"/>
                <a:gd name="connsiteY5" fmla="*/ 6351 h 10031"/>
                <a:gd name="connsiteX6" fmla="*/ 8722 w 10000"/>
                <a:gd name="connsiteY6" fmla="*/ 5768 h 10031"/>
                <a:gd name="connsiteX7" fmla="*/ 9098 w 10000"/>
                <a:gd name="connsiteY7" fmla="*/ 4525 h 10031"/>
                <a:gd name="connsiteX8" fmla="*/ 9399 w 10000"/>
                <a:gd name="connsiteY8" fmla="*/ 4160 h 10031"/>
                <a:gd name="connsiteX9" fmla="*/ 10000 w 10000"/>
                <a:gd name="connsiteY9" fmla="*/ 3576 h 10031"/>
                <a:gd name="connsiteX10" fmla="*/ 9774 w 10000"/>
                <a:gd name="connsiteY10" fmla="*/ 3502 h 10031"/>
                <a:gd name="connsiteX11" fmla="*/ 9399 w 10000"/>
                <a:gd name="connsiteY11" fmla="*/ 3140 h 10031"/>
                <a:gd name="connsiteX12" fmla="*/ 9173 w 10000"/>
                <a:gd name="connsiteY12" fmla="*/ 2044 h 10031"/>
                <a:gd name="connsiteX13" fmla="*/ 9173 w 10000"/>
                <a:gd name="connsiteY13" fmla="*/ 1460 h 10031"/>
                <a:gd name="connsiteX14" fmla="*/ 9098 w 10000"/>
                <a:gd name="connsiteY14" fmla="*/ 729 h 10031"/>
                <a:gd name="connsiteX15" fmla="*/ 8873 w 10000"/>
                <a:gd name="connsiteY15" fmla="*/ 511 h 10031"/>
                <a:gd name="connsiteX16" fmla="*/ 8497 w 10000"/>
                <a:gd name="connsiteY16" fmla="*/ 219 h 10031"/>
                <a:gd name="connsiteX17" fmla="*/ 8272 w 10000"/>
                <a:gd name="connsiteY17" fmla="*/ 0 h 10031"/>
                <a:gd name="connsiteX18" fmla="*/ 7821 w 10000"/>
                <a:gd name="connsiteY18" fmla="*/ 293 h 10031"/>
                <a:gd name="connsiteX19" fmla="*/ 7370 w 10000"/>
                <a:gd name="connsiteY19" fmla="*/ 729 h 10031"/>
                <a:gd name="connsiteX20" fmla="*/ 6769 w 10000"/>
                <a:gd name="connsiteY20" fmla="*/ 729 h 10031"/>
                <a:gd name="connsiteX21" fmla="*/ 5717 w 10000"/>
                <a:gd name="connsiteY21" fmla="*/ 729 h 10031"/>
                <a:gd name="connsiteX22" fmla="*/ 5717 w 10000"/>
                <a:gd name="connsiteY22" fmla="*/ 658 h 10031"/>
                <a:gd name="connsiteX23" fmla="*/ 5643 w 10000"/>
                <a:gd name="connsiteY23" fmla="*/ 729 h 10031"/>
                <a:gd name="connsiteX24" fmla="*/ 1961 w 10000"/>
                <a:gd name="connsiteY24" fmla="*/ 729 h 10031"/>
                <a:gd name="connsiteX25" fmla="*/ 1961 w 10000"/>
                <a:gd name="connsiteY25" fmla="*/ 2263 h 10031"/>
                <a:gd name="connsiteX26" fmla="*/ 1285 w 10000"/>
                <a:gd name="connsiteY26" fmla="*/ 2263 h 10031"/>
                <a:gd name="connsiteX27" fmla="*/ 1285 w 10000"/>
                <a:gd name="connsiteY27" fmla="*/ 2556 h 10031"/>
                <a:gd name="connsiteX28" fmla="*/ 1285 w 10000"/>
                <a:gd name="connsiteY28" fmla="*/ 5179 h 10031"/>
                <a:gd name="connsiteX29" fmla="*/ 1135 w 10000"/>
                <a:gd name="connsiteY29" fmla="*/ 5327 h 10031"/>
                <a:gd name="connsiteX30" fmla="*/ 684 w 10000"/>
                <a:gd name="connsiteY30" fmla="*/ 5621 h 10031"/>
                <a:gd name="connsiteX31" fmla="*/ 609 w 10000"/>
                <a:gd name="connsiteY31" fmla="*/ 5986 h 10031"/>
                <a:gd name="connsiteX32" fmla="*/ 384 w 10000"/>
                <a:gd name="connsiteY32" fmla="*/ 6351 h 10031"/>
                <a:gd name="connsiteX33" fmla="*/ 234 w 10000"/>
                <a:gd name="connsiteY33" fmla="*/ 6935 h 10031"/>
                <a:gd name="connsiteX34" fmla="*/ 8 w 10000"/>
                <a:gd name="connsiteY34" fmla="*/ 7593 h 10031"/>
                <a:gd name="connsiteX35" fmla="*/ 384 w 10000"/>
                <a:gd name="connsiteY35" fmla="*/ 7664 h 10031"/>
                <a:gd name="connsiteX36" fmla="*/ 458 w 10000"/>
                <a:gd name="connsiteY36" fmla="*/ 8245 h 10031"/>
                <a:gd name="connsiteX37" fmla="*/ 684 w 10000"/>
                <a:gd name="connsiteY37" fmla="*/ 8831 h 10031"/>
                <a:gd name="connsiteX38" fmla="*/ 1059 w 10000"/>
                <a:gd name="connsiteY38" fmla="*/ 10000 h 10031"/>
                <a:gd name="connsiteX39" fmla="*/ 3863 w 10000"/>
                <a:gd name="connsiteY39" fmla="*/ 9806 h 10031"/>
                <a:gd name="connsiteX40" fmla="*/ 3863 w 10000"/>
                <a:gd name="connsiteY40" fmla="*/ 9788 h 10031"/>
                <a:gd name="connsiteX41" fmla="*/ 4219 w 10000"/>
                <a:gd name="connsiteY41" fmla="*/ 9620 h 10031"/>
                <a:gd name="connsiteX42" fmla="*/ 4373 w 10000"/>
                <a:gd name="connsiteY42" fmla="*/ 9293 h 10031"/>
                <a:gd name="connsiteX43" fmla="*/ 5064 w 10000"/>
                <a:gd name="connsiteY43" fmla="*/ 9311 h 10031"/>
                <a:gd name="connsiteX44" fmla="*/ 5457 w 10000"/>
                <a:gd name="connsiteY44" fmla="*/ 8984 h 10031"/>
                <a:gd name="connsiteX45" fmla="*/ 5884 w 10000"/>
                <a:gd name="connsiteY45" fmla="*/ 8740 h 10031"/>
                <a:gd name="connsiteX46" fmla="*/ 6040 w 10000"/>
                <a:gd name="connsiteY46" fmla="*/ 8368 h 10031"/>
                <a:gd name="connsiteX47" fmla="*/ 6382 w 10000"/>
                <a:gd name="connsiteY47" fmla="*/ 7982 h 10031"/>
                <a:gd name="connsiteX48" fmla="*/ 6428 w 10000"/>
                <a:gd name="connsiteY48" fmla="*/ 8181 h 10031"/>
                <a:gd name="connsiteX49" fmla="*/ 6444 w 10000"/>
                <a:gd name="connsiteY49" fmla="*/ 8428 h 10031"/>
                <a:gd name="connsiteX50" fmla="*/ 6766 w 10000"/>
                <a:gd name="connsiteY50" fmla="*/ 9268 h 10031"/>
                <a:gd name="connsiteX0" fmla="*/ 7446 w 10000"/>
                <a:gd name="connsiteY0" fmla="*/ 9488 h 10031"/>
                <a:gd name="connsiteX1" fmla="*/ 7446 w 10000"/>
                <a:gd name="connsiteY1" fmla="*/ 8978 h 10031"/>
                <a:gd name="connsiteX2" fmla="*/ 7821 w 10000"/>
                <a:gd name="connsiteY2" fmla="*/ 8978 h 10031"/>
                <a:gd name="connsiteX3" fmla="*/ 8047 w 10000"/>
                <a:gd name="connsiteY3" fmla="*/ 8029 h 10031"/>
                <a:gd name="connsiteX4" fmla="*/ 8648 w 10000"/>
                <a:gd name="connsiteY4" fmla="*/ 7444 h 10031"/>
                <a:gd name="connsiteX5" fmla="*/ 8873 w 10000"/>
                <a:gd name="connsiteY5" fmla="*/ 6351 h 10031"/>
                <a:gd name="connsiteX6" fmla="*/ 8722 w 10000"/>
                <a:gd name="connsiteY6" fmla="*/ 5768 h 10031"/>
                <a:gd name="connsiteX7" fmla="*/ 9098 w 10000"/>
                <a:gd name="connsiteY7" fmla="*/ 4525 h 10031"/>
                <a:gd name="connsiteX8" fmla="*/ 9399 w 10000"/>
                <a:gd name="connsiteY8" fmla="*/ 4160 h 10031"/>
                <a:gd name="connsiteX9" fmla="*/ 10000 w 10000"/>
                <a:gd name="connsiteY9" fmla="*/ 3576 h 10031"/>
                <a:gd name="connsiteX10" fmla="*/ 9774 w 10000"/>
                <a:gd name="connsiteY10" fmla="*/ 3502 h 10031"/>
                <a:gd name="connsiteX11" fmla="*/ 9399 w 10000"/>
                <a:gd name="connsiteY11" fmla="*/ 3140 h 10031"/>
                <a:gd name="connsiteX12" fmla="*/ 9173 w 10000"/>
                <a:gd name="connsiteY12" fmla="*/ 2044 h 10031"/>
                <a:gd name="connsiteX13" fmla="*/ 9173 w 10000"/>
                <a:gd name="connsiteY13" fmla="*/ 1460 h 10031"/>
                <a:gd name="connsiteX14" fmla="*/ 9098 w 10000"/>
                <a:gd name="connsiteY14" fmla="*/ 729 h 10031"/>
                <a:gd name="connsiteX15" fmla="*/ 8873 w 10000"/>
                <a:gd name="connsiteY15" fmla="*/ 511 h 10031"/>
                <a:gd name="connsiteX16" fmla="*/ 8497 w 10000"/>
                <a:gd name="connsiteY16" fmla="*/ 219 h 10031"/>
                <a:gd name="connsiteX17" fmla="*/ 8272 w 10000"/>
                <a:gd name="connsiteY17" fmla="*/ 0 h 10031"/>
                <a:gd name="connsiteX18" fmla="*/ 7821 w 10000"/>
                <a:gd name="connsiteY18" fmla="*/ 293 h 10031"/>
                <a:gd name="connsiteX19" fmla="*/ 7370 w 10000"/>
                <a:gd name="connsiteY19" fmla="*/ 729 h 10031"/>
                <a:gd name="connsiteX20" fmla="*/ 6769 w 10000"/>
                <a:gd name="connsiteY20" fmla="*/ 729 h 10031"/>
                <a:gd name="connsiteX21" fmla="*/ 5717 w 10000"/>
                <a:gd name="connsiteY21" fmla="*/ 729 h 10031"/>
                <a:gd name="connsiteX22" fmla="*/ 5717 w 10000"/>
                <a:gd name="connsiteY22" fmla="*/ 658 h 10031"/>
                <a:gd name="connsiteX23" fmla="*/ 5643 w 10000"/>
                <a:gd name="connsiteY23" fmla="*/ 729 h 10031"/>
                <a:gd name="connsiteX24" fmla="*/ 1961 w 10000"/>
                <a:gd name="connsiteY24" fmla="*/ 729 h 10031"/>
                <a:gd name="connsiteX25" fmla="*/ 1961 w 10000"/>
                <a:gd name="connsiteY25" fmla="*/ 2263 h 10031"/>
                <a:gd name="connsiteX26" fmla="*/ 1285 w 10000"/>
                <a:gd name="connsiteY26" fmla="*/ 2263 h 10031"/>
                <a:gd name="connsiteX27" fmla="*/ 1285 w 10000"/>
                <a:gd name="connsiteY27" fmla="*/ 2556 h 10031"/>
                <a:gd name="connsiteX28" fmla="*/ 1285 w 10000"/>
                <a:gd name="connsiteY28" fmla="*/ 5179 h 10031"/>
                <a:gd name="connsiteX29" fmla="*/ 1135 w 10000"/>
                <a:gd name="connsiteY29" fmla="*/ 5327 h 10031"/>
                <a:gd name="connsiteX30" fmla="*/ 684 w 10000"/>
                <a:gd name="connsiteY30" fmla="*/ 5621 h 10031"/>
                <a:gd name="connsiteX31" fmla="*/ 609 w 10000"/>
                <a:gd name="connsiteY31" fmla="*/ 5986 h 10031"/>
                <a:gd name="connsiteX32" fmla="*/ 384 w 10000"/>
                <a:gd name="connsiteY32" fmla="*/ 6351 h 10031"/>
                <a:gd name="connsiteX33" fmla="*/ 234 w 10000"/>
                <a:gd name="connsiteY33" fmla="*/ 6935 h 10031"/>
                <a:gd name="connsiteX34" fmla="*/ 8 w 10000"/>
                <a:gd name="connsiteY34" fmla="*/ 7593 h 10031"/>
                <a:gd name="connsiteX35" fmla="*/ 384 w 10000"/>
                <a:gd name="connsiteY35" fmla="*/ 7664 h 10031"/>
                <a:gd name="connsiteX36" fmla="*/ 458 w 10000"/>
                <a:gd name="connsiteY36" fmla="*/ 8245 h 10031"/>
                <a:gd name="connsiteX37" fmla="*/ 684 w 10000"/>
                <a:gd name="connsiteY37" fmla="*/ 8831 h 10031"/>
                <a:gd name="connsiteX38" fmla="*/ 1059 w 10000"/>
                <a:gd name="connsiteY38" fmla="*/ 10000 h 10031"/>
                <a:gd name="connsiteX39" fmla="*/ 3863 w 10000"/>
                <a:gd name="connsiteY39" fmla="*/ 9806 h 10031"/>
                <a:gd name="connsiteX40" fmla="*/ 3479 w 10000"/>
                <a:gd name="connsiteY40" fmla="*/ 9452 h 10031"/>
                <a:gd name="connsiteX41" fmla="*/ 4219 w 10000"/>
                <a:gd name="connsiteY41" fmla="*/ 9620 h 10031"/>
                <a:gd name="connsiteX42" fmla="*/ 4373 w 10000"/>
                <a:gd name="connsiteY42" fmla="*/ 9293 h 10031"/>
                <a:gd name="connsiteX43" fmla="*/ 5064 w 10000"/>
                <a:gd name="connsiteY43" fmla="*/ 9311 h 10031"/>
                <a:gd name="connsiteX44" fmla="*/ 5457 w 10000"/>
                <a:gd name="connsiteY44" fmla="*/ 8984 h 10031"/>
                <a:gd name="connsiteX45" fmla="*/ 5884 w 10000"/>
                <a:gd name="connsiteY45" fmla="*/ 8740 h 10031"/>
                <a:gd name="connsiteX46" fmla="*/ 6040 w 10000"/>
                <a:gd name="connsiteY46" fmla="*/ 8368 h 10031"/>
                <a:gd name="connsiteX47" fmla="*/ 6382 w 10000"/>
                <a:gd name="connsiteY47" fmla="*/ 7982 h 10031"/>
                <a:gd name="connsiteX48" fmla="*/ 6428 w 10000"/>
                <a:gd name="connsiteY48" fmla="*/ 8181 h 10031"/>
                <a:gd name="connsiteX49" fmla="*/ 6444 w 10000"/>
                <a:gd name="connsiteY49" fmla="*/ 8428 h 10031"/>
                <a:gd name="connsiteX50" fmla="*/ 6766 w 10000"/>
                <a:gd name="connsiteY50" fmla="*/ 9268 h 10031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2778 w 10000"/>
                <a:gd name="connsiteY39" fmla="*/ 9087 h 10008"/>
                <a:gd name="connsiteX40" fmla="*/ 3479 w 10000"/>
                <a:gd name="connsiteY40" fmla="*/ 9452 h 10008"/>
                <a:gd name="connsiteX41" fmla="*/ 4219 w 10000"/>
                <a:gd name="connsiteY41" fmla="*/ 9620 h 10008"/>
                <a:gd name="connsiteX42" fmla="*/ 4373 w 10000"/>
                <a:gd name="connsiteY42" fmla="*/ 9293 h 10008"/>
                <a:gd name="connsiteX43" fmla="*/ 5064 w 10000"/>
                <a:gd name="connsiteY43" fmla="*/ 9311 h 10008"/>
                <a:gd name="connsiteX44" fmla="*/ 5457 w 10000"/>
                <a:gd name="connsiteY44" fmla="*/ 8984 h 10008"/>
                <a:gd name="connsiteX45" fmla="*/ 5884 w 10000"/>
                <a:gd name="connsiteY45" fmla="*/ 8740 h 10008"/>
                <a:gd name="connsiteX46" fmla="*/ 6040 w 10000"/>
                <a:gd name="connsiteY46" fmla="*/ 8368 h 10008"/>
                <a:gd name="connsiteX47" fmla="*/ 6382 w 10000"/>
                <a:gd name="connsiteY47" fmla="*/ 7982 h 10008"/>
                <a:gd name="connsiteX48" fmla="*/ 6428 w 10000"/>
                <a:gd name="connsiteY48" fmla="*/ 8181 h 10008"/>
                <a:gd name="connsiteX49" fmla="*/ 6444 w 10000"/>
                <a:gd name="connsiteY49" fmla="*/ 8428 h 10008"/>
                <a:gd name="connsiteX50" fmla="*/ 6766 w 10000"/>
                <a:gd name="connsiteY50" fmla="*/ 9268 h 10008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2778 w 10000"/>
                <a:gd name="connsiteY39" fmla="*/ 9087 h 10008"/>
                <a:gd name="connsiteX40" fmla="*/ 3479 w 10000"/>
                <a:gd name="connsiteY40" fmla="*/ 9452 h 10008"/>
                <a:gd name="connsiteX41" fmla="*/ 3863 w 10000"/>
                <a:gd name="connsiteY41" fmla="*/ 9778 h 10008"/>
                <a:gd name="connsiteX42" fmla="*/ 4219 w 10000"/>
                <a:gd name="connsiteY42" fmla="*/ 9620 h 10008"/>
                <a:gd name="connsiteX43" fmla="*/ 4373 w 10000"/>
                <a:gd name="connsiteY43" fmla="*/ 9293 h 10008"/>
                <a:gd name="connsiteX44" fmla="*/ 5064 w 10000"/>
                <a:gd name="connsiteY44" fmla="*/ 9311 h 10008"/>
                <a:gd name="connsiteX45" fmla="*/ 5457 w 10000"/>
                <a:gd name="connsiteY45" fmla="*/ 8984 h 10008"/>
                <a:gd name="connsiteX46" fmla="*/ 5884 w 10000"/>
                <a:gd name="connsiteY46" fmla="*/ 8740 h 10008"/>
                <a:gd name="connsiteX47" fmla="*/ 6040 w 10000"/>
                <a:gd name="connsiteY47" fmla="*/ 8368 h 10008"/>
                <a:gd name="connsiteX48" fmla="*/ 6382 w 10000"/>
                <a:gd name="connsiteY48" fmla="*/ 7982 h 10008"/>
                <a:gd name="connsiteX49" fmla="*/ 6428 w 10000"/>
                <a:gd name="connsiteY49" fmla="*/ 8181 h 10008"/>
                <a:gd name="connsiteX50" fmla="*/ 6444 w 10000"/>
                <a:gd name="connsiteY50" fmla="*/ 8428 h 10008"/>
                <a:gd name="connsiteX51" fmla="*/ 6766 w 10000"/>
                <a:gd name="connsiteY51" fmla="*/ 9268 h 10008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2778 w 10000"/>
                <a:gd name="connsiteY39" fmla="*/ 9087 h 10008"/>
                <a:gd name="connsiteX40" fmla="*/ 3479 w 10000"/>
                <a:gd name="connsiteY40" fmla="*/ 9452 h 10008"/>
                <a:gd name="connsiteX41" fmla="*/ 3863 w 10000"/>
                <a:gd name="connsiteY41" fmla="*/ 9778 h 10008"/>
                <a:gd name="connsiteX42" fmla="*/ 4219 w 10000"/>
                <a:gd name="connsiteY42" fmla="*/ 9620 h 10008"/>
                <a:gd name="connsiteX43" fmla="*/ 4373 w 10000"/>
                <a:gd name="connsiteY43" fmla="*/ 9293 h 10008"/>
                <a:gd name="connsiteX44" fmla="*/ 5064 w 10000"/>
                <a:gd name="connsiteY44" fmla="*/ 9311 h 10008"/>
                <a:gd name="connsiteX45" fmla="*/ 5457 w 10000"/>
                <a:gd name="connsiteY45" fmla="*/ 8984 h 10008"/>
                <a:gd name="connsiteX46" fmla="*/ 5884 w 10000"/>
                <a:gd name="connsiteY46" fmla="*/ 8740 h 10008"/>
                <a:gd name="connsiteX47" fmla="*/ 6040 w 10000"/>
                <a:gd name="connsiteY47" fmla="*/ 8368 h 10008"/>
                <a:gd name="connsiteX48" fmla="*/ 6382 w 10000"/>
                <a:gd name="connsiteY48" fmla="*/ 7982 h 10008"/>
                <a:gd name="connsiteX49" fmla="*/ 6428 w 10000"/>
                <a:gd name="connsiteY49" fmla="*/ 8181 h 10008"/>
                <a:gd name="connsiteX50" fmla="*/ 6444 w 10000"/>
                <a:gd name="connsiteY50" fmla="*/ 8428 h 10008"/>
                <a:gd name="connsiteX51" fmla="*/ 6766 w 10000"/>
                <a:gd name="connsiteY51" fmla="*/ 9268 h 10008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2778 w 10000"/>
                <a:gd name="connsiteY39" fmla="*/ 9087 h 10008"/>
                <a:gd name="connsiteX40" fmla="*/ 3479 w 10000"/>
                <a:gd name="connsiteY40" fmla="*/ 9452 h 10008"/>
                <a:gd name="connsiteX41" fmla="*/ 3863 w 10000"/>
                <a:gd name="connsiteY41" fmla="*/ 9778 h 10008"/>
                <a:gd name="connsiteX42" fmla="*/ 4219 w 10000"/>
                <a:gd name="connsiteY42" fmla="*/ 9620 h 10008"/>
                <a:gd name="connsiteX43" fmla="*/ 4373 w 10000"/>
                <a:gd name="connsiteY43" fmla="*/ 9293 h 10008"/>
                <a:gd name="connsiteX44" fmla="*/ 5064 w 10000"/>
                <a:gd name="connsiteY44" fmla="*/ 9311 h 10008"/>
                <a:gd name="connsiteX45" fmla="*/ 5457 w 10000"/>
                <a:gd name="connsiteY45" fmla="*/ 8984 h 10008"/>
                <a:gd name="connsiteX46" fmla="*/ 5884 w 10000"/>
                <a:gd name="connsiteY46" fmla="*/ 8740 h 10008"/>
                <a:gd name="connsiteX47" fmla="*/ 6040 w 10000"/>
                <a:gd name="connsiteY47" fmla="*/ 8368 h 10008"/>
                <a:gd name="connsiteX48" fmla="*/ 6382 w 10000"/>
                <a:gd name="connsiteY48" fmla="*/ 7982 h 10008"/>
                <a:gd name="connsiteX49" fmla="*/ 6428 w 10000"/>
                <a:gd name="connsiteY49" fmla="*/ 8181 h 10008"/>
                <a:gd name="connsiteX50" fmla="*/ 6444 w 10000"/>
                <a:gd name="connsiteY50" fmla="*/ 8428 h 10008"/>
                <a:gd name="connsiteX51" fmla="*/ 6766 w 10000"/>
                <a:gd name="connsiteY51" fmla="*/ 9268 h 10008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2778 w 10000"/>
                <a:gd name="connsiteY39" fmla="*/ 9087 h 10008"/>
                <a:gd name="connsiteX40" fmla="*/ 3786 w 10000"/>
                <a:gd name="connsiteY40" fmla="*/ 9452 h 10008"/>
                <a:gd name="connsiteX41" fmla="*/ 3863 w 10000"/>
                <a:gd name="connsiteY41" fmla="*/ 9778 h 10008"/>
                <a:gd name="connsiteX42" fmla="*/ 4219 w 10000"/>
                <a:gd name="connsiteY42" fmla="*/ 9620 h 10008"/>
                <a:gd name="connsiteX43" fmla="*/ 4373 w 10000"/>
                <a:gd name="connsiteY43" fmla="*/ 9293 h 10008"/>
                <a:gd name="connsiteX44" fmla="*/ 5064 w 10000"/>
                <a:gd name="connsiteY44" fmla="*/ 9311 h 10008"/>
                <a:gd name="connsiteX45" fmla="*/ 5457 w 10000"/>
                <a:gd name="connsiteY45" fmla="*/ 8984 h 10008"/>
                <a:gd name="connsiteX46" fmla="*/ 5884 w 10000"/>
                <a:gd name="connsiteY46" fmla="*/ 8740 h 10008"/>
                <a:gd name="connsiteX47" fmla="*/ 6040 w 10000"/>
                <a:gd name="connsiteY47" fmla="*/ 8368 h 10008"/>
                <a:gd name="connsiteX48" fmla="*/ 6382 w 10000"/>
                <a:gd name="connsiteY48" fmla="*/ 7982 h 10008"/>
                <a:gd name="connsiteX49" fmla="*/ 6428 w 10000"/>
                <a:gd name="connsiteY49" fmla="*/ 8181 h 10008"/>
                <a:gd name="connsiteX50" fmla="*/ 6444 w 10000"/>
                <a:gd name="connsiteY50" fmla="*/ 8428 h 10008"/>
                <a:gd name="connsiteX51" fmla="*/ 6766 w 10000"/>
                <a:gd name="connsiteY51" fmla="*/ 9268 h 10008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2778 w 10000"/>
                <a:gd name="connsiteY39" fmla="*/ 9087 h 10008"/>
                <a:gd name="connsiteX40" fmla="*/ 3786 w 10000"/>
                <a:gd name="connsiteY40" fmla="*/ 9452 h 10008"/>
                <a:gd name="connsiteX41" fmla="*/ 3863 w 10000"/>
                <a:gd name="connsiteY41" fmla="*/ 9778 h 10008"/>
                <a:gd name="connsiteX42" fmla="*/ 4219 w 10000"/>
                <a:gd name="connsiteY42" fmla="*/ 9620 h 10008"/>
                <a:gd name="connsiteX43" fmla="*/ 4373 w 10000"/>
                <a:gd name="connsiteY43" fmla="*/ 9293 h 10008"/>
                <a:gd name="connsiteX44" fmla="*/ 5064 w 10000"/>
                <a:gd name="connsiteY44" fmla="*/ 9311 h 10008"/>
                <a:gd name="connsiteX45" fmla="*/ 5457 w 10000"/>
                <a:gd name="connsiteY45" fmla="*/ 8984 h 10008"/>
                <a:gd name="connsiteX46" fmla="*/ 5884 w 10000"/>
                <a:gd name="connsiteY46" fmla="*/ 8740 h 10008"/>
                <a:gd name="connsiteX47" fmla="*/ 6040 w 10000"/>
                <a:gd name="connsiteY47" fmla="*/ 8368 h 10008"/>
                <a:gd name="connsiteX48" fmla="*/ 6382 w 10000"/>
                <a:gd name="connsiteY48" fmla="*/ 7982 h 10008"/>
                <a:gd name="connsiteX49" fmla="*/ 6428 w 10000"/>
                <a:gd name="connsiteY49" fmla="*/ 8181 h 10008"/>
                <a:gd name="connsiteX50" fmla="*/ 6444 w 10000"/>
                <a:gd name="connsiteY50" fmla="*/ 8428 h 10008"/>
                <a:gd name="connsiteX51" fmla="*/ 6766 w 10000"/>
                <a:gd name="connsiteY51" fmla="*/ 9268 h 10008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2778 w 10000"/>
                <a:gd name="connsiteY39" fmla="*/ 9087 h 10008"/>
                <a:gd name="connsiteX40" fmla="*/ 3008 w 10000"/>
                <a:gd name="connsiteY40" fmla="*/ 9433 h 10008"/>
                <a:gd name="connsiteX41" fmla="*/ 3786 w 10000"/>
                <a:gd name="connsiteY41" fmla="*/ 9452 h 10008"/>
                <a:gd name="connsiteX42" fmla="*/ 3863 w 10000"/>
                <a:gd name="connsiteY42" fmla="*/ 9778 h 10008"/>
                <a:gd name="connsiteX43" fmla="*/ 4219 w 10000"/>
                <a:gd name="connsiteY43" fmla="*/ 9620 h 10008"/>
                <a:gd name="connsiteX44" fmla="*/ 4373 w 10000"/>
                <a:gd name="connsiteY44" fmla="*/ 9293 h 10008"/>
                <a:gd name="connsiteX45" fmla="*/ 5064 w 10000"/>
                <a:gd name="connsiteY45" fmla="*/ 9311 h 10008"/>
                <a:gd name="connsiteX46" fmla="*/ 5457 w 10000"/>
                <a:gd name="connsiteY46" fmla="*/ 8984 h 10008"/>
                <a:gd name="connsiteX47" fmla="*/ 5884 w 10000"/>
                <a:gd name="connsiteY47" fmla="*/ 8740 h 10008"/>
                <a:gd name="connsiteX48" fmla="*/ 6040 w 10000"/>
                <a:gd name="connsiteY48" fmla="*/ 8368 h 10008"/>
                <a:gd name="connsiteX49" fmla="*/ 6382 w 10000"/>
                <a:gd name="connsiteY49" fmla="*/ 7982 h 10008"/>
                <a:gd name="connsiteX50" fmla="*/ 6428 w 10000"/>
                <a:gd name="connsiteY50" fmla="*/ 8181 h 10008"/>
                <a:gd name="connsiteX51" fmla="*/ 6444 w 10000"/>
                <a:gd name="connsiteY51" fmla="*/ 8428 h 10008"/>
                <a:gd name="connsiteX52" fmla="*/ 6766 w 10000"/>
                <a:gd name="connsiteY52" fmla="*/ 9268 h 10008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2778 w 10000"/>
                <a:gd name="connsiteY39" fmla="*/ 9087 h 10008"/>
                <a:gd name="connsiteX40" fmla="*/ 3008 w 10000"/>
                <a:gd name="connsiteY40" fmla="*/ 9433 h 10008"/>
                <a:gd name="connsiteX41" fmla="*/ 3786 w 10000"/>
                <a:gd name="connsiteY41" fmla="*/ 9499 h 10008"/>
                <a:gd name="connsiteX42" fmla="*/ 3863 w 10000"/>
                <a:gd name="connsiteY42" fmla="*/ 9778 h 10008"/>
                <a:gd name="connsiteX43" fmla="*/ 4219 w 10000"/>
                <a:gd name="connsiteY43" fmla="*/ 9620 h 10008"/>
                <a:gd name="connsiteX44" fmla="*/ 4373 w 10000"/>
                <a:gd name="connsiteY44" fmla="*/ 9293 h 10008"/>
                <a:gd name="connsiteX45" fmla="*/ 5064 w 10000"/>
                <a:gd name="connsiteY45" fmla="*/ 9311 h 10008"/>
                <a:gd name="connsiteX46" fmla="*/ 5457 w 10000"/>
                <a:gd name="connsiteY46" fmla="*/ 8984 h 10008"/>
                <a:gd name="connsiteX47" fmla="*/ 5884 w 10000"/>
                <a:gd name="connsiteY47" fmla="*/ 8740 h 10008"/>
                <a:gd name="connsiteX48" fmla="*/ 6040 w 10000"/>
                <a:gd name="connsiteY48" fmla="*/ 8368 h 10008"/>
                <a:gd name="connsiteX49" fmla="*/ 6382 w 10000"/>
                <a:gd name="connsiteY49" fmla="*/ 7982 h 10008"/>
                <a:gd name="connsiteX50" fmla="*/ 6428 w 10000"/>
                <a:gd name="connsiteY50" fmla="*/ 8181 h 10008"/>
                <a:gd name="connsiteX51" fmla="*/ 6444 w 10000"/>
                <a:gd name="connsiteY51" fmla="*/ 8428 h 10008"/>
                <a:gd name="connsiteX52" fmla="*/ 6766 w 10000"/>
                <a:gd name="connsiteY52" fmla="*/ 9268 h 10008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2778 w 10000"/>
                <a:gd name="connsiteY39" fmla="*/ 9087 h 10008"/>
                <a:gd name="connsiteX40" fmla="*/ 2960 w 10000"/>
                <a:gd name="connsiteY40" fmla="*/ 9480 h 10008"/>
                <a:gd name="connsiteX41" fmla="*/ 3786 w 10000"/>
                <a:gd name="connsiteY41" fmla="*/ 9499 h 10008"/>
                <a:gd name="connsiteX42" fmla="*/ 3863 w 10000"/>
                <a:gd name="connsiteY42" fmla="*/ 9778 h 10008"/>
                <a:gd name="connsiteX43" fmla="*/ 4219 w 10000"/>
                <a:gd name="connsiteY43" fmla="*/ 9620 h 10008"/>
                <a:gd name="connsiteX44" fmla="*/ 4373 w 10000"/>
                <a:gd name="connsiteY44" fmla="*/ 9293 h 10008"/>
                <a:gd name="connsiteX45" fmla="*/ 5064 w 10000"/>
                <a:gd name="connsiteY45" fmla="*/ 9311 h 10008"/>
                <a:gd name="connsiteX46" fmla="*/ 5457 w 10000"/>
                <a:gd name="connsiteY46" fmla="*/ 8984 h 10008"/>
                <a:gd name="connsiteX47" fmla="*/ 5884 w 10000"/>
                <a:gd name="connsiteY47" fmla="*/ 8740 h 10008"/>
                <a:gd name="connsiteX48" fmla="*/ 6040 w 10000"/>
                <a:gd name="connsiteY48" fmla="*/ 8368 h 10008"/>
                <a:gd name="connsiteX49" fmla="*/ 6382 w 10000"/>
                <a:gd name="connsiteY49" fmla="*/ 7982 h 10008"/>
                <a:gd name="connsiteX50" fmla="*/ 6428 w 10000"/>
                <a:gd name="connsiteY50" fmla="*/ 8181 h 10008"/>
                <a:gd name="connsiteX51" fmla="*/ 6444 w 10000"/>
                <a:gd name="connsiteY51" fmla="*/ 8428 h 10008"/>
                <a:gd name="connsiteX52" fmla="*/ 6766 w 10000"/>
                <a:gd name="connsiteY52" fmla="*/ 9268 h 10008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2778 w 10000"/>
                <a:gd name="connsiteY39" fmla="*/ 9087 h 10008"/>
                <a:gd name="connsiteX40" fmla="*/ 2960 w 10000"/>
                <a:gd name="connsiteY40" fmla="*/ 9480 h 10008"/>
                <a:gd name="connsiteX41" fmla="*/ 3757 w 10000"/>
                <a:gd name="connsiteY41" fmla="*/ 9508 h 10008"/>
                <a:gd name="connsiteX42" fmla="*/ 3863 w 10000"/>
                <a:gd name="connsiteY42" fmla="*/ 9778 h 10008"/>
                <a:gd name="connsiteX43" fmla="*/ 4219 w 10000"/>
                <a:gd name="connsiteY43" fmla="*/ 9620 h 10008"/>
                <a:gd name="connsiteX44" fmla="*/ 4373 w 10000"/>
                <a:gd name="connsiteY44" fmla="*/ 9293 h 10008"/>
                <a:gd name="connsiteX45" fmla="*/ 5064 w 10000"/>
                <a:gd name="connsiteY45" fmla="*/ 9311 h 10008"/>
                <a:gd name="connsiteX46" fmla="*/ 5457 w 10000"/>
                <a:gd name="connsiteY46" fmla="*/ 8984 h 10008"/>
                <a:gd name="connsiteX47" fmla="*/ 5884 w 10000"/>
                <a:gd name="connsiteY47" fmla="*/ 8740 h 10008"/>
                <a:gd name="connsiteX48" fmla="*/ 6040 w 10000"/>
                <a:gd name="connsiteY48" fmla="*/ 8368 h 10008"/>
                <a:gd name="connsiteX49" fmla="*/ 6382 w 10000"/>
                <a:gd name="connsiteY49" fmla="*/ 7982 h 10008"/>
                <a:gd name="connsiteX50" fmla="*/ 6428 w 10000"/>
                <a:gd name="connsiteY50" fmla="*/ 8181 h 10008"/>
                <a:gd name="connsiteX51" fmla="*/ 6444 w 10000"/>
                <a:gd name="connsiteY51" fmla="*/ 8428 h 10008"/>
                <a:gd name="connsiteX52" fmla="*/ 6766 w 10000"/>
                <a:gd name="connsiteY52" fmla="*/ 9268 h 10008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2778 w 10000"/>
                <a:gd name="connsiteY39" fmla="*/ 9087 h 10008"/>
                <a:gd name="connsiteX40" fmla="*/ 3027 w 10000"/>
                <a:gd name="connsiteY40" fmla="*/ 9433 h 10008"/>
                <a:gd name="connsiteX41" fmla="*/ 3757 w 10000"/>
                <a:gd name="connsiteY41" fmla="*/ 9508 h 10008"/>
                <a:gd name="connsiteX42" fmla="*/ 3863 w 10000"/>
                <a:gd name="connsiteY42" fmla="*/ 9778 h 10008"/>
                <a:gd name="connsiteX43" fmla="*/ 4219 w 10000"/>
                <a:gd name="connsiteY43" fmla="*/ 9620 h 10008"/>
                <a:gd name="connsiteX44" fmla="*/ 4373 w 10000"/>
                <a:gd name="connsiteY44" fmla="*/ 9293 h 10008"/>
                <a:gd name="connsiteX45" fmla="*/ 5064 w 10000"/>
                <a:gd name="connsiteY45" fmla="*/ 9311 h 10008"/>
                <a:gd name="connsiteX46" fmla="*/ 5457 w 10000"/>
                <a:gd name="connsiteY46" fmla="*/ 8984 h 10008"/>
                <a:gd name="connsiteX47" fmla="*/ 5884 w 10000"/>
                <a:gd name="connsiteY47" fmla="*/ 8740 h 10008"/>
                <a:gd name="connsiteX48" fmla="*/ 6040 w 10000"/>
                <a:gd name="connsiteY48" fmla="*/ 8368 h 10008"/>
                <a:gd name="connsiteX49" fmla="*/ 6382 w 10000"/>
                <a:gd name="connsiteY49" fmla="*/ 7982 h 10008"/>
                <a:gd name="connsiteX50" fmla="*/ 6428 w 10000"/>
                <a:gd name="connsiteY50" fmla="*/ 8181 h 10008"/>
                <a:gd name="connsiteX51" fmla="*/ 6444 w 10000"/>
                <a:gd name="connsiteY51" fmla="*/ 8428 h 10008"/>
                <a:gd name="connsiteX52" fmla="*/ 6766 w 10000"/>
                <a:gd name="connsiteY52" fmla="*/ 9268 h 10008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2778 w 10000"/>
                <a:gd name="connsiteY39" fmla="*/ 9087 h 10008"/>
                <a:gd name="connsiteX40" fmla="*/ 2893 w 10000"/>
                <a:gd name="connsiteY40" fmla="*/ 9508 h 10008"/>
                <a:gd name="connsiteX41" fmla="*/ 3757 w 10000"/>
                <a:gd name="connsiteY41" fmla="*/ 9508 h 10008"/>
                <a:gd name="connsiteX42" fmla="*/ 3863 w 10000"/>
                <a:gd name="connsiteY42" fmla="*/ 9778 h 10008"/>
                <a:gd name="connsiteX43" fmla="*/ 4219 w 10000"/>
                <a:gd name="connsiteY43" fmla="*/ 9620 h 10008"/>
                <a:gd name="connsiteX44" fmla="*/ 4373 w 10000"/>
                <a:gd name="connsiteY44" fmla="*/ 9293 h 10008"/>
                <a:gd name="connsiteX45" fmla="*/ 5064 w 10000"/>
                <a:gd name="connsiteY45" fmla="*/ 9311 h 10008"/>
                <a:gd name="connsiteX46" fmla="*/ 5457 w 10000"/>
                <a:gd name="connsiteY46" fmla="*/ 8984 h 10008"/>
                <a:gd name="connsiteX47" fmla="*/ 5884 w 10000"/>
                <a:gd name="connsiteY47" fmla="*/ 8740 h 10008"/>
                <a:gd name="connsiteX48" fmla="*/ 6040 w 10000"/>
                <a:gd name="connsiteY48" fmla="*/ 8368 h 10008"/>
                <a:gd name="connsiteX49" fmla="*/ 6382 w 10000"/>
                <a:gd name="connsiteY49" fmla="*/ 7982 h 10008"/>
                <a:gd name="connsiteX50" fmla="*/ 6428 w 10000"/>
                <a:gd name="connsiteY50" fmla="*/ 8181 h 10008"/>
                <a:gd name="connsiteX51" fmla="*/ 6444 w 10000"/>
                <a:gd name="connsiteY51" fmla="*/ 8428 h 10008"/>
                <a:gd name="connsiteX52" fmla="*/ 6766 w 10000"/>
                <a:gd name="connsiteY52" fmla="*/ 9268 h 10008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2778 w 10000"/>
                <a:gd name="connsiteY39" fmla="*/ 9087 h 10008"/>
                <a:gd name="connsiteX40" fmla="*/ 2893 w 10000"/>
                <a:gd name="connsiteY40" fmla="*/ 9508 h 10008"/>
                <a:gd name="connsiteX41" fmla="*/ 3757 w 10000"/>
                <a:gd name="connsiteY41" fmla="*/ 9508 h 10008"/>
                <a:gd name="connsiteX42" fmla="*/ 3863 w 10000"/>
                <a:gd name="connsiteY42" fmla="*/ 9778 h 10008"/>
                <a:gd name="connsiteX43" fmla="*/ 4219 w 10000"/>
                <a:gd name="connsiteY43" fmla="*/ 9620 h 10008"/>
                <a:gd name="connsiteX44" fmla="*/ 4373 w 10000"/>
                <a:gd name="connsiteY44" fmla="*/ 9293 h 10008"/>
                <a:gd name="connsiteX45" fmla="*/ 5064 w 10000"/>
                <a:gd name="connsiteY45" fmla="*/ 9311 h 10008"/>
                <a:gd name="connsiteX46" fmla="*/ 5457 w 10000"/>
                <a:gd name="connsiteY46" fmla="*/ 8984 h 10008"/>
                <a:gd name="connsiteX47" fmla="*/ 5884 w 10000"/>
                <a:gd name="connsiteY47" fmla="*/ 8740 h 10008"/>
                <a:gd name="connsiteX48" fmla="*/ 6040 w 10000"/>
                <a:gd name="connsiteY48" fmla="*/ 8368 h 10008"/>
                <a:gd name="connsiteX49" fmla="*/ 6382 w 10000"/>
                <a:gd name="connsiteY49" fmla="*/ 7982 h 10008"/>
                <a:gd name="connsiteX50" fmla="*/ 6428 w 10000"/>
                <a:gd name="connsiteY50" fmla="*/ 8181 h 10008"/>
                <a:gd name="connsiteX51" fmla="*/ 6444 w 10000"/>
                <a:gd name="connsiteY51" fmla="*/ 8428 h 10008"/>
                <a:gd name="connsiteX52" fmla="*/ 6766 w 10000"/>
                <a:gd name="connsiteY52" fmla="*/ 9268 h 10008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2778 w 10000"/>
                <a:gd name="connsiteY39" fmla="*/ 9087 h 10008"/>
                <a:gd name="connsiteX40" fmla="*/ 2893 w 10000"/>
                <a:gd name="connsiteY40" fmla="*/ 9508 h 10008"/>
                <a:gd name="connsiteX41" fmla="*/ 3757 w 10000"/>
                <a:gd name="connsiteY41" fmla="*/ 9508 h 10008"/>
                <a:gd name="connsiteX42" fmla="*/ 3863 w 10000"/>
                <a:gd name="connsiteY42" fmla="*/ 9778 h 10008"/>
                <a:gd name="connsiteX43" fmla="*/ 4219 w 10000"/>
                <a:gd name="connsiteY43" fmla="*/ 9620 h 10008"/>
                <a:gd name="connsiteX44" fmla="*/ 4373 w 10000"/>
                <a:gd name="connsiteY44" fmla="*/ 9293 h 10008"/>
                <a:gd name="connsiteX45" fmla="*/ 5064 w 10000"/>
                <a:gd name="connsiteY45" fmla="*/ 9311 h 10008"/>
                <a:gd name="connsiteX46" fmla="*/ 5457 w 10000"/>
                <a:gd name="connsiteY46" fmla="*/ 8984 h 10008"/>
                <a:gd name="connsiteX47" fmla="*/ 5884 w 10000"/>
                <a:gd name="connsiteY47" fmla="*/ 8740 h 10008"/>
                <a:gd name="connsiteX48" fmla="*/ 6040 w 10000"/>
                <a:gd name="connsiteY48" fmla="*/ 8368 h 10008"/>
                <a:gd name="connsiteX49" fmla="*/ 6382 w 10000"/>
                <a:gd name="connsiteY49" fmla="*/ 7982 h 10008"/>
                <a:gd name="connsiteX50" fmla="*/ 6428 w 10000"/>
                <a:gd name="connsiteY50" fmla="*/ 8181 h 10008"/>
                <a:gd name="connsiteX51" fmla="*/ 6444 w 10000"/>
                <a:gd name="connsiteY51" fmla="*/ 8428 h 10008"/>
                <a:gd name="connsiteX52" fmla="*/ 6766 w 10000"/>
                <a:gd name="connsiteY52" fmla="*/ 9268 h 10008"/>
                <a:gd name="connsiteX0" fmla="*/ 7446 w 10000"/>
                <a:gd name="connsiteY0" fmla="*/ 9488 h 10018"/>
                <a:gd name="connsiteX1" fmla="*/ 7446 w 10000"/>
                <a:gd name="connsiteY1" fmla="*/ 8978 h 10018"/>
                <a:gd name="connsiteX2" fmla="*/ 7821 w 10000"/>
                <a:gd name="connsiteY2" fmla="*/ 8978 h 10018"/>
                <a:gd name="connsiteX3" fmla="*/ 8047 w 10000"/>
                <a:gd name="connsiteY3" fmla="*/ 8029 h 10018"/>
                <a:gd name="connsiteX4" fmla="*/ 8648 w 10000"/>
                <a:gd name="connsiteY4" fmla="*/ 7444 h 10018"/>
                <a:gd name="connsiteX5" fmla="*/ 8873 w 10000"/>
                <a:gd name="connsiteY5" fmla="*/ 6351 h 10018"/>
                <a:gd name="connsiteX6" fmla="*/ 8722 w 10000"/>
                <a:gd name="connsiteY6" fmla="*/ 5768 h 10018"/>
                <a:gd name="connsiteX7" fmla="*/ 9098 w 10000"/>
                <a:gd name="connsiteY7" fmla="*/ 4525 h 10018"/>
                <a:gd name="connsiteX8" fmla="*/ 9399 w 10000"/>
                <a:gd name="connsiteY8" fmla="*/ 4160 h 10018"/>
                <a:gd name="connsiteX9" fmla="*/ 10000 w 10000"/>
                <a:gd name="connsiteY9" fmla="*/ 3576 h 10018"/>
                <a:gd name="connsiteX10" fmla="*/ 9774 w 10000"/>
                <a:gd name="connsiteY10" fmla="*/ 3502 h 10018"/>
                <a:gd name="connsiteX11" fmla="*/ 9399 w 10000"/>
                <a:gd name="connsiteY11" fmla="*/ 3140 h 10018"/>
                <a:gd name="connsiteX12" fmla="*/ 9173 w 10000"/>
                <a:gd name="connsiteY12" fmla="*/ 2044 h 10018"/>
                <a:gd name="connsiteX13" fmla="*/ 9173 w 10000"/>
                <a:gd name="connsiteY13" fmla="*/ 1460 h 10018"/>
                <a:gd name="connsiteX14" fmla="*/ 9098 w 10000"/>
                <a:gd name="connsiteY14" fmla="*/ 729 h 10018"/>
                <a:gd name="connsiteX15" fmla="*/ 8873 w 10000"/>
                <a:gd name="connsiteY15" fmla="*/ 511 h 10018"/>
                <a:gd name="connsiteX16" fmla="*/ 8497 w 10000"/>
                <a:gd name="connsiteY16" fmla="*/ 219 h 10018"/>
                <a:gd name="connsiteX17" fmla="*/ 8272 w 10000"/>
                <a:gd name="connsiteY17" fmla="*/ 0 h 10018"/>
                <a:gd name="connsiteX18" fmla="*/ 7821 w 10000"/>
                <a:gd name="connsiteY18" fmla="*/ 293 h 10018"/>
                <a:gd name="connsiteX19" fmla="*/ 7370 w 10000"/>
                <a:gd name="connsiteY19" fmla="*/ 729 h 10018"/>
                <a:gd name="connsiteX20" fmla="*/ 6769 w 10000"/>
                <a:gd name="connsiteY20" fmla="*/ 729 h 10018"/>
                <a:gd name="connsiteX21" fmla="*/ 5717 w 10000"/>
                <a:gd name="connsiteY21" fmla="*/ 729 h 10018"/>
                <a:gd name="connsiteX22" fmla="*/ 5717 w 10000"/>
                <a:gd name="connsiteY22" fmla="*/ 658 h 10018"/>
                <a:gd name="connsiteX23" fmla="*/ 5643 w 10000"/>
                <a:gd name="connsiteY23" fmla="*/ 729 h 10018"/>
                <a:gd name="connsiteX24" fmla="*/ 1961 w 10000"/>
                <a:gd name="connsiteY24" fmla="*/ 729 h 10018"/>
                <a:gd name="connsiteX25" fmla="*/ 1961 w 10000"/>
                <a:gd name="connsiteY25" fmla="*/ 2263 h 10018"/>
                <a:gd name="connsiteX26" fmla="*/ 1285 w 10000"/>
                <a:gd name="connsiteY26" fmla="*/ 2263 h 10018"/>
                <a:gd name="connsiteX27" fmla="*/ 1285 w 10000"/>
                <a:gd name="connsiteY27" fmla="*/ 2556 h 10018"/>
                <a:gd name="connsiteX28" fmla="*/ 1285 w 10000"/>
                <a:gd name="connsiteY28" fmla="*/ 5179 h 10018"/>
                <a:gd name="connsiteX29" fmla="*/ 1135 w 10000"/>
                <a:gd name="connsiteY29" fmla="*/ 5327 h 10018"/>
                <a:gd name="connsiteX30" fmla="*/ 684 w 10000"/>
                <a:gd name="connsiteY30" fmla="*/ 5621 h 10018"/>
                <a:gd name="connsiteX31" fmla="*/ 609 w 10000"/>
                <a:gd name="connsiteY31" fmla="*/ 5986 h 10018"/>
                <a:gd name="connsiteX32" fmla="*/ 384 w 10000"/>
                <a:gd name="connsiteY32" fmla="*/ 6351 h 10018"/>
                <a:gd name="connsiteX33" fmla="*/ 234 w 10000"/>
                <a:gd name="connsiteY33" fmla="*/ 6935 h 10018"/>
                <a:gd name="connsiteX34" fmla="*/ 8 w 10000"/>
                <a:gd name="connsiteY34" fmla="*/ 7593 h 10018"/>
                <a:gd name="connsiteX35" fmla="*/ 384 w 10000"/>
                <a:gd name="connsiteY35" fmla="*/ 7664 h 10018"/>
                <a:gd name="connsiteX36" fmla="*/ 458 w 10000"/>
                <a:gd name="connsiteY36" fmla="*/ 8245 h 10018"/>
                <a:gd name="connsiteX37" fmla="*/ 684 w 10000"/>
                <a:gd name="connsiteY37" fmla="*/ 8831 h 10018"/>
                <a:gd name="connsiteX38" fmla="*/ 1059 w 10000"/>
                <a:gd name="connsiteY38" fmla="*/ 10000 h 10018"/>
                <a:gd name="connsiteX39" fmla="*/ 2509 w 10000"/>
                <a:gd name="connsiteY39" fmla="*/ 9601 h 10018"/>
                <a:gd name="connsiteX40" fmla="*/ 2893 w 10000"/>
                <a:gd name="connsiteY40" fmla="*/ 9508 h 10018"/>
                <a:gd name="connsiteX41" fmla="*/ 3757 w 10000"/>
                <a:gd name="connsiteY41" fmla="*/ 9508 h 10018"/>
                <a:gd name="connsiteX42" fmla="*/ 3863 w 10000"/>
                <a:gd name="connsiteY42" fmla="*/ 9778 h 10018"/>
                <a:gd name="connsiteX43" fmla="*/ 4219 w 10000"/>
                <a:gd name="connsiteY43" fmla="*/ 9620 h 10018"/>
                <a:gd name="connsiteX44" fmla="*/ 4373 w 10000"/>
                <a:gd name="connsiteY44" fmla="*/ 9293 h 10018"/>
                <a:gd name="connsiteX45" fmla="*/ 5064 w 10000"/>
                <a:gd name="connsiteY45" fmla="*/ 9311 h 10018"/>
                <a:gd name="connsiteX46" fmla="*/ 5457 w 10000"/>
                <a:gd name="connsiteY46" fmla="*/ 8984 h 10018"/>
                <a:gd name="connsiteX47" fmla="*/ 5884 w 10000"/>
                <a:gd name="connsiteY47" fmla="*/ 8740 h 10018"/>
                <a:gd name="connsiteX48" fmla="*/ 6040 w 10000"/>
                <a:gd name="connsiteY48" fmla="*/ 8368 h 10018"/>
                <a:gd name="connsiteX49" fmla="*/ 6382 w 10000"/>
                <a:gd name="connsiteY49" fmla="*/ 7982 h 10018"/>
                <a:gd name="connsiteX50" fmla="*/ 6428 w 10000"/>
                <a:gd name="connsiteY50" fmla="*/ 8181 h 10018"/>
                <a:gd name="connsiteX51" fmla="*/ 6444 w 10000"/>
                <a:gd name="connsiteY51" fmla="*/ 8428 h 10018"/>
                <a:gd name="connsiteX52" fmla="*/ 6766 w 10000"/>
                <a:gd name="connsiteY52" fmla="*/ 9268 h 10018"/>
                <a:gd name="connsiteX0" fmla="*/ 7446 w 10000"/>
                <a:gd name="connsiteY0" fmla="*/ 9488 h 10018"/>
                <a:gd name="connsiteX1" fmla="*/ 7446 w 10000"/>
                <a:gd name="connsiteY1" fmla="*/ 8978 h 10018"/>
                <a:gd name="connsiteX2" fmla="*/ 7821 w 10000"/>
                <a:gd name="connsiteY2" fmla="*/ 8978 h 10018"/>
                <a:gd name="connsiteX3" fmla="*/ 8047 w 10000"/>
                <a:gd name="connsiteY3" fmla="*/ 8029 h 10018"/>
                <a:gd name="connsiteX4" fmla="*/ 8648 w 10000"/>
                <a:gd name="connsiteY4" fmla="*/ 7444 h 10018"/>
                <a:gd name="connsiteX5" fmla="*/ 8873 w 10000"/>
                <a:gd name="connsiteY5" fmla="*/ 6351 h 10018"/>
                <a:gd name="connsiteX6" fmla="*/ 8722 w 10000"/>
                <a:gd name="connsiteY6" fmla="*/ 5768 h 10018"/>
                <a:gd name="connsiteX7" fmla="*/ 9098 w 10000"/>
                <a:gd name="connsiteY7" fmla="*/ 4525 h 10018"/>
                <a:gd name="connsiteX8" fmla="*/ 9399 w 10000"/>
                <a:gd name="connsiteY8" fmla="*/ 4160 h 10018"/>
                <a:gd name="connsiteX9" fmla="*/ 10000 w 10000"/>
                <a:gd name="connsiteY9" fmla="*/ 3576 h 10018"/>
                <a:gd name="connsiteX10" fmla="*/ 9774 w 10000"/>
                <a:gd name="connsiteY10" fmla="*/ 3502 h 10018"/>
                <a:gd name="connsiteX11" fmla="*/ 9399 w 10000"/>
                <a:gd name="connsiteY11" fmla="*/ 3140 h 10018"/>
                <a:gd name="connsiteX12" fmla="*/ 9173 w 10000"/>
                <a:gd name="connsiteY12" fmla="*/ 2044 h 10018"/>
                <a:gd name="connsiteX13" fmla="*/ 9173 w 10000"/>
                <a:gd name="connsiteY13" fmla="*/ 1460 h 10018"/>
                <a:gd name="connsiteX14" fmla="*/ 9098 w 10000"/>
                <a:gd name="connsiteY14" fmla="*/ 729 h 10018"/>
                <a:gd name="connsiteX15" fmla="*/ 8873 w 10000"/>
                <a:gd name="connsiteY15" fmla="*/ 511 h 10018"/>
                <a:gd name="connsiteX16" fmla="*/ 8497 w 10000"/>
                <a:gd name="connsiteY16" fmla="*/ 219 h 10018"/>
                <a:gd name="connsiteX17" fmla="*/ 8272 w 10000"/>
                <a:gd name="connsiteY17" fmla="*/ 0 h 10018"/>
                <a:gd name="connsiteX18" fmla="*/ 7821 w 10000"/>
                <a:gd name="connsiteY18" fmla="*/ 293 h 10018"/>
                <a:gd name="connsiteX19" fmla="*/ 7370 w 10000"/>
                <a:gd name="connsiteY19" fmla="*/ 729 h 10018"/>
                <a:gd name="connsiteX20" fmla="*/ 6769 w 10000"/>
                <a:gd name="connsiteY20" fmla="*/ 729 h 10018"/>
                <a:gd name="connsiteX21" fmla="*/ 5717 w 10000"/>
                <a:gd name="connsiteY21" fmla="*/ 729 h 10018"/>
                <a:gd name="connsiteX22" fmla="*/ 5717 w 10000"/>
                <a:gd name="connsiteY22" fmla="*/ 658 h 10018"/>
                <a:gd name="connsiteX23" fmla="*/ 5643 w 10000"/>
                <a:gd name="connsiteY23" fmla="*/ 729 h 10018"/>
                <a:gd name="connsiteX24" fmla="*/ 1961 w 10000"/>
                <a:gd name="connsiteY24" fmla="*/ 729 h 10018"/>
                <a:gd name="connsiteX25" fmla="*/ 1961 w 10000"/>
                <a:gd name="connsiteY25" fmla="*/ 2263 h 10018"/>
                <a:gd name="connsiteX26" fmla="*/ 1285 w 10000"/>
                <a:gd name="connsiteY26" fmla="*/ 2263 h 10018"/>
                <a:gd name="connsiteX27" fmla="*/ 1285 w 10000"/>
                <a:gd name="connsiteY27" fmla="*/ 2556 h 10018"/>
                <a:gd name="connsiteX28" fmla="*/ 1285 w 10000"/>
                <a:gd name="connsiteY28" fmla="*/ 5179 h 10018"/>
                <a:gd name="connsiteX29" fmla="*/ 1135 w 10000"/>
                <a:gd name="connsiteY29" fmla="*/ 5327 h 10018"/>
                <a:gd name="connsiteX30" fmla="*/ 684 w 10000"/>
                <a:gd name="connsiteY30" fmla="*/ 5621 h 10018"/>
                <a:gd name="connsiteX31" fmla="*/ 609 w 10000"/>
                <a:gd name="connsiteY31" fmla="*/ 5986 h 10018"/>
                <a:gd name="connsiteX32" fmla="*/ 384 w 10000"/>
                <a:gd name="connsiteY32" fmla="*/ 6351 h 10018"/>
                <a:gd name="connsiteX33" fmla="*/ 234 w 10000"/>
                <a:gd name="connsiteY33" fmla="*/ 6935 h 10018"/>
                <a:gd name="connsiteX34" fmla="*/ 8 w 10000"/>
                <a:gd name="connsiteY34" fmla="*/ 7593 h 10018"/>
                <a:gd name="connsiteX35" fmla="*/ 384 w 10000"/>
                <a:gd name="connsiteY35" fmla="*/ 7664 h 10018"/>
                <a:gd name="connsiteX36" fmla="*/ 458 w 10000"/>
                <a:gd name="connsiteY36" fmla="*/ 8245 h 10018"/>
                <a:gd name="connsiteX37" fmla="*/ 684 w 10000"/>
                <a:gd name="connsiteY37" fmla="*/ 8831 h 10018"/>
                <a:gd name="connsiteX38" fmla="*/ 1059 w 10000"/>
                <a:gd name="connsiteY38" fmla="*/ 10000 h 10018"/>
                <a:gd name="connsiteX39" fmla="*/ 2509 w 10000"/>
                <a:gd name="connsiteY39" fmla="*/ 9601 h 10018"/>
                <a:gd name="connsiteX40" fmla="*/ 2893 w 10000"/>
                <a:gd name="connsiteY40" fmla="*/ 9508 h 10018"/>
                <a:gd name="connsiteX41" fmla="*/ 3757 w 10000"/>
                <a:gd name="connsiteY41" fmla="*/ 9508 h 10018"/>
                <a:gd name="connsiteX42" fmla="*/ 3863 w 10000"/>
                <a:gd name="connsiteY42" fmla="*/ 9778 h 10018"/>
                <a:gd name="connsiteX43" fmla="*/ 4219 w 10000"/>
                <a:gd name="connsiteY43" fmla="*/ 9620 h 10018"/>
                <a:gd name="connsiteX44" fmla="*/ 4373 w 10000"/>
                <a:gd name="connsiteY44" fmla="*/ 9293 h 10018"/>
                <a:gd name="connsiteX45" fmla="*/ 5064 w 10000"/>
                <a:gd name="connsiteY45" fmla="*/ 9311 h 10018"/>
                <a:gd name="connsiteX46" fmla="*/ 5457 w 10000"/>
                <a:gd name="connsiteY46" fmla="*/ 8984 h 10018"/>
                <a:gd name="connsiteX47" fmla="*/ 5884 w 10000"/>
                <a:gd name="connsiteY47" fmla="*/ 8740 h 10018"/>
                <a:gd name="connsiteX48" fmla="*/ 6040 w 10000"/>
                <a:gd name="connsiteY48" fmla="*/ 8368 h 10018"/>
                <a:gd name="connsiteX49" fmla="*/ 6382 w 10000"/>
                <a:gd name="connsiteY49" fmla="*/ 7982 h 10018"/>
                <a:gd name="connsiteX50" fmla="*/ 6428 w 10000"/>
                <a:gd name="connsiteY50" fmla="*/ 8181 h 10018"/>
                <a:gd name="connsiteX51" fmla="*/ 6444 w 10000"/>
                <a:gd name="connsiteY51" fmla="*/ 8428 h 10018"/>
                <a:gd name="connsiteX52" fmla="*/ 6766 w 10000"/>
                <a:gd name="connsiteY52" fmla="*/ 9268 h 10018"/>
                <a:gd name="connsiteX0" fmla="*/ 7446 w 10000"/>
                <a:gd name="connsiteY0" fmla="*/ 9488 h 10018"/>
                <a:gd name="connsiteX1" fmla="*/ 7446 w 10000"/>
                <a:gd name="connsiteY1" fmla="*/ 8978 h 10018"/>
                <a:gd name="connsiteX2" fmla="*/ 7821 w 10000"/>
                <a:gd name="connsiteY2" fmla="*/ 8978 h 10018"/>
                <a:gd name="connsiteX3" fmla="*/ 8047 w 10000"/>
                <a:gd name="connsiteY3" fmla="*/ 8029 h 10018"/>
                <a:gd name="connsiteX4" fmla="*/ 8648 w 10000"/>
                <a:gd name="connsiteY4" fmla="*/ 7444 h 10018"/>
                <a:gd name="connsiteX5" fmla="*/ 8873 w 10000"/>
                <a:gd name="connsiteY5" fmla="*/ 6351 h 10018"/>
                <a:gd name="connsiteX6" fmla="*/ 8722 w 10000"/>
                <a:gd name="connsiteY6" fmla="*/ 5768 h 10018"/>
                <a:gd name="connsiteX7" fmla="*/ 9098 w 10000"/>
                <a:gd name="connsiteY7" fmla="*/ 4525 h 10018"/>
                <a:gd name="connsiteX8" fmla="*/ 9399 w 10000"/>
                <a:gd name="connsiteY8" fmla="*/ 4160 h 10018"/>
                <a:gd name="connsiteX9" fmla="*/ 10000 w 10000"/>
                <a:gd name="connsiteY9" fmla="*/ 3576 h 10018"/>
                <a:gd name="connsiteX10" fmla="*/ 9774 w 10000"/>
                <a:gd name="connsiteY10" fmla="*/ 3502 h 10018"/>
                <a:gd name="connsiteX11" fmla="*/ 9399 w 10000"/>
                <a:gd name="connsiteY11" fmla="*/ 3140 h 10018"/>
                <a:gd name="connsiteX12" fmla="*/ 9173 w 10000"/>
                <a:gd name="connsiteY12" fmla="*/ 2044 h 10018"/>
                <a:gd name="connsiteX13" fmla="*/ 9173 w 10000"/>
                <a:gd name="connsiteY13" fmla="*/ 1460 h 10018"/>
                <a:gd name="connsiteX14" fmla="*/ 9098 w 10000"/>
                <a:gd name="connsiteY14" fmla="*/ 729 h 10018"/>
                <a:gd name="connsiteX15" fmla="*/ 8873 w 10000"/>
                <a:gd name="connsiteY15" fmla="*/ 511 h 10018"/>
                <a:gd name="connsiteX16" fmla="*/ 8497 w 10000"/>
                <a:gd name="connsiteY16" fmla="*/ 219 h 10018"/>
                <a:gd name="connsiteX17" fmla="*/ 8272 w 10000"/>
                <a:gd name="connsiteY17" fmla="*/ 0 h 10018"/>
                <a:gd name="connsiteX18" fmla="*/ 7821 w 10000"/>
                <a:gd name="connsiteY18" fmla="*/ 293 h 10018"/>
                <a:gd name="connsiteX19" fmla="*/ 7370 w 10000"/>
                <a:gd name="connsiteY19" fmla="*/ 729 h 10018"/>
                <a:gd name="connsiteX20" fmla="*/ 6769 w 10000"/>
                <a:gd name="connsiteY20" fmla="*/ 729 h 10018"/>
                <a:gd name="connsiteX21" fmla="*/ 5717 w 10000"/>
                <a:gd name="connsiteY21" fmla="*/ 729 h 10018"/>
                <a:gd name="connsiteX22" fmla="*/ 5717 w 10000"/>
                <a:gd name="connsiteY22" fmla="*/ 658 h 10018"/>
                <a:gd name="connsiteX23" fmla="*/ 5643 w 10000"/>
                <a:gd name="connsiteY23" fmla="*/ 729 h 10018"/>
                <a:gd name="connsiteX24" fmla="*/ 1961 w 10000"/>
                <a:gd name="connsiteY24" fmla="*/ 729 h 10018"/>
                <a:gd name="connsiteX25" fmla="*/ 1961 w 10000"/>
                <a:gd name="connsiteY25" fmla="*/ 2263 h 10018"/>
                <a:gd name="connsiteX26" fmla="*/ 1285 w 10000"/>
                <a:gd name="connsiteY26" fmla="*/ 2263 h 10018"/>
                <a:gd name="connsiteX27" fmla="*/ 1285 w 10000"/>
                <a:gd name="connsiteY27" fmla="*/ 2556 h 10018"/>
                <a:gd name="connsiteX28" fmla="*/ 1285 w 10000"/>
                <a:gd name="connsiteY28" fmla="*/ 5179 h 10018"/>
                <a:gd name="connsiteX29" fmla="*/ 1135 w 10000"/>
                <a:gd name="connsiteY29" fmla="*/ 5327 h 10018"/>
                <a:gd name="connsiteX30" fmla="*/ 684 w 10000"/>
                <a:gd name="connsiteY30" fmla="*/ 5621 h 10018"/>
                <a:gd name="connsiteX31" fmla="*/ 609 w 10000"/>
                <a:gd name="connsiteY31" fmla="*/ 5986 h 10018"/>
                <a:gd name="connsiteX32" fmla="*/ 384 w 10000"/>
                <a:gd name="connsiteY32" fmla="*/ 6351 h 10018"/>
                <a:gd name="connsiteX33" fmla="*/ 234 w 10000"/>
                <a:gd name="connsiteY33" fmla="*/ 6935 h 10018"/>
                <a:gd name="connsiteX34" fmla="*/ 8 w 10000"/>
                <a:gd name="connsiteY34" fmla="*/ 7593 h 10018"/>
                <a:gd name="connsiteX35" fmla="*/ 384 w 10000"/>
                <a:gd name="connsiteY35" fmla="*/ 7664 h 10018"/>
                <a:gd name="connsiteX36" fmla="*/ 458 w 10000"/>
                <a:gd name="connsiteY36" fmla="*/ 8245 h 10018"/>
                <a:gd name="connsiteX37" fmla="*/ 684 w 10000"/>
                <a:gd name="connsiteY37" fmla="*/ 8831 h 10018"/>
                <a:gd name="connsiteX38" fmla="*/ 1059 w 10000"/>
                <a:gd name="connsiteY38" fmla="*/ 10000 h 10018"/>
                <a:gd name="connsiteX39" fmla="*/ 2509 w 10000"/>
                <a:gd name="connsiteY39" fmla="*/ 9601 h 10018"/>
                <a:gd name="connsiteX40" fmla="*/ 2893 w 10000"/>
                <a:gd name="connsiteY40" fmla="*/ 9508 h 10018"/>
                <a:gd name="connsiteX41" fmla="*/ 3757 w 10000"/>
                <a:gd name="connsiteY41" fmla="*/ 9508 h 10018"/>
                <a:gd name="connsiteX42" fmla="*/ 3863 w 10000"/>
                <a:gd name="connsiteY42" fmla="*/ 9778 h 10018"/>
                <a:gd name="connsiteX43" fmla="*/ 4219 w 10000"/>
                <a:gd name="connsiteY43" fmla="*/ 9620 h 10018"/>
                <a:gd name="connsiteX44" fmla="*/ 4373 w 10000"/>
                <a:gd name="connsiteY44" fmla="*/ 9293 h 10018"/>
                <a:gd name="connsiteX45" fmla="*/ 5064 w 10000"/>
                <a:gd name="connsiteY45" fmla="*/ 9311 h 10018"/>
                <a:gd name="connsiteX46" fmla="*/ 5457 w 10000"/>
                <a:gd name="connsiteY46" fmla="*/ 8984 h 10018"/>
                <a:gd name="connsiteX47" fmla="*/ 5884 w 10000"/>
                <a:gd name="connsiteY47" fmla="*/ 8740 h 10018"/>
                <a:gd name="connsiteX48" fmla="*/ 6040 w 10000"/>
                <a:gd name="connsiteY48" fmla="*/ 8368 h 10018"/>
                <a:gd name="connsiteX49" fmla="*/ 6382 w 10000"/>
                <a:gd name="connsiteY49" fmla="*/ 7982 h 10018"/>
                <a:gd name="connsiteX50" fmla="*/ 6428 w 10000"/>
                <a:gd name="connsiteY50" fmla="*/ 8181 h 10018"/>
                <a:gd name="connsiteX51" fmla="*/ 6444 w 10000"/>
                <a:gd name="connsiteY51" fmla="*/ 8428 h 10018"/>
                <a:gd name="connsiteX52" fmla="*/ 6766 w 10000"/>
                <a:gd name="connsiteY52" fmla="*/ 9268 h 10018"/>
                <a:gd name="connsiteX0" fmla="*/ 7446 w 10000"/>
                <a:gd name="connsiteY0" fmla="*/ 9488 h 10018"/>
                <a:gd name="connsiteX1" fmla="*/ 7446 w 10000"/>
                <a:gd name="connsiteY1" fmla="*/ 8978 h 10018"/>
                <a:gd name="connsiteX2" fmla="*/ 7821 w 10000"/>
                <a:gd name="connsiteY2" fmla="*/ 8978 h 10018"/>
                <a:gd name="connsiteX3" fmla="*/ 8047 w 10000"/>
                <a:gd name="connsiteY3" fmla="*/ 8029 h 10018"/>
                <a:gd name="connsiteX4" fmla="*/ 8648 w 10000"/>
                <a:gd name="connsiteY4" fmla="*/ 7444 h 10018"/>
                <a:gd name="connsiteX5" fmla="*/ 8873 w 10000"/>
                <a:gd name="connsiteY5" fmla="*/ 6351 h 10018"/>
                <a:gd name="connsiteX6" fmla="*/ 8722 w 10000"/>
                <a:gd name="connsiteY6" fmla="*/ 5768 h 10018"/>
                <a:gd name="connsiteX7" fmla="*/ 9098 w 10000"/>
                <a:gd name="connsiteY7" fmla="*/ 4525 h 10018"/>
                <a:gd name="connsiteX8" fmla="*/ 9399 w 10000"/>
                <a:gd name="connsiteY8" fmla="*/ 4160 h 10018"/>
                <a:gd name="connsiteX9" fmla="*/ 10000 w 10000"/>
                <a:gd name="connsiteY9" fmla="*/ 3576 h 10018"/>
                <a:gd name="connsiteX10" fmla="*/ 9774 w 10000"/>
                <a:gd name="connsiteY10" fmla="*/ 3502 h 10018"/>
                <a:gd name="connsiteX11" fmla="*/ 9399 w 10000"/>
                <a:gd name="connsiteY11" fmla="*/ 3140 h 10018"/>
                <a:gd name="connsiteX12" fmla="*/ 9173 w 10000"/>
                <a:gd name="connsiteY12" fmla="*/ 2044 h 10018"/>
                <a:gd name="connsiteX13" fmla="*/ 9173 w 10000"/>
                <a:gd name="connsiteY13" fmla="*/ 1460 h 10018"/>
                <a:gd name="connsiteX14" fmla="*/ 9098 w 10000"/>
                <a:gd name="connsiteY14" fmla="*/ 729 h 10018"/>
                <a:gd name="connsiteX15" fmla="*/ 8873 w 10000"/>
                <a:gd name="connsiteY15" fmla="*/ 511 h 10018"/>
                <a:gd name="connsiteX16" fmla="*/ 8497 w 10000"/>
                <a:gd name="connsiteY16" fmla="*/ 219 h 10018"/>
                <a:gd name="connsiteX17" fmla="*/ 8272 w 10000"/>
                <a:gd name="connsiteY17" fmla="*/ 0 h 10018"/>
                <a:gd name="connsiteX18" fmla="*/ 7821 w 10000"/>
                <a:gd name="connsiteY18" fmla="*/ 293 h 10018"/>
                <a:gd name="connsiteX19" fmla="*/ 7370 w 10000"/>
                <a:gd name="connsiteY19" fmla="*/ 729 h 10018"/>
                <a:gd name="connsiteX20" fmla="*/ 6769 w 10000"/>
                <a:gd name="connsiteY20" fmla="*/ 729 h 10018"/>
                <a:gd name="connsiteX21" fmla="*/ 5717 w 10000"/>
                <a:gd name="connsiteY21" fmla="*/ 729 h 10018"/>
                <a:gd name="connsiteX22" fmla="*/ 5717 w 10000"/>
                <a:gd name="connsiteY22" fmla="*/ 658 h 10018"/>
                <a:gd name="connsiteX23" fmla="*/ 5643 w 10000"/>
                <a:gd name="connsiteY23" fmla="*/ 729 h 10018"/>
                <a:gd name="connsiteX24" fmla="*/ 1961 w 10000"/>
                <a:gd name="connsiteY24" fmla="*/ 729 h 10018"/>
                <a:gd name="connsiteX25" fmla="*/ 1961 w 10000"/>
                <a:gd name="connsiteY25" fmla="*/ 2263 h 10018"/>
                <a:gd name="connsiteX26" fmla="*/ 1285 w 10000"/>
                <a:gd name="connsiteY26" fmla="*/ 2263 h 10018"/>
                <a:gd name="connsiteX27" fmla="*/ 1285 w 10000"/>
                <a:gd name="connsiteY27" fmla="*/ 2556 h 10018"/>
                <a:gd name="connsiteX28" fmla="*/ 1285 w 10000"/>
                <a:gd name="connsiteY28" fmla="*/ 5179 h 10018"/>
                <a:gd name="connsiteX29" fmla="*/ 1135 w 10000"/>
                <a:gd name="connsiteY29" fmla="*/ 5327 h 10018"/>
                <a:gd name="connsiteX30" fmla="*/ 684 w 10000"/>
                <a:gd name="connsiteY30" fmla="*/ 5621 h 10018"/>
                <a:gd name="connsiteX31" fmla="*/ 609 w 10000"/>
                <a:gd name="connsiteY31" fmla="*/ 5986 h 10018"/>
                <a:gd name="connsiteX32" fmla="*/ 384 w 10000"/>
                <a:gd name="connsiteY32" fmla="*/ 6351 h 10018"/>
                <a:gd name="connsiteX33" fmla="*/ 234 w 10000"/>
                <a:gd name="connsiteY33" fmla="*/ 6935 h 10018"/>
                <a:gd name="connsiteX34" fmla="*/ 8 w 10000"/>
                <a:gd name="connsiteY34" fmla="*/ 7593 h 10018"/>
                <a:gd name="connsiteX35" fmla="*/ 384 w 10000"/>
                <a:gd name="connsiteY35" fmla="*/ 7664 h 10018"/>
                <a:gd name="connsiteX36" fmla="*/ 458 w 10000"/>
                <a:gd name="connsiteY36" fmla="*/ 8245 h 10018"/>
                <a:gd name="connsiteX37" fmla="*/ 684 w 10000"/>
                <a:gd name="connsiteY37" fmla="*/ 8831 h 10018"/>
                <a:gd name="connsiteX38" fmla="*/ 1059 w 10000"/>
                <a:gd name="connsiteY38" fmla="*/ 10000 h 10018"/>
                <a:gd name="connsiteX39" fmla="*/ 2509 w 10000"/>
                <a:gd name="connsiteY39" fmla="*/ 9601 h 10018"/>
                <a:gd name="connsiteX40" fmla="*/ 2538 w 10000"/>
                <a:gd name="connsiteY40" fmla="*/ 9601 h 10018"/>
                <a:gd name="connsiteX41" fmla="*/ 2893 w 10000"/>
                <a:gd name="connsiteY41" fmla="*/ 9508 h 10018"/>
                <a:gd name="connsiteX42" fmla="*/ 3757 w 10000"/>
                <a:gd name="connsiteY42" fmla="*/ 9508 h 10018"/>
                <a:gd name="connsiteX43" fmla="*/ 3863 w 10000"/>
                <a:gd name="connsiteY43" fmla="*/ 9778 h 10018"/>
                <a:gd name="connsiteX44" fmla="*/ 4219 w 10000"/>
                <a:gd name="connsiteY44" fmla="*/ 9620 h 10018"/>
                <a:gd name="connsiteX45" fmla="*/ 4373 w 10000"/>
                <a:gd name="connsiteY45" fmla="*/ 9293 h 10018"/>
                <a:gd name="connsiteX46" fmla="*/ 5064 w 10000"/>
                <a:gd name="connsiteY46" fmla="*/ 9311 h 10018"/>
                <a:gd name="connsiteX47" fmla="*/ 5457 w 10000"/>
                <a:gd name="connsiteY47" fmla="*/ 8984 h 10018"/>
                <a:gd name="connsiteX48" fmla="*/ 5884 w 10000"/>
                <a:gd name="connsiteY48" fmla="*/ 8740 h 10018"/>
                <a:gd name="connsiteX49" fmla="*/ 6040 w 10000"/>
                <a:gd name="connsiteY49" fmla="*/ 8368 h 10018"/>
                <a:gd name="connsiteX50" fmla="*/ 6382 w 10000"/>
                <a:gd name="connsiteY50" fmla="*/ 7982 h 10018"/>
                <a:gd name="connsiteX51" fmla="*/ 6428 w 10000"/>
                <a:gd name="connsiteY51" fmla="*/ 8181 h 10018"/>
                <a:gd name="connsiteX52" fmla="*/ 6444 w 10000"/>
                <a:gd name="connsiteY52" fmla="*/ 8428 h 10018"/>
                <a:gd name="connsiteX53" fmla="*/ 6766 w 10000"/>
                <a:gd name="connsiteY53" fmla="*/ 9268 h 10018"/>
                <a:gd name="connsiteX0" fmla="*/ 7446 w 10000"/>
                <a:gd name="connsiteY0" fmla="*/ 9488 h 10018"/>
                <a:gd name="connsiteX1" fmla="*/ 7446 w 10000"/>
                <a:gd name="connsiteY1" fmla="*/ 8978 h 10018"/>
                <a:gd name="connsiteX2" fmla="*/ 7821 w 10000"/>
                <a:gd name="connsiteY2" fmla="*/ 8978 h 10018"/>
                <a:gd name="connsiteX3" fmla="*/ 8047 w 10000"/>
                <a:gd name="connsiteY3" fmla="*/ 8029 h 10018"/>
                <a:gd name="connsiteX4" fmla="*/ 8648 w 10000"/>
                <a:gd name="connsiteY4" fmla="*/ 7444 h 10018"/>
                <a:gd name="connsiteX5" fmla="*/ 8873 w 10000"/>
                <a:gd name="connsiteY5" fmla="*/ 6351 h 10018"/>
                <a:gd name="connsiteX6" fmla="*/ 8722 w 10000"/>
                <a:gd name="connsiteY6" fmla="*/ 5768 h 10018"/>
                <a:gd name="connsiteX7" fmla="*/ 9098 w 10000"/>
                <a:gd name="connsiteY7" fmla="*/ 4525 h 10018"/>
                <a:gd name="connsiteX8" fmla="*/ 9399 w 10000"/>
                <a:gd name="connsiteY8" fmla="*/ 4160 h 10018"/>
                <a:gd name="connsiteX9" fmla="*/ 10000 w 10000"/>
                <a:gd name="connsiteY9" fmla="*/ 3576 h 10018"/>
                <a:gd name="connsiteX10" fmla="*/ 9774 w 10000"/>
                <a:gd name="connsiteY10" fmla="*/ 3502 h 10018"/>
                <a:gd name="connsiteX11" fmla="*/ 9399 w 10000"/>
                <a:gd name="connsiteY11" fmla="*/ 3140 h 10018"/>
                <a:gd name="connsiteX12" fmla="*/ 9173 w 10000"/>
                <a:gd name="connsiteY12" fmla="*/ 2044 h 10018"/>
                <a:gd name="connsiteX13" fmla="*/ 9173 w 10000"/>
                <a:gd name="connsiteY13" fmla="*/ 1460 h 10018"/>
                <a:gd name="connsiteX14" fmla="*/ 9098 w 10000"/>
                <a:gd name="connsiteY14" fmla="*/ 729 h 10018"/>
                <a:gd name="connsiteX15" fmla="*/ 8873 w 10000"/>
                <a:gd name="connsiteY15" fmla="*/ 511 h 10018"/>
                <a:gd name="connsiteX16" fmla="*/ 8497 w 10000"/>
                <a:gd name="connsiteY16" fmla="*/ 219 h 10018"/>
                <a:gd name="connsiteX17" fmla="*/ 8272 w 10000"/>
                <a:gd name="connsiteY17" fmla="*/ 0 h 10018"/>
                <a:gd name="connsiteX18" fmla="*/ 7821 w 10000"/>
                <a:gd name="connsiteY18" fmla="*/ 293 h 10018"/>
                <a:gd name="connsiteX19" fmla="*/ 7370 w 10000"/>
                <a:gd name="connsiteY19" fmla="*/ 729 h 10018"/>
                <a:gd name="connsiteX20" fmla="*/ 6769 w 10000"/>
                <a:gd name="connsiteY20" fmla="*/ 729 h 10018"/>
                <a:gd name="connsiteX21" fmla="*/ 5717 w 10000"/>
                <a:gd name="connsiteY21" fmla="*/ 729 h 10018"/>
                <a:gd name="connsiteX22" fmla="*/ 5717 w 10000"/>
                <a:gd name="connsiteY22" fmla="*/ 658 h 10018"/>
                <a:gd name="connsiteX23" fmla="*/ 5643 w 10000"/>
                <a:gd name="connsiteY23" fmla="*/ 729 h 10018"/>
                <a:gd name="connsiteX24" fmla="*/ 1961 w 10000"/>
                <a:gd name="connsiteY24" fmla="*/ 729 h 10018"/>
                <a:gd name="connsiteX25" fmla="*/ 1961 w 10000"/>
                <a:gd name="connsiteY25" fmla="*/ 2263 h 10018"/>
                <a:gd name="connsiteX26" fmla="*/ 1285 w 10000"/>
                <a:gd name="connsiteY26" fmla="*/ 2263 h 10018"/>
                <a:gd name="connsiteX27" fmla="*/ 1285 w 10000"/>
                <a:gd name="connsiteY27" fmla="*/ 2556 h 10018"/>
                <a:gd name="connsiteX28" fmla="*/ 1285 w 10000"/>
                <a:gd name="connsiteY28" fmla="*/ 5179 h 10018"/>
                <a:gd name="connsiteX29" fmla="*/ 1135 w 10000"/>
                <a:gd name="connsiteY29" fmla="*/ 5327 h 10018"/>
                <a:gd name="connsiteX30" fmla="*/ 684 w 10000"/>
                <a:gd name="connsiteY30" fmla="*/ 5621 h 10018"/>
                <a:gd name="connsiteX31" fmla="*/ 609 w 10000"/>
                <a:gd name="connsiteY31" fmla="*/ 5986 h 10018"/>
                <a:gd name="connsiteX32" fmla="*/ 384 w 10000"/>
                <a:gd name="connsiteY32" fmla="*/ 6351 h 10018"/>
                <a:gd name="connsiteX33" fmla="*/ 234 w 10000"/>
                <a:gd name="connsiteY33" fmla="*/ 6935 h 10018"/>
                <a:gd name="connsiteX34" fmla="*/ 8 w 10000"/>
                <a:gd name="connsiteY34" fmla="*/ 7593 h 10018"/>
                <a:gd name="connsiteX35" fmla="*/ 384 w 10000"/>
                <a:gd name="connsiteY35" fmla="*/ 7664 h 10018"/>
                <a:gd name="connsiteX36" fmla="*/ 458 w 10000"/>
                <a:gd name="connsiteY36" fmla="*/ 8245 h 10018"/>
                <a:gd name="connsiteX37" fmla="*/ 684 w 10000"/>
                <a:gd name="connsiteY37" fmla="*/ 8831 h 10018"/>
                <a:gd name="connsiteX38" fmla="*/ 1059 w 10000"/>
                <a:gd name="connsiteY38" fmla="*/ 10000 h 10018"/>
                <a:gd name="connsiteX39" fmla="*/ 2509 w 10000"/>
                <a:gd name="connsiteY39" fmla="*/ 9601 h 10018"/>
                <a:gd name="connsiteX40" fmla="*/ 2500 w 10000"/>
                <a:gd name="connsiteY40" fmla="*/ 9227 h 10018"/>
                <a:gd name="connsiteX41" fmla="*/ 2893 w 10000"/>
                <a:gd name="connsiteY41" fmla="*/ 9508 h 10018"/>
                <a:gd name="connsiteX42" fmla="*/ 3757 w 10000"/>
                <a:gd name="connsiteY42" fmla="*/ 9508 h 10018"/>
                <a:gd name="connsiteX43" fmla="*/ 3863 w 10000"/>
                <a:gd name="connsiteY43" fmla="*/ 9778 h 10018"/>
                <a:gd name="connsiteX44" fmla="*/ 4219 w 10000"/>
                <a:gd name="connsiteY44" fmla="*/ 9620 h 10018"/>
                <a:gd name="connsiteX45" fmla="*/ 4373 w 10000"/>
                <a:gd name="connsiteY45" fmla="*/ 9293 h 10018"/>
                <a:gd name="connsiteX46" fmla="*/ 5064 w 10000"/>
                <a:gd name="connsiteY46" fmla="*/ 9311 h 10018"/>
                <a:gd name="connsiteX47" fmla="*/ 5457 w 10000"/>
                <a:gd name="connsiteY47" fmla="*/ 8984 h 10018"/>
                <a:gd name="connsiteX48" fmla="*/ 5884 w 10000"/>
                <a:gd name="connsiteY48" fmla="*/ 8740 h 10018"/>
                <a:gd name="connsiteX49" fmla="*/ 6040 w 10000"/>
                <a:gd name="connsiteY49" fmla="*/ 8368 h 10018"/>
                <a:gd name="connsiteX50" fmla="*/ 6382 w 10000"/>
                <a:gd name="connsiteY50" fmla="*/ 7982 h 10018"/>
                <a:gd name="connsiteX51" fmla="*/ 6428 w 10000"/>
                <a:gd name="connsiteY51" fmla="*/ 8181 h 10018"/>
                <a:gd name="connsiteX52" fmla="*/ 6444 w 10000"/>
                <a:gd name="connsiteY52" fmla="*/ 8428 h 10018"/>
                <a:gd name="connsiteX53" fmla="*/ 6766 w 10000"/>
                <a:gd name="connsiteY53" fmla="*/ 9268 h 10018"/>
                <a:gd name="connsiteX0" fmla="*/ 7446 w 10000"/>
                <a:gd name="connsiteY0" fmla="*/ 9488 h 10018"/>
                <a:gd name="connsiteX1" fmla="*/ 7446 w 10000"/>
                <a:gd name="connsiteY1" fmla="*/ 8978 h 10018"/>
                <a:gd name="connsiteX2" fmla="*/ 7821 w 10000"/>
                <a:gd name="connsiteY2" fmla="*/ 8978 h 10018"/>
                <a:gd name="connsiteX3" fmla="*/ 8047 w 10000"/>
                <a:gd name="connsiteY3" fmla="*/ 8029 h 10018"/>
                <a:gd name="connsiteX4" fmla="*/ 8648 w 10000"/>
                <a:gd name="connsiteY4" fmla="*/ 7444 h 10018"/>
                <a:gd name="connsiteX5" fmla="*/ 8873 w 10000"/>
                <a:gd name="connsiteY5" fmla="*/ 6351 h 10018"/>
                <a:gd name="connsiteX6" fmla="*/ 8722 w 10000"/>
                <a:gd name="connsiteY6" fmla="*/ 5768 h 10018"/>
                <a:gd name="connsiteX7" fmla="*/ 9098 w 10000"/>
                <a:gd name="connsiteY7" fmla="*/ 4525 h 10018"/>
                <a:gd name="connsiteX8" fmla="*/ 9399 w 10000"/>
                <a:gd name="connsiteY8" fmla="*/ 4160 h 10018"/>
                <a:gd name="connsiteX9" fmla="*/ 10000 w 10000"/>
                <a:gd name="connsiteY9" fmla="*/ 3576 h 10018"/>
                <a:gd name="connsiteX10" fmla="*/ 9774 w 10000"/>
                <a:gd name="connsiteY10" fmla="*/ 3502 h 10018"/>
                <a:gd name="connsiteX11" fmla="*/ 9399 w 10000"/>
                <a:gd name="connsiteY11" fmla="*/ 3140 h 10018"/>
                <a:gd name="connsiteX12" fmla="*/ 9173 w 10000"/>
                <a:gd name="connsiteY12" fmla="*/ 2044 h 10018"/>
                <a:gd name="connsiteX13" fmla="*/ 9173 w 10000"/>
                <a:gd name="connsiteY13" fmla="*/ 1460 h 10018"/>
                <a:gd name="connsiteX14" fmla="*/ 9098 w 10000"/>
                <a:gd name="connsiteY14" fmla="*/ 729 h 10018"/>
                <a:gd name="connsiteX15" fmla="*/ 8873 w 10000"/>
                <a:gd name="connsiteY15" fmla="*/ 511 h 10018"/>
                <a:gd name="connsiteX16" fmla="*/ 8497 w 10000"/>
                <a:gd name="connsiteY16" fmla="*/ 219 h 10018"/>
                <a:gd name="connsiteX17" fmla="*/ 8272 w 10000"/>
                <a:gd name="connsiteY17" fmla="*/ 0 h 10018"/>
                <a:gd name="connsiteX18" fmla="*/ 7821 w 10000"/>
                <a:gd name="connsiteY18" fmla="*/ 293 h 10018"/>
                <a:gd name="connsiteX19" fmla="*/ 7370 w 10000"/>
                <a:gd name="connsiteY19" fmla="*/ 729 h 10018"/>
                <a:gd name="connsiteX20" fmla="*/ 6769 w 10000"/>
                <a:gd name="connsiteY20" fmla="*/ 729 h 10018"/>
                <a:gd name="connsiteX21" fmla="*/ 5717 w 10000"/>
                <a:gd name="connsiteY21" fmla="*/ 729 h 10018"/>
                <a:gd name="connsiteX22" fmla="*/ 5717 w 10000"/>
                <a:gd name="connsiteY22" fmla="*/ 658 h 10018"/>
                <a:gd name="connsiteX23" fmla="*/ 5643 w 10000"/>
                <a:gd name="connsiteY23" fmla="*/ 729 h 10018"/>
                <a:gd name="connsiteX24" fmla="*/ 1961 w 10000"/>
                <a:gd name="connsiteY24" fmla="*/ 729 h 10018"/>
                <a:gd name="connsiteX25" fmla="*/ 1961 w 10000"/>
                <a:gd name="connsiteY25" fmla="*/ 2263 h 10018"/>
                <a:gd name="connsiteX26" fmla="*/ 1285 w 10000"/>
                <a:gd name="connsiteY26" fmla="*/ 2263 h 10018"/>
                <a:gd name="connsiteX27" fmla="*/ 1285 w 10000"/>
                <a:gd name="connsiteY27" fmla="*/ 2556 h 10018"/>
                <a:gd name="connsiteX28" fmla="*/ 1285 w 10000"/>
                <a:gd name="connsiteY28" fmla="*/ 5179 h 10018"/>
                <a:gd name="connsiteX29" fmla="*/ 1135 w 10000"/>
                <a:gd name="connsiteY29" fmla="*/ 5327 h 10018"/>
                <a:gd name="connsiteX30" fmla="*/ 684 w 10000"/>
                <a:gd name="connsiteY30" fmla="*/ 5621 h 10018"/>
                <a:gd name="connsiteX31" fmla="*/ 609 w 10000"/>
                <a:gd name="connsiteY31" fmla="*/ 5986 h 10018"/>
                <a:gd name="connsiteX32" fmla="*/ 384 w 10000"/>
                <a:gd name="connsiteY32" fmla="*/ 6351 h 10018"/>
                <a:gd name="connsiteX33" fmla="*/ 234 w 10000"/>
                <a:gd name="connsiteY33" fmla="*/ 6935 h 10018"/>
                <a:gd name="connsiteX34" fmla="*/ 8 w 10000"/>
                <a:gd name="connsiteY34" fmla="*/ 7593 h 10018"/>
                <a:gd name="connsiteX35" fmla="*/ 384 w 10000"/>
                <a:gd name="connsiteY35" fmla="*/ 7664 h 10018"/>
                <a:gd name="connsiteX36" fmla="*/ 458 w 10000"/>
                <a:gd name="connsiteY36" fmla="*/ 8245 h 10018"/>
                <a:gd name="connsiteX37" fmla="*/ 684 w 10000"/>
                <a:gd name="connsiteY37" fmla="*/ 8831 h 10018"/>
                <a:gd name="connsiteX38" fmla="*/ 1059 w 10000"/>
                <a:gd name="connsiteY38" fmla="*/ 10000 h 10018"/>
                <a:gd name="connsiteX39" fmla="*/ 2509 w 10000"/>
                <a:gd name="connsiteY39" fmla="*/ 9601 h 10018"/>
                <a:gd name="connsiteX40" fmla="*/ 2740 w 10000"/>
                <a:gd name="connsiteY40" fmla="*/ 9610 h 10018"/>
                <a:gd name="connsiteX41" fmla="*/ 2893 w 10000"/>
                <a:gd name="connsiteY41" fmla="*/ 9508 h 10018"/>
                <a:gd name="connsiteX42" fmla="*/ 3757 w 10000"/>
                <a:gd name="connsiteY42" fmla="*/ 9508 h 10018"/>
                <a:gd name="connsiteX43" fmla="*/ 3863 w 10000"/>
                <a:gd name="connsiteY43" fmla="*/ 9778 h 10018"/>
                <a:gd name="connsiteX44" fmla="*/ 4219 w 10000"/>
                <a:gd name="connsiteY44" fmla="*/ 9620 h 10018"/>
                <a:gd name="connsiteX45" fmla="*/ 4373 w 10000"/>
                <a:gd name="connsiteY45" fmla="*/ 9293 h 10018"/>
                <a:gd name="connsiteX46" fmla="*/ 5064 w 10000"/>
                <a:gd name="connsiteY46" fmla="*/ 9311 h 10018"/>
                <a:gd name="connsiteX47" fmla="*/ 5457 w 10000"/>
                <a:gd name="connsiteY47" fmla="*/ 8984 h 10018"/>
                <a:gd name="connsiteX48" fmla="*/ 5884 w 10000"/>
                <a:gd name="connsiteY48" fmla="*/ 8740 h 10018"/>
                <a:gd name="connsiteX49" fmla="*/ 6040 w 10000"/>
                <a:gd name="connsiteY49" fmla="*/ 8368 h 10018"/>
                <a:gd name="connsiteX50" fmla="*/ 6382 w 10000"/>
                <a:gd name="connsiteY50" fmla="*/ 7982 h 10018"/>
                <a:gd name="connsiteX51" fmla="*/ 6428 w 10000"/>
                <a:gd name="connsiteY51" fmla="*/ 8181 h 10018"/>
                <a:gd name="connsiteX52" fmla="*/ 6444 w 10000"/>
                <a:gd name="connsiteY52" fmla="*/ 8428 h 10018"/>
                <a:gd name="connsiteX53" fmla="*/ 6766 w 10000"/>
                <a:gd name="connsiteY53" fmla="*/ 9268 h 10018"/>
                <a:gd name="connsiteX0" fmla="*/ 7446 w 10000"/>
                <a:gd name="connsiteY0" fmla="*/ 9488 h 10018"/>
                <a:gd name="connsiteX1" fmla="*/ 7446 w 10000"/>
                <a:gd name="connsiteY1" fmla="*/ 8978 h 10018"/>
                <a:gd name="connsiteX2" fmla="*/ 7821 w 10000"/>
                <a:gd name="connsiteY2" fmla="*/ 8978 h 10018"/>
                <a:gd name="connsiteX3" fmla="*/ 8047 w 10000"/>
                <a:gd name="connsiteY3" fmla="*/ 8029 h 10018"/>
                <a:gd name="connsiteX4" fmla="*/ 8648 w 10000"/>
                <a:gd name="connsiteY4" fmla="*/ 7444 h 10018"/>
                <a:gd name="connsiteX5" fmla="*/ 8873 w 10000"/>
                <a:gd name="connsiteY5" fmla="*/ 6351 h 10018"/>
                <a:gd name="connsiteX6" fmla="*/ 8722 w 10000"/>
                <a:gd name="connsiteY6" fmla="*/ 5768 h 10018"/>
                <a:gd name="connsiteX7" fmla="*/ 9098 w 10000"/>
                <a:gd name="connsiteY7" fmla="*/ 4525 h 10018"/>
                <a:gd name="connsiteX8" fmla="*/ 9399 w 10000"/>
                <a:gd name="connsiteY8" fmla="*/ 4160 h 10018"/>
                <a:gd name="connsiteX9" fmla="*/ 10000 w 10000"/>
                <a:gd name="connsiteY9" fmla="*/ 3576 h 10018"/>
                <a:gd name="connsiteX10" fmla="*/ 9774 w 10000"/>
                <a:gd name="connsiteY10" fmla="*/ 3502 h 10018"/>
                <a:gd name="connsiteX11" fmla="*/ 9399 w 10000"/>
                <a:gd name="connsiteY11" fmla="*/ 3140 h 10018"/>
                <a:gd name="connsiteX12" fmla="*/ 9173 w 10000"/>
                <a:gd name="connsiteY12" fmla="*/ 2044 h 10018"/>
                <a:gd name="connsiteX13" fmla="*/ 9173 w 10000"/>
                <a:gd name="connsiteY13" fmla="*/ 1460 h 10018"/>
                <a:gd name="connsiteX14" fmla="*/ 9098 w 10000"/>
                <a:gd name="connsiteY14" fmla="*/ 729 h 10018"/>
                <a:gd name="connsiteX15" fmla="*/ 8873 w 10000"/>
                <a:gd name="connsiteY15" fmla="*/ 511 h 10018"/>
                <a:gd name="connsiteX16" fmla="*/ 8497 w 10000"/>
                <a:gd name="connsiteY16" fmla="*/ 219 h 10018"/>
                <a:gd name="connsiteX17" fmla="*/ 8272 w 10000"/>
                <a:gd name="connsiteY17" fmla="*/ 0 h 10018"/>
                <a:gd name="connsiteX18" fmla="*/ 7821 w 10000"/>
                <a:gd name="connsiteY18" fmla="*/ 293 h 10018"/>
                <a:gd name="connsiteX19" fmla="*/ 7370 w 10000"/>
                <a:gd name="connsiteY19" fmla="*/ 729 h 10018"/>
                <a:gd name="connsiteX20" fmla="*/ 6769 w 10000"/>
                <a:gd name="connsiteY20" fmla="*/ 729 h 10018"/>
                <a:gd name="connsiteX21" fmla="*/ 5717 w 10000"/>
                <a:gd name="connsiteY21" fmla="*/ 729 h 10018"/>
                <a:gd name="connsiteX22" fmla="*/ 5717 w 10000"/>
                <a:gd name="connsiteY22" fmla="*/ 658 h 10018"/>
                <a:gd name="connsiteX23" fmla="*/ 5643 w 10000"/>
                <a:gd name="connsiteY23" fmla="*/ 729 h 10018"/>
                <a:gd name="connsiteX24" fmla="*/ 1961 w 10000"/>
                <a:gd name="connsiteY24" fmla="*/ 729 h 10018"/>
                <a:gd name="connsiteX25" fmla="*/ 1961 w 10000"/>
                <a:gd name="connsiteY25" fmla="*/ 2263 h 10018"/>
                <a:gd name="connsiteX26" fmla="*/ 1285 w 10000"/>
                <a:gd name="connsiteY26" fmla="*/ 2263 h 10018"/>
                <a:gd name="connsiteX27" fmla="*/ 1285 w 10000"/>
                <a:gd name="connsiteY27" fmla="*/ 2556 h 10018"/>
                <a:gd name="connsiteX28" fmla="*/ 1285 w 10000"/>
                <a:gd name="connsiteY28" fmla="*/ 5179 h 10018"/>
                <a:gd name="connsiteX29" fmla="*/ 1135 w 10000"/>
                <a:gd name="connsiteY29" fmla="*/ 5327 h 10018"/>
                <a:gd name="connsiteX30" fmla="*/ 684 w 10000"/>
                <a:gd name="connsiteY30" fmla="*/ 5621 h 10018"/>
                <a:gd name="connsiteX31" fmla="*/ 609 w 10000"/>
                <a:gd name="connsiteY31" fmla="*/ 5986 h 10018"/>
                <a:gd name="connsiteX32" fmla="*/ 384 w 10000"/>
                <a:gd name="connsiteY32" fmla="*/ 6351 h 10018"/>
                <a:gd name="connsiteX33" fmla="*/ 234 w 10000"/>
                <a:gd name="connsiteY33" fmla="*/ 6935 h 10018"/>
                <a:gd name="connsiteX34" fmla="*/ 8 w 10000"/>
                <a:gd name="connsiteY34" fmla="*/ 7593 h 10018"/>
                <a:gd name="connsiteX35" fmla="*/ 384 w 10000"/>
                <a:gd name="connsiteY35" fmla="*/ 7664 h 10018"/>
                <a:gd name="connsiteX36" fmla="*/ 458 w 10000"/>
                <a:gd name="connsiteY36" fmla="*/ 8245 h 10018"/>
                <a:gd name="connsiteX37" fmla="*/ 684 w 10000"/>
                <a:gd name="connsiteY37" fmla="*/ 8831 h 10018"/>
                <a:gd name="connsiteX38" fmla="*/ 1059 w 10000"/>
                <a:gd name="connsiteY38" fmla="*/ 10000 h 10018"/>
                <a:gd name="connsiteX39" fmla="*/ 2509 w 10000"/>
                <a:gd name="connsiteY39" fmla="*/ 9601 h 10018"/>
                <a:gd name="connsiteX40" fmla="*/ 2740 w 10000"/>
                <a:gd name="connsiteY40" fmla="*/ 9610 h 10018"/>
                <a:gd name="connsiteX41" fmla="*/ 2979 w 10000"/>
                <a:gd name="connsiteY41" fmla="*/ 9527 h 10018"/>
                <a:gd name="connsiteX42" fmla="*/ 3757 w 10000"/>
                <a:gd name="connsiteY42" fmla="*/ 9508 h 10018"/>
                <a:gd name="connsiteX43" fmla="*/ 3863 w 10000"/>
                <a:gd name="connsiteY43" fmla="*/ 9778 h 10018"/>
                <a:gd name="connsiteX44" fmla="*/ 4219 w 10000"/>
                <a:gd name="connsiteY44" fmla="*/ 9620 h 10018"/>
                <a:gd name="connsiteX45" fmla="*/ 4373 w 10000"/>
                <a:gd name="connsiteY45" fmla="*/ 9293 h 10018"/>
                <a:gd name="connsiteX46" fmla="*/ 5064 w 10000"/>
                <a:gd name="connsiteY46" fmla="*/ 9311 h 10018"/>
                <a:gd name="connsiteX47" fmla="*/ 5457 w 10000"/>
                <a:gd name="connsiteY47" fmla="*/ 8984 h 10018"/>
                <a:gd name="connsiteX48" fmla="*/ 5884 w 10000"/>
                <a:gd name="connsiteY48" fmla="*/ 8740 h 10018"/>
                <a:gd name="connsiteX49" fmla="*/ 6040 w 10000"/>
                <a:gd name="connsiteY49" fmla="*/ 8368 h 10018"/>
                <a:gd name="connsiteX50" fmla="*/ 6382 w 10000"/>
                <a:gd name="connsiteY50" fmla="*/ 7982 h 10018"/>
                <a:gd name="connsiteX51" fmla="*/ 6428 w 10000"/>
                <a:gd name="connsiteY51" fmla="*/ 8181 h 10018"/>
                <a:gd name="connsiteX52" fmla="*/ 6444 w 10000"/>
                <a:gd name="connsiteY52" fmla="*/ 8428 h 10018"/>
                <a:gd name="connsiteX53" fmla="*/ 6766 w 10000"/>
                <a:gd name="connsiteY53" fmla="*/ 9268 h 10018"/>
                <a:gd name="connsiteX0" fmla="*/ 7446 w 10000"/>
                <a:gd name="connsiteY0" fmla="*/ 9488 h 10018"/>
                <a:gd name="connsiteX1" fmla="*/ 7446 w 10000"/>
                <a:gd name="connsiteY1" fmla="*/ 8978 h 10018"/>
                <a:gd name="connsiteX2" fmla="*/ 7821 w 10000"/>
                <a:gd name="connsiteY2" fmla="*/ 8978 h 10018"/>
                <a:gd name="connsiteX3" fmla="*/ 8047 w 10000"/>
                <a:gd name="connsiteY3" fmla="*/ 8029 h 10018"/>
                <a:gd name="connsiteX4" fmla="*/ 8648 w 10000"/>
                <a:gd name="connsiteY4" fmla="*/ 7444 h 10018"/>
                <a:gd name="connsiteX5" fmla="*/ 8873 w 10000"/>
                <a:gd name="connsiteY5" fmla="*/ 6351 h 10018"/>
                <a:gd name="connsiteX6" fmla="*/ 8722 w 10000"/>
                <a:gd name="connsiteY6" fmla="*/ 5768 h 10018"/>
                <a:gd name="connsiteX7" fmla="*/ 9098 w 10000"/>
                <a:gd name="connsiteY7" fmla="*/ 4525 h 10018"/>
                <a:gd name="connsiteX8" fmla="*/ 9399 w 10000"/>
                <a:gd name="connsiteY8" fmla="*/ 4160 h 10018"/>
                <a:gd name="connsiteX9" fmla="*/ 10000 w 10000"/>
                <a:gd name="connsiteY9" fmla="*/ 3576 h 10018"/>
                <a:gd name="connsiteX10" fmla="*/ 9774 w 10000"/>
                <a:gd name="connsiteY10" fmla="*/ 3502 h 10018"/>
                <a:gd name="connsiteX11" fmla="*/ 9399 w 10000"/>
                <a:gd name="connsiteY11" fmla="*/ 3140 h 10018"/>
                <a:gd name="connsiteX12" fmla="*/ 9173 w 10000"/>
                <a:gd name="connsiteY12" fmla="*/ 2044 h 10018"/>
                <a:gd name="connsiteX13" fmla="*/ 9173 w 10000"/>
                <a:gd name="connsiteY13" fmla="*/ 1460 h 10018"/>
                <a:gd name="connsiteX14" fmla="*/ 9098 w 10000"/>
                <a:gd name="connsiteY14" fmla="*/ 729 h 10018"/>
                <a:gd name="connsiteX15" fmla="*/ 8873 w 10000"/>
                <a:gd name="connsiteY15" fmla="*/ 511 h 10018"/>
                <a:gd name="connsiteX16" fmla="*/ 8497 w 10000"/>
                <a:gd name="connsiteY16" fmla="*/ 219 h 10018"/>
                <a:gd name="connsiteX17" fmla="*/ 8272 w 10000"/>
                <a:gd name="connsiteY17" fmla="*/ 0 h 10018"/>
                <a:gd name="connsiteX18" fmla="*/ 7821 w 10000"/>
                <a:gd name="connsiteY18" fmla="*/ 293 h 10018"/>
                <a:gd name="connsiteX19" fmla="*/ 7370 w 10000"/>
                <a:gd name="connsiteY19" fmla="*/ 729 h 10018"/>
                <a:gd name="connsiteX20" fmla="*/ 6769 w 10000"/>
                <a:gd name="connsiteY20" fmla="*/ 729 h 10018"/>
                <a:gd name="connsiteX21" fmla="*/ 5717 w 10000"/>
                <a:gd name="connsiteY21" fmla="*/ 729 h 10018"/>
                <a:gd name="connsiteX22" fmla="*/ 5717 w 10000"/>
                <a:gd name="connsiteY22" fmla="*/ 658 h 10018"/>
                <a:gd name="connsiteX23" fmla="*/ 5643 w 10000"/>
                <a:gd name="connsiteY23" fmla="*/ 729 h 10018"/>
                <a:gd name="connsiteX24" fmla="*/ 1961 w 10000"/>
                <a:gd name="connsiteY24" fmla="*/ 729 h 10018"/>
                <a:gd name="connsiteX25" fmla="*/ 1961 w 10000"/>
                <a:gd name="connsiteY25" fmla="*/ 2263 h 10018"/>
                <a:gd name="connsiteX26" fmla="*/ 1285 w 10000"/>
                <a:gd name="connsiteY26" fmla="*/ 2263 h 10018"/>
                <a:gd name="connsiteX27" fmla="*/ 1285 w 10000"/>
                <a:gd name="connsiteY27" fmla="*/ 2556 h 10018"/>
                <a:gd name="connsiteX28" fmla="*/ 1285 w 10000"/>
                <a:gd name="connsiteY28" fmla="*/ 5179 h 10018"/>
                <a:gd name="connsiteX29" fmla="*/ 1135 w 10000"/>
                <a:gd name="connsiteY29" fmla="*/ 5327 h 10018"/>
                <a:gd name="connsiteX30" fmla="*/ 684 w 10000"/>
                <a:gd name="connsiteY30" fmla="*/ 5621 h 10018"/>
                <a:gd name="connsiteX31" fmla="*/ 609 w 10000"/>
                <a:gd name="connsiteY31" fmla="*/ 5986 h 10018"/>
                <a:gd name="connsiteX32" fmla="*/ 384 w 10000"/>
                <a:gd name="connsiteY32" fmla="*/ 6351 h 10018"/>
                <a:gd name="connsiteX33" fmla="*/ 234 w 10000"/>
                <a:gd name="connsiteY33" fmla="*/ 6935 h 10018"/>
                <a:gd name="connsiteX34" fmla="*/ 8 w 10000"/>
                <a:gd name="connsiteY34" fmla="*/ 7593 h 10018"/>
                <a:gd name="connsiteX35" fmla="*/ 384 w 10000"/>
                <a:gd name="connsiteY35" fmla="*/ 7664 h 10018"/>
                <a:gd name="connsiteX36" fmla="*/ 458 w 10000"/>
                <a:gd name="connsiteY36" fmla="*/ 8245 h 10018"/>
                <a:gd name="connsiteX37" fmla="*/ 684 w 10000"/>
                <a:gd name="connsiteY37" fmla="*/ 8831 h 10018"/>
                <a:gd name="connsiteX38" fmla="*/ 1059 w 10000"/>
                <a:gd name="connsiteY38" fmla="*/ 10000 h 10018"/>
                <a:gd name="connsiteX39" fmla="*/ 2509 w 10000"/>
                <a:gd name="connsiteY39" fmla="*/ 9601 h 10018"/>
                <a:gd name="connsiteX40" fmla="*/ 2740 w 10000"/>
                <a:gd name="connsiteY40" fmla="*/ 9610 h 10018"/>
                <a:gd name="connsiteX41" fmla="*/ 2979 w 10000"/>
                <a:gd name="connsiteY41" fmla="*/ 9527 h 10018"/>
                <a:gd name="connsiteX42" fmla="*/ 3757 w 10000"/>
                <a:gd name="connsiteY42" fmla="*/ 9508 h 10018"/>
                <a:gd name="connsiteX43" fmla="*/ 3863 w 10000"/>
                <a:gd name="connsiteY43" fmla="*/ 9778 h 10018"/>
                <a:gd name="connsiteX44" fmla="*/ 4219 w 10000"/>
                <a:gd name="connsiteY44" fmla="*/ 9620 h 10018"/>
                <a:gd name="connsiteX45" fmla="*/ 4373 w 10000"/>
                <a:gd name="connsiteY45" fmla="*/ 9293 h 10018"/>
                <a:gd name="connsiteX46" fmla="*/ 5064 w 10000"/>
                <a:gd name="connsiteY46" fmla="*/ 9311 h 10018"/>
                <a:gd name="connsiteX47" fmla="*/ 5457 w 10000"/>
                <a:gd name="connsiteY47" fmla="*/ 8984 h 10018"/>
                <a:gd name="connsiteX48" fmla="*/ 5884 w 10000"/>
                <a:gd name="connsiteY48" fmla="*/ 8740 h 10018"/>
                <a:gd name="connsiteX49" fmla="*/ 6040 w 10000"/>
                <a:gd name="connsiteY49" fmla="*/ 8368 h 10018"/>
                <a:gd name="connsiteX50" fmla="*/ 6382 w 10000"/>
                <a:gd name="connsiteY50" fmla="*/ 7982 h 10018"/>
                <a:gd name="connsiteX51" fmla="*/ 6428 w 10000"/>
                <a:gd name="connsiteY51" fmla="*/ 8181 h 10018"/>
                <a:gd name="connsiteX52" fmla="*/ 6444 w 10000"/>
                <a:gd name="connsiteY52" fmla="*/ 8428 h 10018"/>
                <a:gd name="connsiteX53" fmla="*/ 6766 w 10000"/>
                <a:gd name="connsiteY53" fmla="*/ 9268 h 10018"/>
                <a:gd name="connsiteX0" fmla="*/ 7446 w 10000"/>
                <a:gd name="connsiteY0" fmla="*/ 9488 h 10018"/>
                <a:gd name="connsiteX1" fmla="*/ 7446 w 10000"/>
                <a:gd name="connsiteY1" fmla="*/ 8978 h 10018"/>
                <a:gd name="connsiteX2" fmla="*/ 7821 w 10000"/>
                <a:gd name="connsiteY2" fmla="*/ 8978 h 10018"/>
                <a:gd name="connsiteX3" fmla="*/ 8047 w 10000"/>
                <a:gd name="connsiteY3" fmla="*/ 8029 h 10018"/>
                <a:gd name="connsiteX4" fmla="*/ 8648 w 10000"/>
                <a:gd name="connsiteY4" fmla="*/ 7444 h 10018"/>
                <a:gd name="connsiteX5" fmla="*/ 8873 w 10000"/>
                <a:gd name="connsiteY5" fmla="*/ 6351 h 10018"/>
                <a:gd name="connsiteX6" fmla="*/ 8722 w 10000"/>
                <a:gd name="connsiteY6" fmla="*/ 5768 h 10018"/>
                <a:gd name="connsiteX7" fmla="*/ 9098 w 10000"/>
                <a:gd name="connsiteY7" fmla="*/ 4525 h 10018"/>
                <a:gd name="connsiteX8" fmla="*/ 9399 w 10000"/>
                <a:gd name="connsiteY8" fmla="*/ 4160 h 10018"/>
                <a:gd name="connsiteX9" fmla="*/ 10000 w 10000"/>
                <a:gd name="connsiteY9" fmla="*/ 3576 h 10018"/>
                <a:gd name="connsiteX10" fmla="*/ 9774 w 10000"/>
                <a:gd name="connsiteY10" fmla="*/ 3502 h 10018"/>
                <a:gd name="connsiteX11" fmla="*/ 9399 w 10000"/>
                <a:gd name="connsiteY11" fmla="*/ 3140 h 10018"/>
                <a:gd name="connsiteX12" fmla="*/ 9173 w 10000"/>
                <a:gd name="connsiteY12" fmla="*/ 2044 h 10018"/>
                <a:gd name="connsiteX13" fmla="*/ 9173 w 10000"/>
                <a:gd name="connsiteY13" fmla="*/ 1460 h 10018"/>
                <a:gd name="connsiteX14" fmla="*/ 9098 w 10000"/>
                <a:gd name="connsiteY14" fmla="*/ 729 h 10018"/>
                <a:gd name="connsiteX15" fmla="*/ 8873 w 10000"/>
                <a:gd name="connsiteY15" fmla="*/ 511 h 10018"/>
                <a:gd name="connsiteX16" fmla="*/ 8497 w 10000"/>
                <a:gd name="connsiteY16" fmla="*/ 219 h 10018"/>
                <a:gd name="connsiteX17" fmla="*/ 8272 w 10000"/>
                <a:gd name="connsiteY17" fmla="*/ 0 h 10018"/>
                <a:gd name="connsiteX18" fmla="*/ 7821 w 10000"/>
                <a:gd name="connsiteY18" fmla="*/ 293 h 10018"/>
                <a:gd name="connsiteX19" fmla="*/ 7370 w 10000"/>
                <a:gd name="connsiteY19" fmla="*/ 729 h 10018"/>
                <a:gd name="connsiteX20" fmla="*/ 6769 w 10000"/>
                <a:gd name="connsiteY20" fmla="*/ 729 h 10018"/>
                <a:gd name="connsiteX21" fmla="*/ 5717 w 10000"/>
                <a:gd name="connsiteY21" fmla="*/ 729 h 10018"/>
                <a:gd name="connsiteX22" fmla="*/ 5717 w 10000"/>
                <a:gd name="connsiteY22" fmla="*/ 658 h 10018"/>
                <a:gd name="connsiteX23" fmla="*/ 5643 w 10000"/>
                <a:gd name="connsiteY23" fmla="*/ 729 h 10018"/>
                <a:gd name="connsiteX24" fmla="*/ 1961 w 10000"/>
                <a:gd name="connsiteY24" fmla="*/ 729 h 10018"/>
                <a:gd name="connsiteX25" fmla="*/ 1961 w 10000"/>
                <a:gd name="connsiteY25" fmla="*/ 2263 h 10018"/>
                <a:gd name="connsiteX26" fmla="*/ 1285 w 10000"/>
                <a:gd name="connsiteY26" fmla="*/ 2263 h 10018"/>
                <a:gd name="connsiteX27" fmla="*/ 1285 w 10000"/>
                <a:gd name="connsiteY27" fmla="*/ 2556 h 10018"/>
                <a:gd name="connsiteX28" fmla="*/ 1285 w 10000"/>
                <a:gd name="connsiteY28" fmla="*/ 5179 h 10018"/>
                <a:gd name="connsiteX29" fmla="*/ 1135 w 10000"/>
                <a:gd name="connsiteY29" fmla="*/ 5327 h 10018"/>
                <a:gd name="connsiteX30" fmla="*/ 684 w 10000"/>
                <a:gd name="connsiteY30" fmla="*/ 5621 h 10018"/>
                <a:gd name="connsiteX31" fmla="*/ 609 w 10000"/>
                <a:gd name="connsiteY31" fmla="*/ 5986 h 10018"/>
                <a:gd name="connsiteX32" fmla="*/ 384 w 10000"/>
                <a:gd name="connsiteY32" fmla="*/ 6351 h 10018"/>
                <a:gd name="connsiteX33" fmla="*/ 234 w 10000"/>
                <a:gd name="connsiteY33" fmla="*/ 6935 h 10018"/>
                <a:gd name="connsiteX34" fmla="*/ 8 w 10000"/>
                <a:gd name="connsiteY34" fmla="*/ 7593 h 10018"/>
                <a:gd name="connsiteX35" fmla="*/ 384 w 10000"/>
                <a:gd name="connsiteY35" fmla="*/ 7664 h 10018"/>
                <a:gd name="connsiteX36" fmla="*/ 458 w 10000"/>
                <a:gd name="connsiteY36" fmla="*/ 8245 h 10018"/>
                <a:gd name="connsiteX37" fmla="*/ 684 w 10000"/>
                <a:gd name="connsiteY37" fmla="*/ 8831 h 10018"/>
                <a:gd name="connsiteX38" fmla="*/ 1059 w 10000"/>
                <a:gd name="connsiteY38" fmla="*/ 10000 h 10018"/>
                <a:gd name="connsiteX39" fmla="*/ 2509 w 10000"/>
                <a:gd name="connsiteY39" fmla="*/ 9601 h 10018"/>
                <a:gd name="connsiteX40" fmla="*/ 2711 w 10000"/>
                <a:gd name="connsiteY40" fmla="*/ 9629 h 10018"/>
                <a:gd name="connsiteX41" fmla="*/ 2979 w 10000"/>
                <a:gd name="connsiteY41" fmla="*/ 9527 h 10018"/>
                <a:gd name="connsiteX42" fmla="*/ 3757 w 10000"/>
                <a:gd name="connsiteY42" fmla="*/ 9508 h 10018"/>
                <a:gd name="connsiteX43" fmla="*/ 3863 w 10000"/>
                <a:gd name="connsiteY43" fmla="*/ 9778 h 10018"/>
                <a:gd name="connsiteX44" fmla="*/ 4219 w 10000"/>
                <a:gd name="connsiteY44" fmla="*/ 9620 h 10018"/>
                <a:gd name="connsiteX45" fmla="*/ 4373 w 10000"/>
                <a:gd name="connsiteY45" fmla="*/ 9293 h 10018"/>
                <a:gd name="connsiteX46" fmla="*/ 5064 w 10000"/>
                <a:gd name="connsiteY46" fmla="*/ 9311 h 10018"/>
                <a:gd name="connsiteX47" fmla="*/ 5457 w 10000"/>
                <a:gd name="connsiteY47" fmla="*/ 8984 h 10018"/>
                <a:gd name="connsiteX48" fmla="*/ 5884 w 10000"/>
                <a:gd name="connsiteY48" fmla="*/ 8740 h 10018"/>
                <a:gd name="connsiteX49" fmla="*/ 6040 w 10000"/>
                <a:gd name="connsiteY49" fmla="*/ 8368 h 10018"/>
                <a:gd name="connsiteX50" fmla="*/ 6382 w 10000"/>
                <a:gd name="connsiteY50" fmla="*/ 7982 h 10018"/>
                <a:gd name="connsiteX51" fmla="*/ 6428 w 10000"/>
                <a:gd name="connsiteY51" fmla="*/ 8181 h 10018"/>
                <a:gd name="connsiteX52" fmla="*/ 6444 w 10000"/>
                <a:gd name="connsiteY52" fmla="*/ 8428 h 10018"/>
                <a:gd name="connsiteX53" fmla="*/ 6766 w 10000"/>
                <a:gd name="connsiteY53" fmla="*/ 9268 h 10018"/>
                <a:gd name="connsiteX0" fmla="*/ 7446 w 10000"/>
                <a:gd name="connsiteY0" fmla="*/ 9488 h 10015"/>
                <a:gd name="connsiteX1" fmla="*/ 7446 w 10000"/>
                <a:gd name="connsiteY1" fmla="*/ 8978 h 10015"/>
                <a:gd name="connsiteX2" fmla="*/ 7821 w 10000"/>
                <a:gd name="connsiteY2" fmla="*/ 8978 h 10015"/>
                <a:gd name="connsiteX3" fmla="*/ 8047 w 10000"/>
                <a:gd name="connsiteY3" fmla="*/ 8029 h 10015"/>
                <a:gd name="connsiteX4" fmla="*/ 8648 w 10000"/>
                <a:gd name="connsiteY4" fmla="*/ 7444 h 10015"/>
                <a:gd name="connsiteX5" fmla="*/ 8873 w 10000"/>
                <a:gd name="connsiteY5" fmla="*/ 6351 h 10015"/>
                <a:gd name="connsiteX6" fmla="*/ 8722 w 10000"/>
                <a:gd name="connsiteY6" fmla="*/ 5768 h 10015"/>
                <a:gd name="connsiteX7" fmla="*/ 9098 w 10000"/>
                <a:gd name="connsiteY7" fmla="*/ 4525 h 10015"/>
                <a:gd name="connsiteX8" fmla="*/ 9399 w 10000"/>
                <a:gd name="connsiteY8" fmla="*/ 4160 h 10015"/>
                <a:gd name="connsiteX9" fmla="*/ 10000 w 10000"/>
                <a:gd name="connsiteY9" fmla="*/ 3576 h 10015"/>
                <a:gd name="connsiteX10" fmla="*/ 9774 w 10000"/>
                <a:gd name="connsiteY10" fmla="*/ 3502 h 10015"/>
                <a:gd name="connsiteX11" fmla="*/ 9399 w 10000"/>
                <a:gd name="connsiteY11" fmla="*/ 3140 h 10015"/>
                <a:gd name="connsiteX12" fmla="*/ 9173 w 10000"/>
                <a:gd name="connsiteY12" fmla="*/ 2044 h 10015"/>
                <a:gd name="connsiteX13" fmla="*/ 9173 w 10000"/>
                <a:gd name="connsiteY13" fmla="*/ 1460 h 10015"/>
                <a:gd name="connsiteX14" fmla="*/ 9098 w 10000"/>
                <a:gd name="connsiteY14" fmla="*/ 729 h 10015"/>
                <a:gd name="connsiteX15" fmla="*/ 8873 w 10000"/>
                <a:gd name="connsiteY15" fmla="*/ 511 h 10015"/>
                <a:gd name="connsiteX16" fmla="*/ 8497 w 10000"/>
                <a:gd name="connsiteY16" fmla="*/ 219 h 10015"/>
                <a:gd name="connsiteX17" fmla="*/ 8272 w 10000"/>
                <a:gd name="connsiteY17" fmla="*/ 0 h 10015"/>
                <a:gd name="connsiteX18" fmla="*/ 7821 w 10000"/>
                <a:gd name="connsiteY18" fmla="*/ 293 h 10015"/>
                <a:gd name="connsiteX19" fmla="*/ 7370 w 10000"/>
                <a:gd name="connsiteY19" fmla="*/ 729 h 10015"/>
                <a:gd name="connsiteX20" fmla="*/ 6769 w 10000"/>
                <a:gd name="connsiteY20" fmla="*/ 729 h 10015"/>
                <a:gd name="connsiteX21" fmla="*/ 5717 w 10000"/>
                <a:gd name="connsiteY21" fmla="*/ 729 h 10015"/>
                <a:gd name="connsiteX22" fmla="*/ 5717 w 10000"/>
                <a:gd name="connsiteY22" fmla="*/ 658 h 10015"/>
                <a:gd name="connsiteX23" fmla="*/ 5643 w 10000"/>
                <a:gd name="connsiteY23" fmla="*/ 729 h 10015"/>
                <a:gd name="connsiteX24" fmla="*/ 1961 w 10000"/>
                <a:gd name="connsiteY24" fmla="*/ 729 h 10015"/>
                <a:gd name="connsiteX25" fmla="*/ 1961 w 10000"/>
                <a:gd name="connsiteY25" fmla="*/ 2263 h 10015"/>
                <a:gd name="connsiteX26" fmla="*/ 1285 w 10000"/>
                <a:gd name="connsiteY26" fmla="*/ 2263 h 10015"/>
                <a:gd name="connsiteX27" fmla="*/ 1285 w 10000"/>
                <a:gd name="connsiteY27" fmla="*/ 2556 h 10015"/>
                <a:gd name="connsiteX28" fmla="*/ 1285 w 10000"/>
                <a:gd name="connsiteY28" fmla="*/ 5179 h 10015"/>
                <a:gd name="connsiteX29" fmla="*/ 1135 w 10000"/>
                <a:gd name="connsiteY29" fmla="*/ 5327 h 10015"/>
                <a:gd name="connsiteX30" fmla="*/ 684 w 10000"/>
                <a:gd name="connsiteY30" fmla="*/ 5621 h 10015"/>
                <a:gd name="connsiteX31" fmla="*/ 609 w 10000"/>
                <a:gd name="connsiteY31" fmla="*/ 5986 h 10015"/>
                <a:gd name="connsiteX32" fmla="*/ 384 w 10000"/>
                <a:gd name="connsiteY32" fmla="*/ 6351 h 10015"/>
                <a:gd name="connsiteX33" fmla="*/ 234 w 10000"/>
                <a:gd name="connsiteY33" fmla="*/ 6935 h 10015"/>
                <a:gd name="connsiteX34" fmla="*/ 8 w 10000"/>
                <a:gd name="connsiteY34" fmla="*/ 7593 h 10015"/>
                <a:gd name="connsiteX35" fmla="*/ 384 w 10000"/>
                <a:gd name="connsiteY35" fmla="*/ 7664 h 10015"/>
                <a:gd name="connsiteX36" fmla="*/ 458 w 10000"/>
                <a:gd name="connsiteY36" fmla="*/ 8245 h 10015"/>
                <a:gd name="connsiteX37" fmla="*/ 684 w 10000"/>
                <a:gd name="connsiteY37" fmla="*/ 8831 h 10015"/>
                <a:gd name="connsiteX38" fmla="*/ 1059 w 10000"/>
                <a:gd name="connsiteY38" fmla="*/ 10000 h 10015"/>
                <a:gd name="connsiteX39" fmla="*/ 2461 w 10000"/>
                <a:gd name="connsiteY39" fmla="*/ 9330 h 10015"/>
                <a:gd name="connsiteX40" fmla="*/ 2509 w 10000"/>
                <a:gd name="connsiteY40" fmla="*/ 9601 h 10015"/>
                <a:gd name="connsiteX41" fmla="*/ 2711 w 10000"/>
                <a:gd name="connsiteY41" fmla="*/ 9629 h 10015"/>
                <a:gd name="connsiteX42" fmla="*/ 2979 w 10000"/>
                <a:gd name="connsiteY42" fmla="*/ 9527 h 10015"/>
                <a:gd name="connsiteX43" fmla="*/ 3757 w 10000"/>
                <a:gd name="connsiteY43" fmla="*/ 9508 h 10015"/>
                <a:gd name="connsiteX44" fmla="*/ 3863 w 10000"/>
                <a:gd name="connsiteY44" fmla="*/ 9778 h 10015"/>
                <a:gd name="connsiteX45" fmla="*/ 4219 w 10000"/>
                <a:gd name="connsiteY45" fmla="*/ 9620 h 10015"/>
                <a:gd name="connsiteX46" fmla="*/ 4373 w 10000"/>
                <a:gd name="connsiteY46" fmla="*/ 9293 h 10015"/>
                <a:gd name="connsiteX47" fmla="*/ 5064 w 10000"/>
                <a:gd name="connsiteY47" fmla="*/ 9311 h 10015"/>
                <a:gd name="connsiteX48" fmla="*/ 5457 w 10000"/>
                <a:gd name="connsiteY48" fmla="*/ 8984 h 10015"/>
                <a:gd name="connsiteX49" fmla="*/ 5884 w 10000"/>
                <a:gd name="connsiteY49" fmla="*/ 8740 h 10015"/>
                <a:gd name="connsiteX50" fmla="*/ 6040 w 10000"/>
                <a:gd name="connsiteY50" fmla="*/ 8368 h 10015"/>
                <a:gd name="connsiteX51" fmla="*/ 6382 w 10000"/>
                <a:gd name="connsiteY51" fmla="*/ 7982 h 10015"/>
                <a:gd name="connsiteX52" fmla="*/ 6428 w 10000"/>
                <a:gd name="connsiteY52" fmla="*/ 8181 h 10015"/>
                <a:gd name="connsiteX53" fmla="*/ 6444 w 10000"/>
                <a:gd name="connsiteY53" fmla="*/ 8428 h 10015"/>
                <a:gd name="connsiteX54" fmla="*/ 6766 w 10000"/>
                <a:gd name="connsiteY54" fmla="*/ 9268 h 10015"/>
                <a:gd name="connsiteX0" fmla="*/ 7446 w 10000"/>
                <a:gd name="connsiteY0" fmla="*/ 9488 h 10015"/>
                <a:gd name="connsiteX1" fmla="*/ 7446 w 10000"/>
                <a:gd name="connsiteY1" fmla="*/ 8978 h 10015"/>
                <a:gd name="connsiteX2" fmla="*/ 7821 w 10000"/>
                <a:gd name="connsiteY2" fmla="*/ 8978 h 10015"/>
                <a:gd name="connsiteX3" fmla="*/ 8047 w 10000"/>
                <a:gd name="connsiteY3" fmla="*/ 8029 h 10015"/>
                <a:gd name="connsiteX4" fmla="*/ 8648 w 10000"/>
                <a:gd name="connsiteY4" fmla="*/ 7444 h 10015"/>
                <a:gd name="connsiteX5" fmla="*/ 8873 w 10000"/>
                <a:gd name="connsiteY5" fmla="*/ 6351 h 10015"/>
                <a:gd name="connsiteX6" fmla="*/ 8722 w 10000"/>
                <a:gd name="connsiteY6" fmla="*/ 5768 h 10015"/>
                <a:gd name="connsiteX7" fmla="*/ 9098 w 10000"/>
                <a:gd name="connsiteY7" fmla="*/ 4525 h 10015"/>
                <a:gd name="connsiteX8" fmla="*/ 9399 w 10000"/>
                <a:gd name="connsiteY8" fmla="*/ 4160 h 10015"/>
                <a:gd name="connsiteX9" fmla="*/ 10000 w 10000"/>
                <a:gd name="connsiteY9" fmla="*/ 3576 h 10015"/>
                <a:gd name="connsiteX10" fmla="*/ 9774 w 10000"/>
                <a:gd name="connsiteY10" fmla="*/ 3502 h 10015"/>
                <a:gd name="connsiteX11" fmla="*/ 9399 w 10000"/>
                <a:gd name="connsiteY11" fmla="*/ 3140 h 10015"/>
                <a:gd name="connsiteX12" fmla="*/ 9173 w 10000"/>
                <a:gd name="connsiteY12" fmla="*/ 2044 h 10015"/>
                <a:gd name="connsiteX13" fmla="*/ 9173 w 10000"/>
                <a:gd name="connsiteY13" fmla="*/ 1460 h 10015"/>
                <a:gd name="connsiteX14" fmla="*/ 9098 w 10000"/>
                <a:gd name="connsiteY14" fmla="*/ 729 h 10015"/>
                <a:gd name="connsiteX15" fmla="*/ 8873 w 10000"/>
                <a:gd name="connsiteY15" fmla="*/ 511 h 10015"/>
                <a:gd name="connsiteX16" fmla="*/ 8497 w 10000"/>
                <a:gd name="connsiteY16" fmla="*/ 219 h 10015"/>
                <a:gd name="connsiteX17" fmla="*/ 8272 w 10000"/>
                <a:gd name="connsiteY17" fmla="*/ 0 h 10015"/>
                <a:gd name="connsiteX18" fmla="*/ 7821 w 10000"/>
                <a:gd name="connsiteY18" fmla="*/ 293 h 10015"/>
                <a:gd name="connsiteX19" fmla="*/ 7370 w 10000"/>
                <a:gd name="connsiteY19" fmla="*/ 729 h 10015"/>
                <a:gd name="connsiteX20" fmla="*/ 6769 w 10000"/>
                <a:gd name="connsiteY20" fmla="*/ 729 h 10015"/>
                <a:gd name="connsiteX21" fmla="*/ 5717 w 10000"/>
                <a:gd name="connsiteY21" fmla="*/ 729 h 10015"/>
                <a:gd name="connsiteX22" fmla="*/ 5717 w 10000"/>
                <a:gd name="connsiteY22" fmla="*/ 658 h 10015"/>
                <a:gd name="connsiteX23" fmla="*/ 5643 w 10000"/>
                <a:gd name="connsiteY23" fmla="*/ 729 h 10015"/>
                <a:gd name="connsiteX24" fmla="*/ 1961 w 10000"/>
                <a:gd name="connsiteY24" fmla="*/ 729 h 10015"/>
                <a:gd name="connsiteX25" fmla="*/ 1961 w 10000"/>
                <a:gd name="connsiteY25" fmla="*/ 2263 h 10015"/>
                <a:gd name="connsiteX26" fmla="*/ 1285 w 10000"/>
                <a:gd name="connsiteY26" fmla="*/ 2263 h 10015"/>
                <a:gd name="connsiteX27" fmla="*/ 1285 w 10000"/>
                <a:gd name="connsiteY27" fmla="*/ 2556 h 10015"/>
                <a:gd name="connsiteX28" fmla="*/ 1285 w 10000"/>
                <a:gd name="connsiteY28" fmla="*/ 5179 h 10015"/>
                <a:gd name="connsiteX29" fmla="*/ 1135 w 10000"/>
                <a:gd name="connsiteY29" fmla="*/ 5327 h 10015"/>
                <a:gd name="connsiteX30" fmla="*/ 684 w 10000"/>
                <a:gd name="connsiteY30" fmla="*/ 5621 h 10015"/>
                <a:gd name="connsiteX31" fmla="*/ 609 w 10000"/>
                <a:gd name="connsiteY31" fmla="*/ 5986 h 10015"/>
                <a:gd name="connsiteX32" fmla="*/ 384 w 10000"/>
                <a:gd name="connsiteY32" fmla="*/ 6351 h 10015"/>
                <a:gd name="connsiteX33" fmla="*/ 234 w 10000"/>
                <a:gd name="connsiteY33" fmla="*/ 6935 h 10015"/>
                <a:gd name="connsiteX34" fmla="*/ 8 w 10000"/>
                <a:gd name="connsiteY34" fmla="*/ 7593 h 10015"/>
                <a:gd name="connsiteX35" fmla="*/ 384 w 10000"/>
                <a:gd name="connsiteY35" fmla="*/ 7664 h 10015"/>
                <a:gd name="connsiteX36" fmla="*/ 458 w 10000"/>
                <a:gd name="connsiteY36" fmla="*/ 8245 h 10015"/>
                <a:gd name="connsiteX37" fmla="*/ 684 w 10000"/>
                <a:gd name="connsiteY37" fmla="*/ 8831 h 10015"/>
                <a:gd name="connsiteX38" fmla="*/ 1059 w 10000"/>
                <a:gd name="connsiteY38" fmla="*/ 10000 h 10015"/>
                <a:gd name="connsiteX39" fmla="*/ 2461 w 10000"/>
                <a:gd name="connsiteY39" fmla="*/ 9330 h 10015"/>
                <a:gd name="connsiteX40" fmla="*/ 2576 w 10000"/>
                <a:gd name="connsiteY40" fmla="*/ 9517 h 10015"/>
                <a:gd name="connsiteX41" fmla="*/ 2711 w 10000"/>
                <a:gd name="connsiteY41" fmla="*/ 9629 h 10015"/>
                <a:gd name="connsiteX42" fmla="*/ 2979 w 10000"/>
                <a:gd name="connsiteY42" fmla="*/ 9527 h 10015"/>
                <a:gd name="connsiteX43" fmla="*/ 3757 w 10000"/>
                <a:gd name="connsiteY43" fmla="*/ 9508 h 10015"/>
                <a:gd name="connsiteX44" fmla="*/ 3863 w 10000"/>
                <a:gd name="connsiteY44" fmla="*/ 9778 h 10015"/>
                <a:gd name="connsiteX45" fmla="*/ 4219 w 10000"/>
                <a:gd name="connsiteY45" fmla="*/ 9620 h 10015"/>
                <a:gd name="connsiteX46" fmla="*/ 4373 w 10000"/>
                <a:gd name="connsiteY46" fmla="*/ 9293 h 10015"/>
                <a:gd name="connsiteX47" fmla="*/ 5064 w 10000"/>
                <a:gd name="connsiteY47" fmla="*/ 9311 h 10015"/>
                <a:gd name="connsiteX48" fmla="*/ 5457 w 10000"/>
                <a:gd name="connsiteY48" fmla="*/ 8984 h 10015"/>
                <a:gd name="connsiteX49" fmla="*/ 5884 w 10000"/>
                <a:gd name="connsiteY49" fmla="*/ 8740 h 10015"/>
                <a:gd name="connsiteX50" fmla="*/ 6040 w 10000"/>
                <a:gd name="connsiteY50" fmla="*/ 8368 h 10015"/>
                <a:gd name="connsiteX51" fmla="*/ 6382 w 10000"/>
                <a:gd name="connsiteY51" fmla="*/ 7982 h 10015"/>
                <a:gd name="connsiteX52" fmla="*/ 6428 w 10000"/>
                <a:gd name="connsiteY52" fmla="*/ 8181 h 10015"/>
                <a:gd name="connsiteX53" fmla="*/ 6444 w 10000"/>
                <a:gd name="connsiteY53" fmla="*/ 8428 h 10015"/>
                <a:gd name="connsiteX54" fmla="*/ 6766 w 10000"/>
                <a:gd name="connsiteY54" fmla="*/ 9268 h 10015"/>
                <a:gd name="connsiteX0" fmla="*/ 7446 w 10000"/>
                <a:gd name="connsiteY0" fmla="*/ 9488 h 10015"/>
                <a:gd name="connsiteX1" fmla="*/ 7446 w 10000"/>
                <a:gd name="connsiteY1" fmla="*/ 8978 h 10015"/>
                <a:gd name="connsiteX2" fmla="*/ 7821 w 10000"/>
                <a:gd name="connsiteY2" fmla="*/ 8978 h 10015"/>
                <a:gd name="connsiteX3" fmla="*/ 8047 w 10000"/>
                <a:gd name="connsiteY3" fmla="*/ 8029 h 10015"/>
                <a:gd name="connsiteX4" fmla="*/ 8648 w 10000"/>
                <a:gd name="connsiteY4" fmla="*/ 7444 h 10015"/>
                <a:gd name="connsiteX5" fmla="*/ 8873 w 10000"/>
                <a:gd name="connsiteY5" fmla="*/ 6351 h 10015"/>
                <a:gd name="connsiteX6" fmla="*/ 8722 w 10000"/>
                <a:gd name="connsiteY6" fmla="*/ 5768 h 10015"/>
                <a:gd name="connsiteX7" fmla="*/ 9098 w 10000"/>
                <a:gd name="connsiteY7" fmla="*/ 4525 h 10015"/>
                <a:gd name="connsiteX8" fmla="*/ 9399 w 10000"/>
                <a:gd name="connsiteY8" fmla="*/ 4160 h 10015"/>
                <a:gd name="connsiteX9" fmla="*/ 10000 w 10000"/>
                <a:gd name="connsiteY9" fmla="*/ 3576 h 10015"/>
                <a:gd name="connsiteX10" fmla="*/ 9774 w 10000"/>
                <a:gd name="connsiteY10" fmla="*/ 3502 h 10015"/>
                <a:gd name="connsiteX11" fmla="*/ 9399 w 10000"/>
                <a:gd name="connsiteY11" fmla="*/ 3140 h 10015"/>
                <a:gd name="connsiteX12" fmla="*/ 9173 w 10000"/>
                <a:gd name="connsiteY12" fmla="*/ 2044 h 10015"/>
                <a:gd name="connsiteX13" fmla="*/ 9173 w 10000"/>
                <a:gd name="connsiteY13" fmla="*/ 1460 h 10015"/>
                <a:gd name="connsiteX14" fmla="*/ 9098 w 10000"/>
                <a:gd name="connsiteY14" fmla="*/ 729 h 10015"/>
                <a:gd name="connsiteX15" fmla="*/ 8873 w 10000"/>
                <a:gd name="connsiteY15" fmla="*/ 511 h 10015"/>
                <a:gd name="connsiteX16" fmla="*/ 8497 w 10000"/>
                <a:gd name="connsiteY16" fmla="*/ 219 h 10015"/>
                <a:gd name="connsiteX17" fmla="*/ 8272 w 10000"/>
                <a:gd name="connsiteY17" fmla="*/ 0 h 10015"/>
                <a:gd name="connsiteX18" fmla="*/ 7821 w 10000"/>
                <a:gd name="connsiteY18" fmla="*/ 293 h 10015"/>
                <a:gd name="connsiteX19" fmla="*/ 7370 w 10000"/>
                <a:gd name="connsiteY19" fmla="*/ 729 h 10015"/>
                <a:gd name="connsiteX20" fmla="*/ 6769 w 10000"/>
                <a:gd name="connsiteY20" fmla="*/ 729 h 10015"/>
                <a:gd name="connsiteX21" fmla="*/ 5717 w 10000"/>
                <a:gd name="connsiteY21" fmla="*/ 729 h 10015"/>
                <a:gd name="connsiteX22" fmla="*/ 5717 w 10000"/>
                <a:gd name="connsiteY22" fmla="*/ 658 h 10015"/>
                <a:gd name="connsiteX23" fmla="*/ 5643 w 10000"/>
                <a:gd name="connsiteY23" fmla="*/ 729 h 10015"/>
                <a:gd name="connsiteX24" fmla="*/ 1961 w 10000"/>
                <a:gd name="connsiteY24" fmla="*/ 729 h 10015"/>
                <a:gd name="connsiteX25" fmla="*/ 1961 w 10000"/>
                <a:gd name="connsiteY25" fmla="*/ 2263 h 10015"/>
                <a:gd name="connsiteX26" fmla="*/ 1285 w 10000"/>
                <a:gd name="connsiteY26" fmla="*/ 2263 h 10015"/>
                <a:gd name="connsiteX27" fmla="*/ 1285 w 10000"/>
                <a:gd name="connsiteY27" fmla="*/ 2556 h 10015"/>
                <a:gd name="connsiteX28" fmla="*/ 1285 w 10000"/>
                <a:gd name="connsiteY28" fmla="*/ 5179 h 10015"/>
                <a:gd name="connsiteX29" fmla="*/ 1135 w 10000"/>
                <a:gd name="connsiteY29" fmla="*/ 5327 h 10015"/>
                <a:gd name="connsiteX30" fmla="*/ 684 w 10000"/>
                <a:gd name="connsiteY30" fmla="*/ 5621 h 10015"/>
                <a:gd name="connsiteX31" fmla="*/ 609 w 10000"/>
                <a:gd name="connsiteY31" fmla="*/ 5986 h 10015"/>
                <a:gd name="connsiteX32" fmla="*/ 384 w 10000"/>
                <a:gd name="connsiteY32" fmla="*/ 6351 h 10015"/>
                <a:gd name="connsiteX33" fmla="*/ 234 w 10000"/>
                <a:gd name="connsiteY33" fmla="*/ 6935 h 10015"/>
                <a:gd name="connsiteX34" fmla="*/ 8 w 10000"/>
                <a:gd name="connsiteY34" fmla="*/ 7593 h 10015"/>
                <a:gd name="connsiteX35" fmla="*/ 384 w 10000"/>
                <a:gd name="connsiteY35" fmla="*/ 7664 h 10015"/>
                <a:gd name="connsiteX36" fmla="*/ 458 w 10000"/>
                <a:gd name="connsiteY36" fmla="*/ 8245 h 10015"/>
                <a:gd name="connsiteX37" fmla="*/ 684 w 10000"/>
                <a:gd name="connsiteY37" fmla="*/ 8831 h 10015"/>
                <a:gd name="connsiteX38" fmla="*/ 1059 w 10000"/>
                <a:gd name="connsiteY38" fmla="*/ 10000 h 10015"/>
                <a:gd name="connsiteX39" fmla="*/ 2461 w 10000"/>
                <a:gd name="connsiteY39" fmla="*/ 9330 h 10015"/>
                <a:gd name="connsiteX40" fmla="*/ 2576 w 10000"/>
                <a:gd name="connsiteY40" fmla="*/ 9517 h 10015"/>
                <a:gd name="connsiteX41" fmla="*/ 2711 w 10000"/>
                <a:gd name="connsiteY41" fmla="*/ 9629 h 10015"/>
                <a:gd name="connsiteX42" fmla="*/ 2979 w 10000"/>
                <a:gd name="connsiteY42" fmla="*/ 9527 h 10015"/>
                <a:gd name="connsiteX43" fmla="*/ 3757 w 10000"/>
                <a:gd name="connsiteY43" fmla="*/ 9508 h 10015"/>
                <a:gd name="connsiteX44" fmla="*/ 3863 w 10000"/>
                <a:gd name="connsiteY44" fmla="*/ 9778 h 10015"/>
                <a:gd name="connsiteX45" fmla="*/ 4219 w 10000"/>
                <a:gd name="connsiteY45" fmla="*/ 9620 h 10015"/>
                <a:gd name="connsiteX46" fmla="*/ 4373 w 10000"/>
                <a:gd name="connsiteY46" fmla="*/ 9293 h 10015"/>
                <a:gd name="connsiteX47" fmla="*/ 5064 w 10000"/>
                <a:gd name="connsiteY47" fmla="*/ 9311 h 10015"/>
                <a:gd name="connsiteX48" fmla="*/ 5457 w 10000"/>
                <a:gd name="connsiteY48" fmla="*/ 8984 h 10015"/>
                <a:gd name="connsiteX49" fmla="*/ 5884 w 10000"/>
                <a:gd name="connsiteY49" fmla="*/ 8740 h 10015"/>
                <a:gd name="connsiteX50" fmla="*/ 6040 w 10000"/>
                <a:gd name="connsiteY50" fmla="*/ 8368 h 10015"/>
                <a:gd name="connsiteX51" fmla="*/ 6382 w 10000"/>
                <a:gd name="connsiteY51" fmla="*/ 7982 h 10015"/>
                <a:gd name="connsiteX52" fmla="*/ 6428 w 10000"/>
                <a:gd name="connsiteY52" fmla="*/ 8181 h 10015"/>
                <a:gd name="connsiteX53" fmla="*/ 6444 w 10000"/>
                <a:gd name="connsiteY53" fmla="*/ 8428 h 10015"/>
                <a:gd name="connsiteX54" fmla="*/ 6766 w 10000"/>
                <a:gd name="connsiteY54" fmla="*/ 9268 h 10015"/>
                <a:gd name="connsiteX0" fmla="*/ 7446 w 10000"/>
                <a:gd name="connsiteY0" fmla="*/ 9488 h 10015"/>
                <a:gd name="connsiteX1" fmla="*/ 7446 w 10000"/>
                <a:gd name="connsiteY1" fmla="*/ 8978 h 10015"/>
                <a:gd name="connsiteX2" fmla="*/ 7821 w 10000"/>
                <a:gd name="connsiteY2" fmla="*/ 8978 h 10015"/>
                <a:gd name="connsiteX3" fmla="*/ 8047 w 10000"/>
                <a:gd name="connsiteY3" fmla="*/ 8029 h 10015"/>
                <a:gd name="connsiteX4" fmla="*/ 8648 w 10000"/>
                <a:gd name="connsiteY4" fmla="*/ 7444 h 10015"/>
                <a:gd name="connsiteX5" fmla="*/ 8873 w 10000"/>
                <a:gd name="connsiteY5" fmla="*/ 6351 h 10015"/>
                <a:gd name="connsiteX6" fmla="*/ 8722 w 10000"/>
                <a:gd name="connsiteY6" fmla="*/ 5768 h 10015"/>
                <a:gd name="connsiteX7" fmla="*/ 9098 w 10000"/>
                <a:gd name="connsiteY7" fmla="*/ 4525 h 10015"/>
                <a:gd name="connsiteX8" fmla="*/ 9399 w 10000"/>
                <a:gd name="connsiteY8" fmla="*/ 4160 h 10015"/>
                <a:gd name="connsiteX9" fmla="*/ 10000 w 10000"/>
                <a:gd name="connsiteY9" fmla="*/ 3576 h 10015"/>
                <a:gd name="connsiteX10" fmla="*/ 9774 w 10000"/>
                <a:gd name="connsiteY10" fmla="*/ 3502 h 10015"/>
                <a:gd name="connsiteX11" fmla="*/ 9399 w 10000"/>
                <a:gd name="connsiteY11" fmla="*/ 3140 h 10015"/>
                <a:gd name="connsiteX12" fmla="*/ 9173 w 10000"/>
                <a:gd name="connsiteY12" fmla="*/ 2044 h 10015"/>
                <a:gd name="connsiteX13" fmla="*/ 9173 w 10000"/>
                <a:gd name="connsiteY13" fmla="*/ 1460 h 10015"/>
                <a:gd name="connsiteX14" fmla="*/ 9098 w 10000"/>
                <a:gd name="connsiteY14" fmla="*/ 729 h 10015"/>
                <a:gd name="connsiteX15" fmla="*/ 8873 w 10000"/>
                <a:gd name="connsiteY15" fmla="*/ 511 h 10015"/>
                <a:gd name="connsiteX16" fmla="*/ 8497 w 10000"/>
                <a:gd name="connsiteY16" fmla="*/ 219 h 10015"/>
                <a:gd name="connsiteX17" fmla="*/ 8272 w 10000"/>
                <a:gd name="connsiteY17" fmla="*/ 0 h 10015"/>
                <a:gd name="connsiteX18" fmla="*/ 7821 w 10000"/>
                <a:gd name="connsiteY18" fmla="*/ 293 h 10015"/>
                <a:gd name="connsiteX19" fmla="*/ 7370 w 10000"/>
                <a:gd name="connsiteY19" fmla="*/ 729 h 10015"/>
                <a:gd name="connsiteX20" fmla="*/ 6769 w 10000"/>
                <a:gd name="connsiteY20" fmla="*/ 729 h 10015"/>
                <a:gd name="connsiteX21" fmla="*/ 5717 w 10000"/>
                <a:gd name="connsiteY21" fmla="*/ 729 h 10015"/>
                <a:gd name="connsiteX22" fmla="*/ 5717 w 10000"/>
                <a:gd name="connsiteY22" fmla="*/ 658 h 10015"/>
                <a:gd name="connsiteX23" fmla="*/ 5643 w 10000"/>
                <a:gd name="connsiteY23" fmla="*/ 729 h 10015"/>
                <a:gd name="connsiteX24" fmla="*/ 1961 w 10000"/>
                <a:gd name="connsiteY24" fmla="*/ 729 h 10015"/>
                <a:gd name="connsiteX25" fmla="*/ 1961 w 10000"/>
                <a:gd name="connsiteY25" fmla="*/ 2263 h 10015"/>
                <a:gd name="connsiteX26" fmla="*/ 1285 w 10000"/>
                <a:gd name="connsiteY26" fmla="*/ 2263 h 10015"/>
                <a:gd name="connsiteX27" fmla="*/ 1285 w 10000"/>
                <a:gd name="connsiteY27" fmla="*/ 2556 h 10015"/>
                <a:gd name="connsiteX28" fmla="*/ 1285 w 10000"/>
                <a:gd name="connsiteY28" fmla="*/ 5179 h 10015"/>
                <a:gd name="connsiteX29" fmla="*/ 1135 w 10000"/>
                <a:gd name="connsiteY29" fmla="*/ 5327 h 10015"/>
                <a:gd name="connsiteX30" fmla="*/ 684 w 10000"/>
                <a:gd name="connsiteY30" fmla="*/ 5621 h 10015"/>
                <a:gd name="connsiteX31" fmla="*/ 609 w 10000"/>
                <a:gd name="connsiteY31" fmla="*/ 5986 h 10015"/>
                <a:gd name="connsiteX32" fmla="*/ 384 w 10000"/>
                <a:gd name="connsiteY32" fmla="*/ 6351 h 10015"/>
                <a:gd name="connsiteX33" fmla="*/ 234 w 10000"/>
                <a:gd name="connsiteY33" fmla="*/ 6935 h 10015"/>
                <a:gd name="connsiteX34" fmla="*/ 8 w 10000"/>
                <a:gd name="connsiteY34" fmla="*/ 7593 h 10015"/>
                <a:gd name="connsiteX35" fmla="*/ 384 w 10000"/>
                <a:gd name="connsiteY35" fmla="*/ 7664 h 10015"/>
                <a:gd name="connsiteX36" fmla="*/ 458 w 10000"/>
                <a:gd name="connsiteY36" fmla="*/ 8245 h 10015"/>
                <a:gd name="connsiteX37" fmla="*/ 684 w 10000"/>
                <a:gd name="connsiteY37" fmla="*/ 8831 h 10015"/>
                <a:gd name="connsiteX38" fmla="*/ 1059 w 10000"/>
                <a:gd name="connsiteY38" fmla="*/ 10000 h 10015"/>
                <a:gd name="connsiteX39" fmla="*/ 2461 w 10000"/>
                <a:gd name="connsiteY39" fmla="*/ 9330 h 10015"/>
                <a:gd name="connsiteX40" fmla="*/ 2576 w 10000"/>
                <a:gd name="connsiteY40" fmla="*/ 9452 h 10015"/>
                <a:gd name="connsiteX41" fmla="*/ 2711 w 10000"/>
                <a:gd name="connsiteY41" fmla="*/ 9629 h 10015"/>
                <a:gd name="connsiteX42" fmla="*/ 2979 w 10000"/>
                <a:gd name="connsiteY42" fmla="*/ 9527 h 10015"/>
                <a:gd name="connsiteX43" fmla="*/ 3757 w 10000"/>
                <a:gd name="connsiteY43" fmla="*/ 9508 h 10015"/>
                <a:gd name="connsiteX44" fmla="*/ 3863 w 10000"/>
                <a:gd name="connsiteY44" fmla="*/ 9778 h 10015"/>
                <a:gd name="connsiteX45" fmla="*/ 4219 w 10000"/>
                <a:gd name="connsiteY45" fmla="*/ 9620 h 10015"/>
                <a:gd name="connsiteX46" fmla="*/ 4373 w 10000"/>
                <a:gd name="connsiteY46" fmla="*/ 9293 h 10015"/>
                <a:gd name="connsiteX47" fmla="*/ 5064 w 10000"/>
                <a:gd name="connsiteY47" fmla="*/ 9311 h 10015"/>
                <a:gd name="connsiteX48" fmla="*/ 5457 w 10000"/>
                <a:gd name="connsiteY48" fmla="*/ 8984 h 10015"/>
                <a:gd name="connsiteX49" fmla="*/ 5884 w 10000"/>
                <a:gd name="connsiteY49" fmla="*/ 8740 h 10015"/>
                <a:gd name="connsiteX50" fmla="*/ 6040 w 10000"/>
                <a:gd name="connsiteY50" fmla="*/ 8368 h 10015"/>
                <a:gd name="connsiteX51" fmla="*/ 6382 w 10000"/>
                <a:gd name="connsiteY51" fmla="*/ 7982 h 10015"/>
                <a:gd name="connsiteX52" fmla="*/ 6428 w 10000"/>
                <a:gd name="connsiteY52" fmla="*/ 8181 h 10015"/>
                <a:gd name="connsiteX53" fmla="*/ 6444 w 10000"/>
                <a:gd name="connsiteY53" fmla="*/ 8428 h 10015"/>
                <a:gd name="connsiteX54" fmla="*/ 6766 w 10000"/>
                <a:gd name="connsiteY54" fmla="*/ 9268 h 10015"/>
                <a:gd name="connsiteX0" fmla="*/ 7446 w 10000"/>
                <a:gd name="connsiteY0" fmla="*/ 9488 h 10015"/>
                <a:gd name="connsiteX1" fmla="*/ 7446 w 10000"/>
                <a:gd name="connsiteY1" fmla="*/ 8978 h 10015"/>
                <a:gd name="connsiteX2" fmla="*/ 7821 w 10000"/>
                <a:gd name="connsiteY2" fmla="*/ 8978 h 10015"/>
                <a:gd name="connsiteX3" fmla="*/ 8047 w 10000"/>
                <a:gd name="connsiteY3" fmla="*/ 8029 h 10015"/>
                <a:gd name="connsiteX4" fmla="*/ 8648 w 10000"/>
                <a:gd name="connsiteY4" fmla="*/ 7444 h 10015"/>
                <a:gd name="connsiteX5" fmla="*/ 8873 w 10000"/>
                <a:gd name="connsiteY5" fmla="*/ 6351 h 10015"/>
                <a:gd name="connsiteX6" fmla="*/ 8722 w 10000"/>
                <a:gd name="connsiteY6" fmla="*/ 5768 h 10015"/>
                <a:gd name="connsiteX7" fmla="*/ 9098 w 10000"/>
                <a:gd name="connsiteY7" fmla="*/ 4525 h 10015"/>
                <a:gd name="connsiteX8" fmla="*/ 9399 w 10000"/>
                <a:gd name="connsiteY8" fmla="*/ 4160 h 10015"/>
                <a:gd name="connsiteX9" fmla="*/ 10000 w 10000"/>
                <a:gd name="connsiteY9" fmla="*/ 3576 h 10015"/>
                <a:gd name="connsiteX10" fmla="*/ 9774 w 10000"/>
                <a:gd name="connsiteY10" fmla="*/ 3502 h 10015"/>
                <a:gd name="connsiteX11" fmla="*/ 9399 w 10000"/>
                <a:gd name="connsiteY11" fmla="*/ 3140 h 10015"/>
                <a:gd name="connsiteX12" fmla="*/ 9173 w 10000"/>
                <a:gd name="connsiteY12" fmla="*/ 2044 h 10015"/>
                <a:gd name="connsiteX13" fmla="*/ 9173 w 10000"/>
                <a:gd name="connsiteY13" fmla="*/ 1460 h 10015"/>
                <a:gd name="connsiteX14" fmla="*/ 9098 w 10000"/>
                <a:gd name="connsiteY14" fmla="*/ 729 h 10015"/>
                <a:gd name="connsiteX15" fmla="*/ 8873 w 10000"/>
                <a:gd name="connsiteY15" fmla="*/ 511 h 10015"/>
                <a:gd name="connsiteX16" fmla="*/ 8497 w 10000"/>
                <a:gd name="connsiteY16" fmla="*/ 219 h 10015"/>
                <a:gd name="connsiteX17" fmla="*/ 8272 w 10000"/>
                <a:gd name="connsiteY17" fmla="*/ 0 h 10015"/>
                <a:gd name="connsiteX18" fmla="*/ 7821 w 10000"/>
                <a:gd name="connsiteY18" fmla="*/ 293 h 10015"/>
                <a:gd name="connsiteX19" fmla="*/ 7370 w 10000"/>
                <a:gd name="connsiteY19" fmla="*/ 729 h 10015"/>
                <a:gd name="connsiteX20" fmla="*/ 6769 w 10000"/>
                <a:gd name="connsiteY20" fmla="*/ 729 h 10015"/>
                <a:gd name="connsiteX21" fmla="*/ 5717 w 10000"/>
                <a:gd name="connsiteY21" fmla="*/ 729 h 10015"/>
                <a:gd name="connsiteX22" fmla="*/ 5717 w 10000"/>
                <a:gd name="connsiteY22" fmla="*/ 658 h 10015"/>
                <a:gd name="connsiteX23" fmla="*/ 5643 w 10000"/>
                <a:gd name="connsiteY23" fmla="*/ 729 h 10015"/>
                <a:gd name="connsiteX24" fmla="*/ 1961 w 10000"/>
                <a:gd name="connsiteY24" fmla="*/ 729 h 10015"/>
                <a:gd name="connsiteX25" fmla="*/ 1961 w 10000"/>
                <a:gd name="connsiteY25" fmla="*/ 2263 h 10015"/>
                <a:gd name="connsiteX26" fmla="*/ 1285 w 10000"/>
                <a:gd name="connsiteY26" fmla="*/ 2263 h 10015"/>
                <a:gd name="connsiteX27" fmla="*/ 1285 w 10000"/>
                <a:gd name="connsiteY27" fmla="*/ 2556 h 10015"/>
                <a:gd name="connsiteX28" fmla="*/ 1285 w 10000"/>
                <a:gd name="connsiteY28" fmla="*/ 5179 h 10015"/>
                <a:gd name="connsiteX29" fmla="*/ 1135 w 10000"/>
                <a:gd name="connsiteY29" fmla="*/ 5327 h 10015"/>
                <a:gd name="connsiteX30" fmla="*/ 684 w 10000"/>
                <a:gd name="connsiteY30" fmla="*/ 5621 h 10015"/>
                <a:gd name="connsiteX31" fmla="*/ 609 w 10000"/>
                <a:gd name="connsiteY31" fmla="*/ 5986 h 10015"/>
                <a:gd name="connsiteX32" fmla="*/ 384 w 10000"/>
                <a:gd name="connsiteY32" fmla="*/ 6351 h 10015"/>
                <a:gd name="connsiteX33" fmla="*/ 234 w 10000"/>
                <a:gd name="connsiteY33" fmla="*/ 6935 h 10015"/>
                <a:gd name="connsiteX34" fmla="*/ 8 w 10000"/>
                <a:gd name="connsiteY34" fmla="*/ 7593 h 10015"/>
                <a:gd name="connsiteX35" fmla="*/ 384 w 10000"/>
                <a:gd name="connsiteY35" fmla="*/ 7664 h 10015"/>
                <a:gd name="connsiteX36" fmla="*/ 458 w 10000"/>
                <a:gd name="connsiteY36" fmla="*/ 8245 h 10015"/>
                <a:gd name="connsiteX37" fmla="*/ 684 w 10000"/>
                <a:gd name="connsiteY37" fmla="*/ 8831 h 10015"/>
                <a:gd name="connsiteX38" fmla="*/ 1059 w 10000"/>
                <a:gd name="connsiteY38" fmla="*/ 10000 h 10015"/>
                <a:gd name="connsiteX39" fmla="*/ 2461 w 10000"/>
                <a:gd name="connsiteY39" fmla="*/ 9330 h 10015"/>
                <a:gd name="connsiteX40" fmla="*/ 2576 w 10000"/>
                <a:gd name="connsiteY40" fmla="*/ 9452 h 10015"/>
                <a:gd name="connsiteX41" fmla="*/ 2711 w 10000"/>
                <a:gd name="connsiteY41" fmla="*/ 9853 h 10015"/>
                <a:gd name="connsiteX42" fmla="*/ 2979 w 10000"/>
                <a:gd name="connsiteY42" fmla="*/ 9527 h 10015"/>
                <a:gd name="connsiteX43" fmla="*/ 3757 w 10000"/>
                <a:gd name="connsiteY43" fmla="*/ 9508 h 10015"/>
                <a:gd name="connsiteX44" fmla="*/ 3863 w 10000"/>
                <a:gd name="connsiteY44" fmla="*/ 9778 h 10015"/>
                <a:gd name="connsiteX45" fmla="*/ 4219 w 10000"/>
                <a:gd name="connsiteY45" fmla="*/ 9620 h 10015"/>
                <a:gd name="connsiteX46" fmla="*/ 4373 w 10000"/>
                <a:gd name="connsiteY46" fmla="*/ 9293 h 10015"/>
                <a:gd name="connsiteX47" fmla="*/ 5064 w 10000"/>
                <a:gd name="connsiteY47" fmla="*/ 9311 h 10015"/>
                <a:gd name="connsiteX48" fmla="*/ 5457 w 10000"/>
                <a:gd name="connsiteY48" fmla="*/ 8984 h 10015"/>
                <a:gd name="connsiteX49" fmla="*/ 5884 w 10000"/>
                <a:gd name="connsiteY49" fmla="*/ 8740 h 10015"/>
                <a:gd name="connsiteX50" fmla="*/ 6040 w 10000"/>
                <a:gd name="connsiteY50" fmla="*/ 8368 h 10015"/>
                <a:gd name="connsiteX51" fmla="*/ 6382 w 10000"/>
                <a:gd name="connsiteY51" fmla="*/ 7982 h 10015"/>
                <a:gd name="connsiteX52" fmla="*/ 6428 w 10000"/>
                <a:gd name="connsiteY52" fmla="*/ 8181 h 10015"/>
                <a:gd name="connsiteX53" fmla="*/ 6444 w 10000"/>
                <a:gd name="connsiteY53" fmla="*/ 8428 h 10015"/>
                <a:gd name="connsiteX54" fmla="*/ 6766 w 10000"/>
                <a:gd name="connsiteY54" fmla="*/ 9268 h 10015"/>
                <a:gd name="connsiteX0" fmla="*/ 7446 w 10000"/>
                <a:gd name="connsiteY0" fmla="*/ 9488 h 10015"/>
                <a:gd name="connsiteX1" fmla="*/ 7446 w 10000"/>
                <a:gd name="connsiteY1" fmla="*/ 8978 h 10015"/>
                <a:gd name="connsiteX2" fmla="*/ 7821 w 10000"/>
                <a:gd name="connsiteY2" fmla="*/ 8978 h 10015"/>
                <a:gd name="connsiteX3" fmla="*/ 8047 w 10000"/>
                <a:gd name="connsiteY3" fmla="*/ 8029 h 10015"/>
                <a:gd name="connsiteX4" fmla="*/ 8648 w 10000"/>
                <a:gd name="connsiteY4" fmla="*/ 7444 h 10015"/>
                <a:gd name="connsiteX5" fmla="*/ 8873 w 10000"/>
                <a:gd name="connsiteY5" fmla="*/ 6351 h 10015"/>
                <a:gd name="connsiteX6" fmla="*/ 8722 w 10000"/>
                <a:gd name="connsiteY6" fmla="*/ 5768 h 10015"/>
                <a:gd name="connsiteX7" fmla="*/ 9098 w 10000"/>
                <a:gd name="connsiteY7" fmla="*/ 4525 h 10015"/>
                <a:gd name="connsiteX8" fmla="*/ 9399 w 10000"/>
                <a:gd name="connsiteY8" fmla="*/ 4160 h 10015"/>
                <a:gd name="connsiteX9" fmla="*/ 10000 w 10000"/>
                <a:gd name="connsiteY9" fmla="*/ 3576 h 10015"/>
                <a:gd name="connsiteX10" fmla="*/ 9774 w 10000"/>
                <a:gd name="connsiteY10" fmla="*/ 3502 h 10015"/>
                <a:gd name="connsiteX11" fmla="*/ 9399 w 10000"/>
                <a:gd name="connsiteY11" fmla="*/ 3140 h 10015"/>
                <a:gd name="connsiteX12" fmla="*/ 9173 w 10000"/>
                <a:gd name="connsiteY12" fmla="*/ 2044 h 10015"/>
                <a:gd name="connsiteX13" fmla="*/ 9173 w 10000"/>
                <a:gd name="connsiteY13" fmla="*/ 1460 h 10015"/>
                <a:gd name="connsiteX14" fmla="*/ 9098 w 10000"/>
                <a:gd name="connsiteY14" fmla="*/ 729 h 10015"/>
                <a:gd name="connsiteX15" fmla="*/ 8873 w 10000"/>
                <a:gd name="connsiteY15" fmla="*/ 511 h 10015"/>
                <a:gd name="connsiteX16" fmla="*/ 8497 w 10000"/>
                <a:gd name="connsiteY16" fmla="*/ 219 h 10015"/>
                <a:gd name="connsiteX17" fmla="*/ 8272 w 10000"/>
                <a:gd name="connsiteY17" fmla="*/ 0 h 10015"/>
                <a:gd name="connsiteX18" fmla="*/ 7821 w 10000"/>
                <a:gd name="connsiteY18" fmla="*/ 293 h 10015"/>
                <a:gd name="connsiteX19" fmla="*/ 7370 w 10000"/>
                <a:gd name="connsiteY19" fmla="*/ 729 h 10015"/>
                <a:gd name="connsiteX20" fmla="*/ 6769 w 10000"/>
                <a:gd name="connsiteY20" fmla="*/ 729 h 10015"/>
                <a:gd name="connsiteX21" fmla="*/ 5717 w 10000"/>
                <a:gd name="connsiteY21" fmla="*/ 729 h 10015"/>
                <a:gd name="connsiteX22" fmla="*/ 5717 w 10000"/>
                <a:gd name="connsiteY22" fmla="*/ 658 h 10015"/>
                <a:gd name="connsiteX23" fmla="*/ 5643 w 10000"/>
                <a:gd name="connsiteY23" fmla="*/ 729 h 10015"/>
                <a:gd name="connsiteX24" fmla="*/ 1961 w 10000"/>
                <a:gd name="connsiteY24" fmla="*/ 729 h 10015"/>
                <a:gd name="connsiteX25" fmla="*/ 1961 w 10000"/>
                <a:gd name="connsiteY25" fmla="*/ 2263 h 10015"/>
                <a:gd name="connsiteX26" fmla="*/ 1285 w 10000"/>
                <a:gd name="connsiteY26" fmla="*/ 2263 h 10015"/>
                <a:gd name="connsiteX27" fmla="*/ 1285 w 10000"/>
                <a:gd name="connsiteY27" fmla="*/ 2556 h 10015"/>
                <a:gd name="connsiteX28" fmla="*/ 1285 w 10000"/>
                <a:gd name="connsiteY28" fmla="*/ 5179 h 10015"/>
                <a:gd name="connsiteX29" fmla="*/ 1135 w 10000"/>
                <a:gd name="connsiteY29" fmla="*/ 5327 h 10015"/>
                <a:gd name="connsiteX30" fmla="*/ 684 w 10000"/>
                <a:gd name="connsiteY30" fmla="*/ 5621 h 10015"/>
                <a:gd name="connsiteX31" fmla="*/ 609 w 10000"/>
                <a:gd name="connsiteY31" fmla="*/ 5986 h 10015"/>
                <a:gd name="connsiteX32" fmla="*/ 384 w 10000"/>
                <a:gd name="connsiteY32" fmla="*/ 6351 h 10015"/>
                <a:gd name="connsiteX33" fmla="*/ 234 w 10000"/>
                <a:gd name="connsiteY33" fmla="*/ 6935 h 10015"/>
                <a:gd name="connsiteX34" fmla="*/ 8 w 10000"/>
                <a:gd name="connsiteY34" fmla="*/ 7593 h 10015"/>
                <a:gd name="connsiteX35" fmla="*/ 384 w 10000"/>
                <a:gd name="connsiteY35" fmla="*/ 7664 h 10015"/>
                <a:gd name="connsiteX36" fmla="*/ 458 w 10000"/>
                <a:gd name="connsiteY36" fmla="*/ 8245 h 10015"/>
                <a:gd name="connsiteX37" fmla="*/ 684 w 10000"/>
                <a:gd name="connsiteY37" fmla="*/ 8831 h 10015"/>
                <a:gd name="connsiteX38" fmla="*/ 1059 w 10000"/>
                <a:gd name="connsiteY38" fmla="*/ 10000 h 10015"/>
                <a:gd name="connsiteX39" fmla="*/ 2461 w 10000"/>
                <a:gd name="connsiteY39" fmla="*/ 9330 h 10015"/>
                <a:gd name="connsiteX40" fmla="*/ 2576 w 10000"/>
                <a:gd name="connsiteY40" fmla="*/ 9452 h 10015"/>
                <a:gd name="connsiteX41" fmla="val 5555"/>
                <a:gd name="connsiteY41" fmla="*/ 9592 h 10015"/>
                <a:gd name="connsiteX42" fmla="*/ 2979 w 10000"/>
                <a:gd name="connsiteY42" fmla="*/ 9527 h 10015"/>
                <a:gd name="connsiteX43" fmla="*/ 3757 w 10000"/>
                <a:gd name="connsiteY43" fmla="*/ 9508 h 10015"/>
                <a:gd name="connsiteX44" fmla="*/ 3863 w 10000"/>
                <a:gd name="connsiteY44" fmla="*/ 9778 h 10015"/>
                <a:gd name="connsiteX45" fmla="*/ 4219 w 10000"/>
                <a:gd name="connsiteY45" fmla="*/ 9620 h 10015"/>
                <a:gd name="connsiteX46" fmla="*/ 4373 w 10000"/>
                <a:gd name="connsiteY46" fmla="*/ 9293 h 10015"/>
                <a:gd name="connsiteX47" fmla="*/ 5064 w 10000"/>
                <a:gd name="connsiteY47" fmla="*/ 9311 h 10015"/>
                <a:gd name="connsiteX48" fmla="*/ 5457 w 10000"/>
                <a:gd name="connsiteY48" fmla="*/ 8984 h 10015"/>
                <a:gd name="connsiteX49" fmla="*/ 5884 w 10000"/>
                <a:gd name="connsiteY49" fmla="*/ 8740 h 10015"/>
                <a:gd name="connsiteX50" fmla="*/ 6040 w 10000"/>
                <a:gd name="connsiteY50" fmla="*/ 8368 h 10015"/>
                <a:gd name="connsiteX51" fmla="*/ 6382 w 10000"/>
                <a:gd name="connsiteY51" fmla="*/ 7982 h 10015"/>
                <a:gd name="connsiteX52" fmla="*/ 6428 w 10000"/>
                <a:gd name="connsiteY52" fmla="*/ 8181 h 10015"/>
                <a:gd name="connsiteX53" fmla="*/ 6444 w 10000"/>
                <a:gd name="connsiteY53" fmla="*/ 8428 h 10015"/>
                <a:gd name="connsiteX54" fmla="*/ 6766 w 10000"/>
                <a:gd name="connsiteY54" fmla="*/ 9268 h 10015"/>
                <a:gd name="connsiteX0" fmla="*/ 7446 w 10000"/>
                <a:gd name="connsiteY0" fmla="*/ 9488 h 10015"/>
                <a:gd name="connsiteX1" fmla="*/ 7446 w 10000"/>
                <a:gd name="connsiteY1" fmla="*/ 8978 h 10015"/>
                <a:gd name="connsiteX2" fmla="*/ 7821 w 10000"/>
                <a:gd name="connsiteY2" fmla="*/ 8978 h 10015"/>
                <a:gd name="connsiteX3" fmla="*/ 8047 w 10000"/>
                <a:gd name="connsiteY3" fmla="*/ 8029 h 10015"/>
                <a:gd name="connsiteX4" fmla="*/ 8648 w 10000"/>
                <a:gd name="connsiteY4" fmla="*/ 7444 h 10015"/>
                <a:gd name="connsiteX5" fmla="*/ 8873 w 10000"/>
                <a:gd name="connsiteY5" fmla="*/ 6351 h 10015"/>
                <a:gd name="connsiteX6" fmla="*/ 8722 w 10000"/>
                <a:gd name="connsiteY6" fmla="*/ 5768 h 10015"/>
                <a:gd name="connsiteX7" fmla="*/ 9098 w 10000"/>
                <a:gd name="connsiteY7" fmla="*/ 4525 h 10015"/>
                <a:gd name="connsiteX8" fmla="*/ 9399 w 10000"/>
                <a:gd name="connsiteY8" fmla="*/ 4160 h 10015"/>
                <a:gd name="connsiteX9" fmla="*/ 10000 w 10000"/>
                <a:gd name="connsiteY9" fmla="*/ 3576 h 10015"/>
                <a:gd name="connsiteX10" fmla="*/ 9774 w 10000"/>
                <a:gd name="connsiteY10" fmla="*/ 3502 h 10015"/>
                <a:gd name="connsiteX11" fmla="*/ 9399 w 10000"/>
                <a:gd name="connsiteY11" fmla="*/ 3140 h 10015"/>
                <a:gd name="connsiteX12" fmla="*/ 9173 w 10000"/>
                <a:gd name="connsiteY12" fmla="*/ 2044 h 10015"/>
                <a:gd name="connsiteX13" fmla="*/ 9173 w 10000"/>
                <a:gd name="connsiteY13" fmla="*/ 1460 h 10015"/>
                <a:gd name="connsiteX14" fmla="*/ 9098 w 10000"/>
                <a:gd name="connsiteY14" fmla="*/ 729 h 10015"/>
                <a:gd name="connsiteX15" fmla="*/ 8873 w 10000"/>
                <a:gd name="connsiteY15" fmla="*/ 511 h 10015"/>
                <a:gd name="connsiteX16" fmla="*/ 8497 w 10000"/>
                <a:gd name="connsiteY16" fmla="*/ 219 h 10015"/>
                <a:gd name="connsiteX17" fmla="*/ 8272 w 10000"/>
                <a:gd name="connsiteY17" fmla="*/ 0 h 10015"/>
                <a:gd name="connsiteX18" fmla="*/ 7821 w 10000"/>
                <a:gd name="connsiteY18" fmla="*/ 293 h 10015"/>
                <a:gd name="connsiteX19" fmla="*/ 7370 w 10000"/>
                <a:gd name="connsiteY19" fmla="*/ 729 h 10015"/>
                <a:gd name="connsiteX20" fmla="*/ 6769 w 10000"/>
                <a:gd name="connsiteY20" fmla="*/ 729 h 10015"/>
                <a:gd name="connsiteX21" fmla="*/ 5717 w 10000"/>
                <a:gd name="connsiteY21" fmla="*/ 729 h 10015"/>
                <a:gd name="connsiteX22" fmla="*/ 5717 w 10000"/>
                <a:gd name="connsiteY22" fmla="*/ 658 h 10015"/>
                <a:gd name="connsiteX23" fmla="*/ 5643 w 10000"/>
                <a:gd name="connsiteY23" fmla="*/ 729 h 10015"/>
                <a:gd name="connsiteX24" fmla="*/ 1961 w 10000"/>
                <a:gd name="connsiteY24" fmla="*/ 729 h 10015"/>
                <a:gd name="connsiteX25" fmla="*/ 1961 w 10000"/>
                <a:gd name="connsiteY25" fmla="*/ 2263 h 10015"/>
                <a:gd name="connsiteX26" fmla="*/ 1285 w 10000"/>
                <a:gd name="connsiteY26" fmla="*/ 2263 h 10015"/>
                <a:gd name="connsiteX27" fmla="*/ 1285 w 10000"/>
                <a:gd name="connsiteY27" fmla="*/ 2556 h 10015"/>
                <a:gd name="connsiteX28" fmla="*/ 1285 w 10000"/>
                <a:gd name="connsiteY28" fmla="*/ 5179 h 10015"/>
                <a:gd name="connsiteX29" fmla="*/ 1135 w 10000"/>
                <a:gd name="connsiteY29" fmla="*/ 5327 h 10015"/>
                <a:gd name="connsiteX30" fmla="*/ 684 w 10000"/>
                <a:gd name="connsiteY30" fmla="*/ 5621 h 10015"/>
                <a:gd name="connsiteX31" fmla="*/ 609 w 10000"/>
                <a:gd name="connsiteY31" fmla="*/ 5986 h 10015"/>
                <a:gd name="connsiteX32" fmla="*/ 384 w 10000"/>
                <a:gd name="connsiteY32" fmla="*/ 6351 h 10015"/>
                <a:gd name="connsiteX33" fmla="*/ 234 w 10000"/>
                <a:gd name="connsiteY33" fmla="*/ 6935 h 10015"/>
                <a:gd name="connsiteX34" fmla="*/ 8 w 10000"/>
                <a:gd name="connsiteY34" fmla="*/ 7593 h 10015"/>
                <a:gd name="connsiteX35" fmla="*/ 384 w 10000"/>
                <a:gd name="connsiteY35" fmla="*/ 7664 h 10015"/>
                <a:gd name="connsiteX36" fmla="*/ 458 w 10000"/>
                <a:gd name="connsiteY36" fmla="*/ 8245 h 10015"/>
                <a:gd name="connsiteX37" fmla="*/ 684 w 10000"/>
                <a:gd name="connsiteY37" fmla="*/ 8831 h 10015"/>
                <a:gd name="connsiteX38" fmla="*/ 1059 w 10000"/>
                <a:gd name="connsiteY38" fmla="*/ 10000 h 10015"/>
                <a:gd name="connsiteX39" fmla="*/ 2461 w 10000"/>
                <a:gd name="connsiteY39" fmla="*/ 9330 h 10015"/>
                <a:gd name="connsiteX40" fmla="*/ 2566 w 10000"/>
                <a:gd name="connsiteY40" fmla="*/ 9433 h 10015"/>
                <a:gd name="connsiteX41" fmla="*/ 2721 w 10000"/>
                <a:gd name="connsiteY41" fmla="*/ 9592 h 10015"/>
                <a:gd name="connsiteX42" fmla="*/ 2979 w 10000"/>
                <a:gd name="connsiteY42" fmla="*/ 9527 h 10015"/>
                <a:gd name="connsiteX43" fmla="*/ 3757 w 10000"/>
                <a:gd name="connsiteY43" fmla="*/ 9508 h 10015"/>
                <a:gd name="connsiteX44" fmla="*/ 3863 w 10000"/>
                <a:gd name="connsiteY44" fmla="*/ 9778 h 10015"/>
                <a:gd name="connsiteX45" fmla="*/ 4219 w 10000"/>
                <a:gd name="connsiteY45" fmla="*/ 9620 h 10015"/>
                <a:gd name="connsiteX46" fmla="*/ 4373 w 10000"/>
                <a:gd name="connsiteY46" fmla="*/ 9293 h 10015"/>
                <a:gd name="connsiteX47" fmla="*/ 5064 w 10000"/>
                <a:gd name="connsiteY47" fmla="*/ 9311 h 10015"/>
                <a:gd name="connsiteX48" fmla="*/ 5457 w 10000"/>
                <a:gd name="connsiteY48" fmla="*/ 8984 h 10015"/>
                <a:gd name="connsiteX49" fmla="*/ 5884 w 10000"/>
                <a:gd name="connsiteY49" fmla="*/ 8740 h 10015"/>
                <a:gd name="connsiteX50" fmla="*/ 6040 w 10000"/>
                <a:gd name="connsiteY50" fmla="*/ 8368 h 10015"/>
                <a:gd name="connsiteX51" fmla="*/ 6382 w 10000"/>
                <a:gd name="connsiteY51" fmla="*/ 7982 h 10015"/>
                <a:gd name="connsiteX52" fmla="*/ 6428 w 10000"/>
                <a:gd name="connsiteY52" fmla="*/ 8181 h 10015"/>
                <a:gd name="connsiteX53" fmla="*/ 6444 w 10000"/>
                <a:gd name="connsiteY53" fmla="*/ 8428 h 10015"/>
                <a:gd name="connsiteX54" fmla="*/ 6766 w 10000"/>
                <a:gd name="connsiteY54" fmla="*/ 9268 h 10015"/>
                <a:gd name="connsiteX0" fmla="*/ 7446 w 10000"/>
                <a:gd name="connsiteY0" fmla="*/ 9488 h 10014"/>
                <a:gd name="connsiteX1" fmla="*/ 7446 w 10000"/>
                <a:gd name="connsiteY1" fmla="*/ 8978 h 10014"/>
                <a:gd name="connsiteX2" fmla="*/ 7821 w 10000"/>
                <a:gd name="connsiteY2" fmla="*/ 8978 h 10014"/>
                <a:gd name="connsiteX3" fmla="*/ 8047 w 10000"/>
                <a:gd name="connsiteY3" fmla="*/ 8029 h 10014"/>
                <a:gd name="connsiteX4" fmla="*/ 8648 w 10000"/>
                <a:gd name="connsiteY4" fmla="*/ 7444 h 10014"/>
                <a:gd name="connsiteX5" fmla="*/ 8873 w 10000"/>
                <a:gd name="connsiteY5" fmla="*/ 6351 h 10014"/>
                <a:gd name="connsiteX6" fmla="*/ 8722 w 10000"/>
                <a:gd name="connsiteY6" fmla="*/ 5768 h 10014"/>
                <a:gd name="connsiteX7" fmla="*/ 9098 w 10000"/>
                <a:gd name="connsiteY7" fmla="*/ 4525 h 10014"/>
                <a:gd name="connsiteX8" fmla="*/ 9399 w 10000"/>
                <a:gd name="connsiteY8" fmla="*/ 4160 h 10014"/>
                <a:gd name="connsiteX9" fmla="*/ 10000 w 10000"/>
                <a:gd name="connsiteY9" fmla="*/ 3576 h 10014"/>
                <a:gd name="connsiteX10" fmla="*/ 9774 w 10000"/>
                <a:gd name="connsiteY10" fmla="*/ 3502 h 10014"/>
                <a:gd name="connsiteX11" fmla="*/ 9399 w 10000"/>
                <a:gd name="connsiteY11" fmla="*/ 3140 h 10014"/>
                <a:gd name="connsiteX12" fmla="*/ 9173 w 10000"/>
                <a:gd name="connsiteY12" fmla="*/ 2044 h 10014"/>
                <a:gd name="connsiteX13" fmla="*/ 9173 w 10000"/>
                <a:gd name="connsiteY13" fmla="*/ 1460 h 10014"/>
                <a:gd name="connsiteX14" fmla="*/ 9098 w 10000"/>
                <a:gd name="connsiteY14" fmla="*/ 729 h 10014"/>
                <a:gd name="connsiteX15" fmla="*/ 8873 w 10000"/>
                <a:gd name="connsiteY15" fmla="*/ 511 h 10014"/>
                <a:gd name="connsiteX16" fmla="*/ 8497 w 10000"/>
                <a:gd name="connsiteY16" fmla="*/ 219 h 10014"/>
                <a:gd name="connsiteX17" fmla="*/ 8272 w 10000"/>
                <a:gd name="connsiteY17" fmla="*/ 0 h 10014"/>
                <a:gd name="connsiteX18" fmla="*/ 7821 w 10000"/>
                <a:gd name="connsiteY18" fmla="*/ 293 h 10014"/>
                <a:gd name="connsiteX19" fmla="*/ 7370 w 10000"/>
                <a:gd name="connsiteY19" fmla="*/ 729 h 10014"/>
                <a:gd name="connsiteX20" fmla="*/ 6769 w 10000"/>
                <a:gd name="connsiteY20" fmla="*/ 729 h 10014"/>
                <a:gd name="connsiteX21" fmla="*/ 5717 w 10000"/>
                <a:gd name="connsiteY21" fmla="*/ 729 h 10014"/>
                <a:gd name="connsiteX22" fmla="*/ 5717 w 10000"/>
                <a:gd name="connsiteY22" fmla="*/ 658 h 10014"/>
                <a:gd name="connsiteX23" fmla="*/ 5643 w 10000"/>
                <a:gd name="connsiteY23" fmla="*/ 729 h 10014"/>
                <a:gd name="connsiteX24" fmla="*/ 1961 w 10000"/>
                <a:gd name="connsiteY24" fmla="*/ 729 h 10014"/>
                <a:gd name="connsiteX25" fmla="*/ 1961 w 10000"/>
                <a:gd name="connsiteY25" fmla="*/ 2263 h 10014"/>
                <a:gd name="connsiteX26" fmla="*/ 1285 w 10000"/>
                <a:gd name="connsiteY26" fmla="*/ 2263 h 10014"/>
                <a:gd name="connsiteX27" fmla="*/ 1285 w 10000"/>
                <a:gd name="connsiteY27" fmla="*/ 2556 h 10014"/>
                <a:gd name="connsiteX28" fmla="*/ 1285 w 10000"/>
                <a:gd name="connsiteY28" fmla="*/ 5179 h 10014"/>
                <a:gd name="connsiteX29" fmla="*/ 1135 w 10000"/>
                <a:gd name="connsiteY29" fmla="*/ 5327 h 10014"/>
                <a:gd name="connsiteX30" fmla="*/ 684 w 10000"/>
                <a:gd name="connsiteY30" fmla="*/ 5621 h 10014"/>
                <a:gd name="connsiteX31" fmla="*/ 609 w 10000"/>
                <a:gd name="connsiteY31" fmla="*/ 5986 h 10014"/>
                <a:gd name="connsiteX32" fmla="*/ 384 w 10000"/>
                <a:gd name="connsiteY32" fmla="*/ 6351 h 10014"/>
                <a:gd name="connsiteX33" fmla="*/ 234 w 10000"/>
                <a:gd name="connsiteY33" fmla="*/ 6935 h 10014"/>
                <a:gd name="connsiteX34" fmla="*/ 8 w 10000"/>
                <a:gd name="connsiteY34" fmla="*/ 7593 h 10014"/>
                <a:gd name="connsiteX35" fmla="*/ 384 w 10000"/>
                <a:gd name="connsiteY35" fmla="*/ 7664 h 10014"/>
                <a:gd name="connsiteX36" fmla="*/ 458 w 10000"/>
                <a:gd name="connsiteY36" fmla="*/ 8245 h 10014"/>
                <a:gd name="connsiteX37" fmla="*/ 684 w 10000"/>
                <a:gd name="connsiteY37" fmla="*/ 8831 h 10014"/>
                <a:gd name="connsiteX38" fmla="*/ 1059 w 10000"/>
                <a:gd name="connsiteY38" fmla="*/ 10000 h 10014"/>
                <a:gd name="connsiteX39" fmla="*/ 2394 w 10000"/>
                <a:gd name="connsiteY39" fmla="*/ 9237 h 10014"/>
                <a:gd name="connsiteX40" fmla="*/ 2566 w 10000"/>
                <a:gd name="connsiteY40" fmla="*/ 9433 h 10014"/>
                <a:gd name="connsiteX41" fmla="*/ 2721 w 10000"/>
                <a:gd name="connsiteY41" fmla="*/ 9592 h 10014"/>
                <a:gd name="connsiteX42" fmla="*/ 2979 w 10000"/>
                <a:gd name="connsiteY42" fmla="*/ 9527 h 10014"/>
                <a:gd name="connsiteX43" fmla="*/ 3757 w 10000"/>
                <a:gd name="connsiteY43" fmla="*/ 9508 h 10014"/>
                <a:gd name="connsiteX44" fmla="*/ 3863 w 10000"/>
                <a:gd name="connsiteY44" fmla="*/ 9778 h 10014"/>
                <a:gd name="connsiteX45" fmla="*/ 4219 w 10000"/>
                <a:gd name="connsiteY45" fmla="*/ 9620 h 10014"/>
                <a:gd name="connsiteX46" fmla="*/ 4373 w 10000"/>
                <a:gd name="connsiteY46" fmla="*/ 9293 h 10014"/>
                <a:gd name="connsiteX47" fmla="*/ 5064 w 10000"/>
                <a:gd name="connsiteY47" fmla="*/ 9311 h 10014"/>
                <a:gd name="connsiteX48" fmla="*/ 5457 w 10000"/>
                <a:gd name="connsiteY48" fmla="*/ 8984 h 10014"/>
                <a:gd name="connsiteX49" fmla="*/ 5884 w 10000"/>
                <a:gd name="connsiteY49" fmla="*/ 8740 h 10014"/>
                <a:gd name="connsiteX50" fmla="*/ 6040 w 10000"/>
                <a:gd name="connsiteY50" fmla="*/ 8368 h 10014"/>
                <a:gd name="connsiteX51" fmla="*/ 6382 w 10000"/>
                <a:gd name="connsiteY51" fmla="*/ 7982 h 10014"/>
                <a:gd name="connsiteX52" fmla="*/ 6428 w 10000"/>
                <a:gd name="connsiteY52" fmla="*/ 8181 h 10014"/>
                <a:gd name="connsiteX53" fmla="*/ 6444 w 10000"/>
                <a:gd name="connsiteY53" fmla="*/ 8428 h 10014"/>
                <a:gd name="connsiteX54" fmla="*/ 6766 w 10000"/>
                <a:gd name="connsiteY54" fmla="*/ 9268 h 10014"/>
                <a:gd name="connsiteX0" fmla="*/ 7446 w 10000"/>
                <a:gd name="connsiteY0" fmla="val 5000"/>
                <a:gd name="connsiteX1" fmla="*/ 7446 w 10000"/>
                <a:gd name="connsiteY1" fmla="*/ 8978 h 10009"/>
                <a:gd name="connsiteX2" fmla="*/ 7821 w 10000"/>
                <a:gd name="connsiteY2" fmla="*/ 8978 h 10009"/>
                <a:gd name="connsiteX3" fmla="*/ 8047 w 10000"/>
                <a:gd name="connsiteY3" fmla="*/ 8029 h 10009"/>
                <a:gd name="connsiteX4" fmla="*/ 8648 w 10000"/>
                <a:gd name="connsiteY4" fmla="*/ 7444 h 10009"/>
                <a:gd name="connsiteX5" fmla="*/ 8873 w 10000"/>
                <a:gd name="connsiteY5" fmla="*/ 6351 h 10009"/>
                <a:gd name="connsiteX6" fmla="*/ 8722 w 10000"/>
                <a:gd name="connsiteY6" fmla="*/ 5768 h 10009"/>
                <a:gd name="connsiteX7" fmla="*/ 9098 w 10000"/>
                <a:gd name="connsiteY7" fmla="*/ 4525 h 10009"/>
                <a:gd name="connsiteX8" fmla="*/ 9399 w 10000"/>
                <a:gd name="connsiteY8" fmla="*/ 4160 h 10009"/>
                <a:gd name="connsiteX9" fmla="*/ 10000 w 10000"/>
                <a:gd name="connsiteY9" fmla="*/ 3576 h 10009"/>
                <a:gd name="connsiteX10" fmla="*/ 9774 w 10000"/>
                <a:gd name="connsiteY10" fmla="*/ 3502 h 10009"/>
                <a:gd name="connsiteX11" fmla="*/ 9399 w 10000"/>
                <a:gd name="connsiteY11" fmla="*/ 3140 h 10009"/>
                <a:gd name="connsiteX12" fmla="*/ 9173 w 10000"/>
                <a:gd name="connsiteY12" fmla="*/ 2044 h 10009"/>
                <a:gd name="connsiteX13" fmla="*/ 9173 w 10000"/>
                <a:gd name="connsiteY13" fmla="*/ 1460 h 10009"/>
                <a:gd name="connsiteX14" fmla="*/ 9098 w 10000"/>
                <a:gd name="connsiteY14" fmla="*/ 729 h 10009"/>
                <a:gd name="connsiteX15" fmla="*/ 8873 w 10000"/>
                <a:gd name="connsiteY15" fmla="*/ 511 h 10009"/>
                <a:gd name="connsiteX16" fmla="*/ 8497 w 10000"/>
                <a:gd name="connsiteY16" fmla="*/ 219 h 10009"/>
                <a:gd name="connsiteX17" fmla="*/ 8272 w 10000"/>
                <a:gd name="connsiteY17" fmla="*/ 0 h 10009"/>
                <a:gd name="connsiteX18" fmla="*/ 7821 w 10000"/>
                <a:gd name="connsiteY18" fmla="*/ 293 h 10009"/>
                <a:gd name="connsiteX19" fmla="*/ 7370 w 10000"/>
                <a:gd name="connsiteY19" fmla="*/ 729 h 10009"/>
                <a:gd name="connsiteX20" fmla="*/ 6769 w 10000"/>
                <a:gd name="connsiteY20" fmla="*/ 729 h 10009"/>
                <a:gd name="connsiteX21" fmla="*/ 5717 w 10000"/>
                <a:gd name="connsiteY21" fmla="*/ 729 h 10009"/>
                <a:gd name="connsiteX22" fmla="*/ 5717 w 10000"/>
                <a:gd name="connsiteY22" fmla="*/ 658 h 10009"/>
                <a:gd name="connsiteX23" fmla="*/ 5643 w 10000"/>
                <a:gd name="connsiteY23" fmla="*/ 729 h 10009"/>
                <a:gd name="connsiteX24" fmla="*/ 1961 w 10000"/>
                <a:gd name="connsiteY24" fmla="*/ 729 h 10009"/>
                <a:gd name="connsiteX25" fmla="*/ 1961 w 10000"/>
                <a:gd name="connsiteY25" fmla="*/ 2263 h 10009"/>
                <a:gd name="connsiteX26" fmla="*/ 1285 w 10000"/>
                <a:gd name="connsiteY26" fmla="*/ 2263 h 10009"/>
                <a:gd name="connsiteX27" fmla="*/ 1285 w 10000"/>
                <a:gd name="connsiteY27" fmla="*/ 2556 h 10009"/>
                <a:gd name="connsiteX28" fmla="*/ 1285 w 10000"/>
                <a:gd name="connsiteY28" fmla="*/ 5179 h 10009"/>
                <a:gd name="connsiteX29" fmla="*/ 1135 w 10000"/>
                <a:gd name="connsiteY29" fmla="*/ 5327 h 10009"/>
                <a:gd name="connsiteX30" fmla="*/ 684 w 10000"/>
                <a:gd name="connsiteY30" fmla="*/ 5621 h 10009"/>
                <a:gd name="connsiteX31" fmla="*/ 609 w 10000"/>
                <a:gd name="connsiteY31" fmla="*/ 5986 h 10009"/>
                <a:gd name="connsiteX32" fmla="*/ 384 w 10000"/>
                <a:gd name="connsiteY32" fmla="*/ 6351 h 10009"/>
                <a:gd name="connsiteX33" fmla="*/ 234 w 10000"/>
                <a:gd name="connsiteY33" fmla="*/ 6935 h 10009"/>
                <a:gd name="connsiteX34" fmla="*/ 8 w 10000"/>
                <a:gd name="connsiteY34" fmla="*/ 7593 h 10009"/>
                <a:gd name="connsiteX35" fmla="*/ 384 w 10000"/>
                <a:gd name="connsiteY35" fmla="*/ 7664 h 10009"/>
                <a:gd name="connsiteX36" fmla="*/ 458 w 10000"/>
                <a:gd name="connsiteY36" fmla="*/ 8245 h 10009"/>
                <a:gd name="connsiteX37" fmla="*/ 684 w 10000"/>
                <a:gd name="connsiteY37" fmla="*/ 8831 h 10009"/>
                <a:gd name="connsiteX38" fmla="*/ 1059 w 10000"/>
                <a:gd name="connsiteY38" fmla="*/ 10000 h 10009"/>
                <a:gd name="connsiteX39" fmla="*/ 2394 w 10000"/>
                <a:gd name="connsiteY39" fmla="*/ 9237 h 10009"/>
                <a:gd name="connsiteX40" fmla="*/ 2566 w 10000"/>
                <a:gd name="connsiteY40" fmla="*/ 9433 h 10009"/>
                <a:gd name="connsiteX41" fmla="*/ 2721 w 10000"/>
                <a:gd name="connsiteY41" fmla="*/ 9592 h 10009"/>
                <a:gd name="connsiteX42" fmla="*/ 2979 w 10000"/>
                <a:gd name="connsiteY42" fmla="*/ 9527 h 10009"/>
                <a:gd name="connsiteX43" fmla="*/ 3757 w 10000"/>
                <a:gd name="connsiteY43" fmla="*/ 9508 h 10009"/>
                <a:gd name="connsiteX44" fmla="*/ 3863 w 10000"/>
                <a:gd name="connsiteY44" fmla="*/ 9778 h 10009"/>
                <a:gd name="connsiteX45" fmla="*/ 4219 w 10000"/>
                <a:gd name="connsiteY45" fmla="*/ 9620 h 10009"/>
                <a:gd name="connsiteX46" fmla="*/ 4373 w 10000"/>
                <a:gd name="connsiteY46" fmla="*/ 9293 h 10009"/>
                <a:gd name="connsiteX47" fmla="*/ 5064 w 10000"/>
                <a:gd name="connsiteY47" fmla="*/ 9311 h 10009"/>
                <a:gd name="connsiteX48" fmla="*/ 5457 w 10000"/>
                <a:gd name="connsiteY48" fmla="*/ 8984 h 10009"/>
                <a:gd name="connsiteX49" fmla="*/ 5884 w 10000"/>
                <a:gd name="connsiteY49" fmla="*/ 8740 h 10009"/>
                <a:gd name="connsiteX50" fmla="*/ 6040 w 10000"/>
                <a:gd name="connsiteY50" fmla="*/ 8368 h 10009"/>
                <a:gd name="connsiteX51" fmla="*/ 6382 w 10000"/>
                <a:gd name="connsiteY51" fmla="*/ 7982 h 10009"/>
                <a:gd name="connsiteX52" fmla="*/ 6428 w 10000"/>
                <a:gd name="connsiteY52" fmla="*/ 8181 h 10009"/>
                <a:gd name="connsiteX53" fmla="*/ 6444 w 10000"/>
                <a:gd name="connsiteY53" fmla="*/ 8428 h 10009"/>
                <a:gd name="connsiteX54" fmla="*/ 6766 w 10000"/>
                <a:gd name="connsiteY54" fmla="*/ 9268 h 10009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2413 w 10000"/>
                <a:gd name="connsiteY39" fmla="*/ 9209 h 10008"/>
                <a:gd name="connsiteX40" fmla="*/ 2566 w 10000"/>
                <a:gd name="connsiteY40" fmla="*/ 9433 h 10008"/>
                <a:gd name="connsiteX41" fmla="*/ 2721 w 10000"/>
                <a:gd name="connsiteY41" fmla="*/ 9592 h 10008"/>
                <a:gd name="connsiteX42" fmla="*/ 2979 w 10000"/>
                <a:gd name="connsiteY42" fmla="*/ 9527 h 10008"/>
                <a:gd name="connsiteX43" fmla="*/ 3757 w 10000"/>
                <a:gd name="connsiteY43" fmla="*/ 9508 h 10008"/>
                <a:gd name="connsiteX44" fmla="*/ 3863 w 10000"/>
                <a:gd name="connsiteY44" fmla="*/ 9778 h 10008"/>
                <a:gd name="connsiteX45" fmla="*/ 4219 w 10000"/>
                <a:gd name="connsiteY45" fmla="*/ 9620 h 10008"/>
                <a:gd name="connsiteX46" fmla="*/ 4373 w 10000"/>
                <a:gd name="connsiteY46" fmla="*/ 9293 h 10008"/>
                <a:gd name="connsiteX47" fmla="*/ 5064 w 10000"/>
                <a:gd name="connsiteY47" fmla="*/ 9311 h 10008"/>
                <a:gd name="connsiteX48" fmla="*/ 5457 w 10000"/>
                <a:gd name="connsiteY48" fmla="*/ 8984 h 10008"/>
                <a:gd name="connsiteX49" fmla="*/ 5884 w 10000"/>
                <a:gd name="connsiteY49" fmla="*/ 8740 h 10008"/>
                <a:gd name="connsiteX50" fmla="*/ 6040 w 10000"/>
                <a:gd name="connsiteY50" fmla="*/ 8368 h 10008"/>
                <a:gd name="connsiteX51" fmla="*/ 6382 w 10000"/>
                <a:gd name="connsiteY51" fmla="*/ 7982 h 10008"/>
                <a:gd name="connsiteX52" fmla="*/ 6428 w 10000"/>
                <a:gd name="connsiteY52" fmla="*/ 8181 h 10008"/>
                <a:gd name="connsiteX53" fmla="*/ 6444 w 10000"/>
                <a:gd name="connsiteY53" fmla="*/ 8428 h 10008"/>
                <a:gd name="connsiteX54" fmla="*/ 6766 w 10000"/>
                <a:gd name="connsiteY54" fmla="*/ 9268 h 10008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2413 w 10000"/>
                <a:gd name="connsiteY39" fmla="*/ 9209 h 10008"/>
                <a:gd name="connsiteX40" fmla="*/ 2566 w 10000"/>
                <a:gd name="connsiteY40" fmla="*/ 9433 h 10008"/>
                <a:gd name="connsiteX41" fmla="*/ 2721 w 10000"/>
                <a:gd name="connsiteY41" fmla="*/ 9592 h 10008"/>
                <a:gd name="connsiteX42" fmla="*/ 2979 w 10000"/>
                <a:gd name="connsiteY42" fmla="*/ 9527 h 10008"/>
                <a:gd name="connsiteX43" fmla="*/ 3757 w 10000"/>
                <a:gd name="connsiteY43" fmla="*/ 9508 h 10008"/>
                <a:gd name="connsiteX44" fmla="*/ 3863 w 10000"/>
                <a:gd name="connsiteY44" fmla="*/ 9778 h 10008"/>
                <a:gd name="connsiteX45" fmla="*/ 4219 w 10000"/>
                <a:gd name="connsiteY45" fmla="*/ 9620 h 10008"/>
                <a:gd name="connsiteX46" fmla="*/ 4373 w 10000"/>
                <a:gd name="connsiteY46" fmla="*/ 9293 h 10008"/>
                <a:gd name="connsiteX47" fmla="*/ 5064 w 10000"/>
                <a:gd name="connsiteY47" fmla="*/ 9311 h 10008"/>
                <a:gd name="connsiteX48" fmla="*/ 5457 w 10000"/>
                <a:gd name="connsiteY48" fmla="*/ 8984 h 10008"/>
                <a:gd name="connsiteX49" fmla="*/ 5884 w 10000"/>
                <a:gd name="connsiteY49" fmla="*/ 8740 h 10008"/>
                <a:gd name="connsiteX50" fmla="*/ 6040 w 10000"/>
                <a:gd name="connsiteY50" fmla="*/ 8368 h 10008"/>
                <a:gd name="connsiteX51" fmla="*/ 6382 w 10000"/>
                <a:gd name="connsiteY51" fmla="*/ 7982 h 10008"/>
                <a:gd name="connsiteX52" fmla="*/ 6428 w 10000"/>
                <a:gd name="connsiteY52" fmla="*/ 8181 h 10008"/>
                <a:gd name="connsiteX53" fmla="*/ 6444 w 10000"/>
                <a:gd name="connsiteY53" fmla="*/ 8428 h 10008"/>
                <a:gd name="connsiteX54" fmla="*/ 6766 w 10000"/>
                <a:gd name="connsiteY54" fmla="*/ 9268 h 10008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2413 w 10000"/>
                <a:gd name="connsiteY39" fmla="*/ 9209 h 10008"/>
                <a:gd name="connsiteX40" fmla="*/ 2566 w 10000"/>
                <a:gd name="connsiteY40" fmla="*/ 9433 h 10008"/>
                <a:gd name="connsiteX41" fmla="*/ 2605 w 10000"/>
                <a:gd name="connsiteY41" fmla="*/ 9461 h 10008"/>
                <a:gd name="connsiteX42" fmla="*/ 2721 w 10000"/>
                <a:gd name="connsiteY42" fmla="*/ 9592 h 10008"/>
                <a:gd name="connsiteX43" fmla="*/ 2979 w 10000"/>
                <a:gd name="connsiteY43" fmla="*/ 9527 h 10008"/>
                <a:gd name="connsiteX44" fmla="*/ 3757 w 10000"/>
                <a:gd name="connsiteY44" fmla="*/ 9508 h 10008"/>
                <a:gd name="connsiteX45" fmla="*/ 3863 w 10000"/>
                <a:gd name="connsiteY45" fmla="*/ 9778 h 10008"/>
                <a:gd name="connsiteX46" fmla="*/ 4219 w 10000"/>
                <a:gd name="connsiteY46" fmla="*/ 9620 h 10008"/>
                <a:gd name="connsiteX47" fmla="*/ 4373 w 10000"/>
                <a:gd name="connsiteY47" fmla="*/ 9293 h 10008"/>
                <a:gd name="connsiteX48" fmla="*/ 5064 w 10000"/>
                <a:gd name="connsiteY48" fmla="*/ 9311 h 10008"/>
                <a:gd name="connsiteX49" fmla="*/ 5457 w 10000"/>
                <a:gd name="connsiteY49" fmla="*/ 8984 h 10008"/>
                <a:gd name="connsiteX50" fmla="*/ 5884 w 10000"/>
                <a:gd name="connsiteY50" fmla="*/ 8740 h 10008"/>
                <a:gd name="connsiteX51" fmla="*/ 6040 w 10000"/>
                <a:gd name="connsiteY51" fmla="*/ 8368 h 10008"/>
                <a:gd name="connsiteX52" fmla="*/ 6382 w 10000"/>
                <a:gd name="connsiteY52" fmla="*/ 7982 h 10008"/>
                <a:gd name="connsiteX53" fmla="*/ 6428 w 10000"/>
                <a:gd name="connsiteY53" fmla="*/ 8181 h 10008"/>
                <a:gd name="connsiteX54" fmla="*/ 6444 w 10000"/>
                <a:gd name="connsiteY54" fmla="*/ 8428 h 10008"/>
                <a:gd name="connsiteX55" fmla="*/ 6766 w 10000"/>
                <a:gd name="connsiteY55" fmla="*/ 9268 h 10008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1817 w 10000"/>
                <a:gd name="connsiteY39" fmla="*/ 9069 h 10008"/>
                <a:gd name="connsiteX40" fmla="*/ 2566 w 10000"/>
                <a:gd name="connsiteY40" fmla="*/ 9433 h 10008"/>
                <a:gd name="connsiteX41" fmla="*/ 2605 w 10000"/>
                <a:gd name="connsiteY41" fmla="*/ 9461 h 10008"/>
                <a:gd name="connsiteX42" fmla="*/ 2721 w 10000"/>
                <a:gd name="connsiteY42" fmla="*/ 9592 h 10008"/>
                <a:gd name="connsiteX43" fmla="*/ 2979 w 10000"/>
                <a:gd name="connsiteY43" fmla="*/ 9527 h 10008"/>
                <a:gd name="connsiteX44" fmla="*/ 3757 w 10000"/>
                <a:gd name="connsiteY44" fmla="*/ 9508 h 10008"/>
                <a:gd name="connsiteX45" fmla="*/ 3863 w 10000"/>
                <a:gd name="connsiteY45" fmla="*/ 9778 h 10008"/>
                <a:gd name="connsiteX46" fmla="*/ 4219 w 10000"/>
                <a:gd name="connsiteY46" fmla="*/ 9620 h 10008"/>
                <a:gd name="connsiteX47" fmla="*/ 4373 w 10000"/>
                <a:gd name="connsiteY47" fmla="*/ 9293 h 10008"/>
                <a:gd name="connsiteX48" fmla="*/ 5064 w 10000"/>
                <a:gd name="connsiteY48" fmla="*/ 9311 h 10008"/>
                <a:gd name="connsiteX49" fmla="*/ 5457 w 10000"/>
                <a:gd name="connsiteY49" fmla="*/ 8984 h 10008"/>
                <a:gd name="connsiteX50" fmla="*/ 5884 w 10000"/>
                <a:gd name="connsiteY50" fmla="*/ 8740 h 10008"/>
                <a:gd name="connsiteX51" fmla="*/ 6040 w 10000"/>
                <a:gd name="connsiteY51" fmla="*/ 8368 h 10008"/>
                <a:gd name="connsiteX52" fmla="*/ 6382 w 10000"/>
                <a:gd name="connsiteY52" fmla="*/ 7982 h 10008"/>
                <a:gd name="connsiteX53" fmla="*/ 6428 w 10000"/>
                <a:gd name="connsiteY53" fmla="*/ 8181 h 10008"/>
                <a:gd name="connsiteX54" fmla="*/ 6444 w 10000"/>
                <a:gd name="connsiteY54" fmla="*/ 8428 h 10008"/>
                <a:gd name="connsiteX55" fmla="*/ 6766 w 10000"/>
                <a:gd name="connsiteY55" fmla="*/ 9268 h 10008"/>
                <a:gd name="connsiteX0" fmla="*/ 7446 w 10000"/>
                <a:gd name="connsiteY0" fmla="*/ 9488 h 10028"/>
                <a:gd name="connsiteX1" fmla="*/ 7446 w 10000"/>
                <a:gd name="connsiteY1" fmla="*/ 8978 h 10028"/>
                <a:gd name="connsiteX2" fmla="*/ 7821 w 10000"/>
                <a:gd name="connsiteY2" fmla="*/ 8978 h 10028"/>
                <a:gd name="connsiteX3" fmla="*/ 8047 w 10000"/>
                <a:gd name="connsiteY3" fmla="*/ 8029 h 10028"/>
                <a:gd name="connsiteX4" fmla="*/ 8648 w 10000"/>
                <a:gd name="connsiteY4" fmla="*/ 7444 h 10028"/>
                <a:gd name="connsiteX5" fmla="*/ 8873 w 10000"/>
                <a:gd name="connsiteY5" fmla="*/ 6351 h 10028"/>
                <a:gd name="connsiteX6" fmla="*/ 8722 w 10000"/>
                <a:gd name="connsiteY6" fmla="*/ 5768 h 10028"/>
                <a:gd name="connsiteX7" fmla="*/ 9098 w 10000"/>
                <a:gd name="connsiteY7" fmla="*/ 4525 h 10028"/>
                <a:gd name="connsiteX8" fmla="*/ 9399 w 10000"/>
                <a:gd name="connsiteY8" fmla="*/ 4160 h 10028"/>
                <a:gd name="connsiteX9" fmla="*/ 10000 w 10000"/>
                <a:gd name="connsiteY9" fmla="*/ 3576 h 10028"/>
                <a:gd name="connsiteX10" fmla="*/ 9774 w 10000"/>
                <a:gd name="connsiteY10" fmla="*/ 3502 h 10028"/>
                <a:gd name="connsiteX11" fmla="*/ 9399 w 10000"/>
                <a:gd name="connsiteY11" fmla="*/ 3140 h 10028"/>
                <a:gd name="connsiteX12" fmla="*/ 9173 w 10000"/>
                <a:gd name="connsiteY12" fmla="*/ 2044 h 10028"/>
                <a:gd name="connsiteX13" fmla="*/ 9173 w 10000"/>
                <a:gd name="connsiteY13" fmla="*/ 1460 h 10028"/>
                <a:gd name="connsiteX14" fmla="*/ 9098 w 10000"/>
                <a:gd name="connsiteY14" fmla="*/ 729 h 10028"/>
                <a:gd name="connsiteX15" fmla="*/ 8873 w 10000"/>
                <a:gd name="connsiteY15" fmla="*/ 511 h 10028"/>
                <a:gd name="connsiteX16" fmla="*/ 8497 w 10000"/>
                <a:gd name="connsiteY16" fmla="*/ 219 h 10028"/>
                <a:gd name="connsiteX17" fmla="*/ 8272 w 10000"/>
                <a:gd name="connsiteY17" fmla="*/ 0 h 10028"/>
                <a:gd name="connsiteX18" fmla="*/ 7821 w 10000"/>
                <a:gd name="connsiteY18" fmla="*/ 293 h 10028"/>
                <a:gd name="connsiteX19" fmla="*/ 7370 w 10000"/>
                <a:gd name="connsiteY19" fmla="*/ 729 h 10028"/>
                <a:gd name="connsiteX20" fmla="*/ 6769 w 10000"/>
                <a:gd name="connsiteY20" fmla="*/ 729 h 10028"/>
                <a:gd name="connsiteX21" fmla="*/ 5717 w 10000"/>
                <a:gd name="connsiteY21" fmla="*/ 729 h 10028"/>
                <a:gd name="connsiteX22" fmla="*/ 5717 w 10000"/>
                <a:gd name="connsiteY22" fmla="*/ 658 h 10028"/>
                <a:gd name="connsiteX23" fmla="*/ 5643 w 10000"/>
                <a:gd name="connsiteY23" fmla="*/ 729 h 10028"/>
                <a:gd name="connsiteX24" fmla="*/ 1961 w 10000"/>
                <a:gd name="connsiteY24" fmla="*/ 729 h 10028"/>
                <a:gd name="connsiteX25" fmla="*/ 1961 w 10000"/>
                <a:gd name="connsiteY25" fmla="*/ 2263 h 10028"/>
                <a:gd name="connsiteX26" fmla="*/ 1285 w 10000"/>
                <a:gd name="connsiteY26" fmla="*/ 2263 h 10028"/>
                <a:gd name="connsiteX27" fmla="*/ 1285 w 10000"/>
                <a:gd name="connsiteY27" fmla="*/ 2556 h 10028"/>
                <a:gd name="connsiteX28" fmla="*/ 1285 w 10000"/>
                <a:gd name="connsiteY28" fmla="*/ 5179 h 10028"/>
                <a:gd name="connsiteX29" fmla="*/ 1135 w 10000"/>
                <a:gd name="connsiteY29" fmla="*/ 5327 h 10028"/>
                <a:gd name="connsiteX30" fmla="*/ 684 w 10000"/>
                <a:gd name="connsiteY30" fmla="*/ 5621 h 10028"/>
                <a:gd name="connsiteX31" fmla="*/ 609 w 10000"/>
                <a:gd name="connsiteY31" fmla="*/ 5986 h 10028"/>
                <a:gd name="connsiteX32" fmla="*/ 384 w 10000"/>
                <a:gd name="connsiteY32" fmla="*/ 6351 h 10028"/>
                <a:gd name="connsiteX33" fmla="*/ 234 w 10000"/>
                <a:gd name="connsiteY33" fmla="*/ 6935 h 10028"/>
                <a:gd name="connsiteX34" fmla="*/ 8 w 10000"/>
                <a:gd name="connsiteY34" fmla="*/ 7593 h 10028"/>
                <a:gd name="connsiteX35" fmla="*/ 384 w 10000"/>
                <a:gd name="connsiteY35" fmla="*/ 7664 h 10028"/>
                <a:gd name="connsiteX36" fmla="*/ 458 w 10000"/>
                <a:gd name="connsiteY36" fmla="*/ 8245 h 10028"/>
                <a:gd name="connsiteX37" fmla="*/ 684 w 10000"/>
                <a:gd name="connsiteY37" fmla="*/ 8831 h 10028"/>
                <a:gd name="connsiteX38" fmla="*/ 1059 w 10000"/>
                <a:gd name="connsiteY38" fmla="*/ 10000 h 10028"/>
                <a:gd name="connsiteX39" fmla="*/ 1817 w 10000"/>
                <a:gd name="connsiteY39" fmla="*/ 9069 h 10028"/>
                <a:gd name="connsiteX40" fmla="*/ 2566 w 10000"/>
                <a:gd name="connsiteY40" fmla="*/ 9433 h 10028"/>
                <a:gd name="connsiteX41" fmla="*/ 2605 w 10000"/>
                <a:gd name="connsiteY41" fmla="*/ 9461 h 10028"/>
                <a:gd name="connsiteX42" fmla="*/ 2721 w 10000"/>
                <a:gd name="connsiteY42" fmla="*/ 9592 h 10028"/>
                <a:gd name="connsiteX43" fmla="*/ 2979 w 10000"/>
                <a:gd name="connsiteY43" fmla="*/ 9527 h 10028"/>
                <a:gd name="connsiteX44" fmla="*/ 3757 w 10000"/>
                <a:gd name="connsiteY44" fmla="*/ 9508 h 10028"/>
                <a:gd name="connsiteX45" fmla="*/ 3863 w 10000"/>
                <a:gd name="connsiteY45" fmla="*/ 9778 h 10028"/>
                <a:gd name="connsiteX46" fmla="*/ 4219 w 10000"/>
                <a:gd name="connsiteY46" fmla="*/ 9620 h 10028"/>
                <a:gd name="connsiteX47" fmla="*/ 4373 w 10000"/>
                <a:gd name="connsiteY47" fmla="*/ 9293 h 10028"/>
                <a:gd name="connsiteX48" fmla="*/ 5064 w 10000"/>
                <a:gd name="connsiteY48" fmla="*/ 9311 h 10028"/>
                <a:gd name="connsiteX49" fmla="*/ 5457 w 10000"/>
                <a:gd name="connsiteY49" fmla="*/ 8984 h 10028"/>
                <a:gd name="connsiteX50" fmla="*/ 5884 w 10000"/>
                <a:gd name="connsiteY50" fmla="*/ 8740 h 10028"/>
                <a:gd name="connsiteX51" fmla="*/ 6040 w 10000"/>
                <a:gd name="connsiteY51" fmla="*/ 8368 h 10028"/>
                <a:gd name="connsiteX52" fmla="*/ 6382 w 10000"/>
                <a:gd name="connsiteY52" fmla="*/ 7982 h 10028"/>
                <a:gd name="connsiteX53" fmla="*/ 6428 w 10000"/>
                <a:gd name="connsiteY53" fmla="*/ 8181 h 10028"/>
                <a:gd name="connsiteX54" fmla="*/ 6444 w 10000"/>
                <a:gd name="connsiteY54" fmla="*/ 8428 h 10028"/>
                <a:gd name="connsiteX55" fmla="*/ 6766 w 10000"/>
                <a:gd name="connsiteY55" fmla="*/ 9268 h 10028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1059 w 10000"/>
                <a:gd name="connsiteY38" fmla="*/ 10000 h 10000"/>
                <a:gd name="connsiteX39" fmla="*/ 1817 w 10000"/>
                <a:gd name="connsiteY39" fmla="*/ 9069 h 10000"/>
                <a:gd name="connsiteX40" fmla="*/ 2566 w 10000"/>
                <a:gd name="connsiteY40" fmla="*/ 9433 h 10000"/>
                <a:gd name="connsiteX41" fmla="*/ 2605 w 10000"/>
                <a:gd name="connsiteY41" fmla="*/ 9461 h 10000"/>
                <a:gd name="connsiteX42" fmla="*/ 2721 w 10000"/>
                <a:gd name="connsiteY42" fmla="*/ 9592 h 10000"/>
                <a:gd name="connsiteX43" fmla="*/ 2979 w 10000"/>
                <a:gd name="connsiteY43" fmla="*/ 9527 h 10000"/>
                <a:gd name="connsiteX44" fmla="*/ 3757 w 10000"/>
                <a:gd name="connsiteY44" fmla="*/ 9508 h 10000"/>
                <a:gd name="connsiteX45" fmla="*/ 3863 w 10000"/>
                <a:gd name="connsiteY45" fmla="*/ 9778 h 10000"/>
                <a:gd name="connsiteX46" fmla="*/ 4219 w 10000"/>
                <a:gd name="connsiteY46" fmla="*/ 9620 h 10000"/>
                <a:gd name="connsiteX47" fmla="*/ 4373 w 10000"/>
                <a:gd name="connsiteY47" fmla="*/ 9293 h 10000"/>
                <a:gd name="connsiteX48" fmla="*/ 5064 w 10000"/>
                <a:gd name="connsiteY48" fmla="*/ 9311 h 10000"/>
                <a:gd name="connsiteX49" fmla="*/ 5457 w 10000"/>
                <a:gd name="connsiteY49" fmla="*/ 8984 h 10000"/>
                <a:gd name="connsiteX50" fmla="*/ 5884 w 10000"/>
                <a:gd name="connsiteY50" fmla="*/ 8740 h 10000"/>
                <a:gd name="connsiteX51" fmla="*/ 6040 w 10000"/>
                <a:gd name="connsiteY51" fmla="*/ 8368 h 10000"/>
                <a:gd name="connsiteX52" fmla="*/ 6382 w 10000"/>
                <a:gd name="connsiteY52" fmla="*/ 7982 h 10000"/>
                <a:gd name="connsiteX53" fmla="*/ 6428 w 10000"/>
                <a:gd name="connsiteY53" fmla="*/ 8181 h 10000"/>
                <a:gd name="connsiteX54" fmla="*/ 6444 w 10000"/>
                <a:gd name="connsiteY54" fmla="*/ 8428 h 10000"/>
                <a:gd name="connsiteX55" fmla="*/ 6766 w 10000"/>
                <a:gd name="connsiteY55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1059 w 10000"/>
                <a:gd name="connsiteY38" fmla="*/ 10000 h 10000"/>
                <a:gd name="connsiteX39" fmla="*/ 1817 w 10000"/>
                <a:gd name="connsiteY39" fmla="*/ 9069 h 10000"/>
                <a:gd name="connsiteX40" fmla="*/ 2566 w 10000"/>
                <a:gd name="connsiteY40" fmla="*/ 9433 h 10000"/>
                <a:gd name="connsiteX41" fmla="*/ 2605 w 10000"/>
                <a:gd name="connsiteY41" fmla="*/ 9461 h 10000"/>
                <a:gd name="connsiteX42" fmla="*/ 2721 w 10000"/>
                <a:gd name="connsiteY42" fmla="*/ 9592 h 10000"/>
                <a:gd name="connsiteX43" fmla="*/ 2979 w 10000"/>
                <a:gd name="connsiteY43" fmla="*/ 9527 h 10000"/>
                <a:gd name="connsiteX44" fmla="*/ 3757 w 10000"/>
                <a:gd name="connsiteY44" fmla="*/ 9508 h 10000"/>
                <a:gd name="connsiteX45" fmla="*/ 3863 w 10000"/>
                <a:gd name="connsiteY45" fmla="*/ 9778 h 10000"/>
                <a:gd name="connsiteX46" fmla="*/ 4219 w 10000"/>
                <a:gd name="connsiteY46" fmla="*/ 9620 h 10000"/>
                <a:gd name="connsiteX47" fmla="*/ 4373 w 10000"/>
                <a:gd name="connsiteY47" fmla="*/ 9293 h 10000"/>
                <a:gd name="connsiteX48" fmla="*/ 5064 w 10000"/>
                <a:gd name="connsiteY48" fmla="*/ 9311 h 10000"/>
                <a:gd name="connsiteX49" fmla="*/ 5457 w 10000"/>
                <a:gd name="connsiteY49" fmla="*/ 8984 h 10000"/>
                <a:gd name="connsiteX50" fmla="*/ 5884 w 10000"/>
                <a:gd name="connsiteY50" fmla="*/ 8740 h 10000"/>
                <a:gd name="connsiteX51" fmla="*/ 6040 w 10000"/>
                <a:gd name="connsiteY51" fmla="*/ 8368 h 10000"/>
                <a:gd name="connsiteX52" fmla="*/ 6382 w 10000"/>
                <a:gd name="connsiteY52" fmla="*/ 7982 h 10000"/>
                <a:gd name="connsiteX53" fmla="*/ 6428 w 10000"/>
                <a:gd name="connsiteY53" fmla="*/ 8181 h 10000"/>
                <a:gd name="connsiteX54" fmla="*/ 6444 w 10000"/>
                <a:gd name="connsiteY54" fmla="*/ 8428 h 10000"/>
                <a:gd name="connsiteX55" fmla="*/ 6766 w 10000"/>
                <a:gd name="connsiteY55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1059 w 10000"/>
                <a:gd name="connsiteY38" fmla="*/ 10000 h 10000"/>
                <a:gd name="connsiteX39" fmla="*/ 1750 w 10000"/>
                <a:gd name="connsiteY39" fmla="*/ 9069 h 10000"/>
                <a:gd name="connsiteX40" fmla="*/ 2566 w 10000"/>
                <a:gd name="connsiteY40" fmla="*/ 9433 h 10000"/>
                <a:gd name="connsiteX41" fmla="*/ 2605 w 10000"/>
                <a:gd name="connsiteY41" fmla="*/ 9461 h 10000"/>
                <a:gd name="connsiteX42" fmla="*/ 2721 w 10000"/>
                <a:gd name="connsiteY42" fmla="*/ 9592 h 10000"/>
                <a:gd name="connsiteX43" fmla="*/ 2979 w 10000"/>
                <a:gd name="connsiteY43" fmla="*/ 9527 h 10000"/>
                <a:gd name="connsiteX44" fmla="*/ 3757 w 10000"/>
                <a:gd name="connsiteY44" fmla="*/ 9508 h 10000"/>
                <a:gd name="connsiteX45" fmla="*/ 3863 w 10000"/>
                <a:gd name="connsiteY45" fmla="*/ 9778 h 10000"/>
                <a:gd name="connsiteX46" fmla="*/ 4219 w 10000"/>
                <a:gd name="connsiteY46" fmla="*/ 9620 h 10000"/>
                <a:gd name="connsiteX47" fmla="*/ 4373 w 10000"/>
                <a:gd name="connsiteY47" fmla="*/ 9293 h 10000"/>
                <a:gd name="connsiteX48" fmla="*/ 5064 w 10000"/>
                <a:gd name="connsiteY48" fmla="*/ 9311 h 10000"/>
                <a:gd name="connsiteX49" fmla="*/ 5457 w 10000"/>
                <a:gd name="connsiteY49" fmla="*/ 8984 h 10000"/>
                <a:gd name="connsiteX50" fmla="*/ 5884 w 10000"/>
                <a:gd name="connsiteY50" fmla="*/ 8740 h 10000"/>
                <a:gd name="connsiteX51" fmla="*/ 6040 w 10000"/>
                <a:gd name="connsiteY51" fmla="*/ 8368 h 10000"/>
                <a:gd name="connsiteX52" fmla="*/ 6382 w 10000"/>
                <a:gd name="connsiteY52" fmla="*/ 7982 h 10000"/>
                <a:gd name="connsiteX53" fmla="*/ 6428 w 10000"/>
                <a:gd name="connsiteY53" fmla="*/ 8181 h 10000"/>
                <a:gd name="connsiteX54" fmla="*/ 6444 w 10000"/>
                <a:gd name="connsiteY54" fmla="*/ 8428 h 10000"/>
                <a:gd name="connsiteX55" fmla="*/ 6766 w 10000"/>
                <a:gd name="connsiteY55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1059 w 10000"/>
                <a:gd name="connsiteY38" fmla="*/ 10000 h 10000"/>
                <a:gd name="connsiteX39" fmla="*/ 1702 w 10000"/>
                <a:gd name="connsiteY39" fmla="*/ 9069 h 10000"/>
                <a:gd name="connsiteX40" fmla="*/ 2566 w 10000"/>
                <a:gd name="connsiteY40" fmla="*/ 9433 h 10000"/>
                <a:gd name="connsiteX41" fmla="*/ 2605 w 10000"/>
                <a:gd name="connsiteY41" fmla="*/ 9461 h 10000"/>
                <a:gd name="connsiteX42" fmla="*/ 2721 w 10000"/>
                <a:gd name="connsiteY42" fmla="*/ 9592 h 10000"/>
                <a:gd name="connsiteX43" fmla="*/ 2979 w 10000"/>
                <a:gd name="connsiteY43" fmla="*/ 9527 h 10000"/>
                <a:gd name="connsiteX44" fmla="*/ 3757 w 10000"/>
                <a:gd name="connsiteY44" fmla="*/ 9508 h 10000"/>
                <a:gd name="connsiteX45" fmla="*/ 3863 w 10000"/>
                <a:gd name="connsiteY45" fmla="*/ 9778 h 10000"/>
                <a:gd name="connsiteX46" fmla="*/ 4219 w 10000"/>
                <a:gd name="connsiteY46" fmla="*/ 9620 h 10000"/>
                <a:gd name="connsiteX47" fmla="*/ 4373 w 10000"/>
                <a:gd name="connsiteY47" fmla="*/ 9293 h 10000"/>
                <a:gd name="connsiteX48" fmla="*/ 5064 w 10000"/>
                <a:gd name="connsiteY48" fmla="*/ 9311 h 10000"/>
                <a:gd name="connsiteX49" fmla="*/ 5457 w 10000"/>
                <a:gd name="connsiteY49" fmla="*/ 8984 h 10000"/>
                <a:gd name="connsiteX50" fmla="*/ 5884 w 10000"/>
                <a:gd name="connsiteY50" fmla="*/ 8740 h 10000"/>
                <a:gd name="connsiteX51" fmla="*/ 6040 w 10000"/>
                <a:gd name="connsiteY51" fmla="*/ 8368 h 10000"/>
                <a:gd name="connsiteX52" fmla="*/ 6382 w 10000"/>
                <a:gd name="connsiteY52" fmla="*/ 7982 h 10000"/>
                <a:gd name="connsiteX53" fmla="*/ 6428 w 10000"/>
                <a:gd name="connsiteY53" fmla="*/ 8181 h 10000"/>
                <a:gd name="connsiteX54" fmla="*/ 6444 w 10000"/>
                <a:gd name="connsiteY54" fmla="*/ 8428 h 10000"/>
                <a:gd name="connsiteX55" fmla="*/ 6766 w 10000"/>
                <a:gd name="connsiteY55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1059 w 10000"/>
                <a:gd name="connsiteY38" fmla="*/ 10000 h 10000"/>
                <a:gd name="connsiteX39" fmla="*/ 1702 w 10000"/>
                <a:gd name="connsiteY39" fmla="*/ 9069 h 10000"/>
                <a:gd name="connsiteX40" fmla="*/ 2566 w 10000"/>
                <a:gd name="connsiteY40" fmla="*/ 9433 h 10000"/>
                <a:gd name="connsiteX41" fmla="*/ 2605 w 10000"/>
                <a:gd name="connsiteY41" fmla="*/ 9461 h 10000"/>
                <a:gd name="connsiteX42" fmla="*/ 2721 w 10000"/>
                <a:gd name="connsiteY42" fmla="*/ 9592 h 10000"/>
                <a:gd name="connsiteX43" fmla="*/ 2979 w 10000"/>
                <a:gd name="connsiteY43" fmla="*/ 9527 h 10000"/>
                <a:gd name="connsiteX44" fmla="*/ 3757 w 10000"/>
                <a:gd name="connsiteY44" fmla="*/ 9508 h 10000"/>
                <a:gd name="connsiteX45" fmla="*/ 3863 w 10000"/>
                <a:gd name="connsiteY45" fmla="*/ 9778 h 10000"/>
                <a:gd name="connsiteX46" fmla="*/ 4219 w 10000"/>
                <a:gd name="connsiteY46" fmla="*/ 9620 h 10000"/>
                <a:gd name="connsiteX47" fmla="*/ 4373 w 10000"/>
                <a:gd name="connsiteY47" fmla="*/ 9293 h 10000"/>
                <a:gd name="connsiteX48" fmla="*/ 5064 w 10000"/>
                <a:gd name="connsiteY48" fmla="*/ 9311 h 10000"/>
                <a:gd name="connsiteX49" fmla="*/ 5457 w 10000"/>
                <a:gd name="connsiteY49" fmla="*/ 8984 h 10000"/>
                <a:gd name="connsiteX50" fmla="*/ 5884 w 10000"/>
                <a:gd name="connsiteY50" fmla="*/ 8740 h 10000"/>
                <a:gd name="connsiteX51" fmla="*/ 6040 w 10000"/>
                <a:gd name="connsiteY51" fmla="*/ 8368 h 10000"/>
                <a:gd name="connsiteX52" fmla="*/ 6382 w 10000"/>
                <a:gd name="connsiteY52" fmla="*/ 7982 h 10000"/>
                <a:gd name="connsiteX53" fmla="*/ 6428 w 10000"/>
                <a:gd name="connsiteY53" fmla="*/ 8181 h 10000"/>
                <a:gd name="connsiteX54" fmla="*/ 6444 w 10000"/>
                <a:gd name="connsiteY54" fmla="*/ 8428 h 10000"/>
                <a:gd name="connsiteX55" fmla="*/ 6766 w 10000"/>
                <a:gd name="connsiteY55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1059 w 10000"/>
                <a:gd name="connsiteY38" fmla="*/ 10000 h 10000"/>
                <a:gd name="connsiteX39" fmla="*/ 1587 w 10000"/>
                <a:gd name="connsiteY39" fmla="*/ 9088 h 10000"/>
                <a:gd name="connsiteX40" fmla="*/ 2566 w 10000"/>
                <a:gd name="connsiteY40" fmla="*/ 9433 h 10000"/>
                <a:gd name="connsiteX41" fmla="*/ 2605 w 10000"/>
                <a:gd name="connsiteY41" fmla="*/ 9461 h 10000"/>
                <a:gd name="connsiteX42" fmla="*/ 2721 w 10000"/>
                <a:gd name="connsiteY42" fmla="*/ 9592 h 10000"/>
                <a:gd name="connsiteX43" fmla="*/ 2979 w 10000"/>
                <a:gd name="connsiteY43" fmla="*/ 9527 h 10000"/>
                <a:gd name="connsiteX44" fmla="*/ 3757 w 10000"/>
                <a:gd name="connsiteY44" fmla="*/ 9508 h 10000"/>
                <a:gd name="connsiteX45" fmla="*/ 3863 w 10000"/>
                <a:gd name="connsiteY45" fmla="*/ 9778 h 10000"/>
                <a:gd name="connsiteX46" fmla="*/ 4219 w 10000"/>
                <a:gd name="connsiteY46" fmla="*/ 9620 h 10000"/>
                <a:gd name="connsiteX47" fmla="*/ 4373 w 10000"/>
                <a:gd name="connsiteY47" fmla="*/ 9293 h 10000"/>
                <a:gd name="connsiteX48" fmla="*/ 5064 w 10000"/>
                <a:gd name="connsiteY48" fmla="*/ 9311 h 10000"/>
                <a:gd name="connsiteX49" fmla="*/ 5457 w 10000"/>
                <a:gd name="connsiteY49" fmla="*/ 8984 h 10000"/>
                <a:gd name="connsiteX50" fmla="*/ 5884 w 10000"/>
                <a:gd name="connsiteY50" fmla="*/ 8740 h 10000"/>
                <a:gd name="connsiteX51" fmla="*/ 6040 w 10000"/>
                <a:gd name="connsiteY51" fmla="*/ 8368 h 10000"/>
                <a:gd name="connsiteX52" fmla="*/ 6382 w 10000"/>
                <a:gd name="connsiteY52" fmla="*/ 7982 h 10000"/>
                <a:gd name="connsiteX53" fmla="*/ 6428 w 10000"/>
                <a:gd name="connsiteY53" fmla="*/ 8181 h 10000"/>
                <a:gd name="connsiteX54" fmla="*/ 6444 w 10000"/>
                <a:gd name="connsiteY54" fmla="*/ 8428 h 10000"/>
                <a:gd name="connsiteX55" fmla="*/ 6766 w 10000"/>
                <a:gd name="connsiteY55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1059 w 10000"/>
                <a:gd name="connsiteY38" fmla="*/ 10000 h 10000"/>
                <a:gd name="connsiteX39" fmla="*/ 1587 w 10000"/>
                <a:gd name="connsiteY39" fmla="*/ 9088 h 10000"/>
                <a:gd name="connsiteX40" fmla="*/ 2566 w 10000"/>
                <a:gd name="connsiteY40" fmla="*/ 9433 h 10000"/>
                <a:gd name="connsiteX41" fmla="*/ 2605 w 10000"/>
                <a:gd name="connsiteY41" fmla="*/ 9461 h 10000"/>
                <a:gd name="connsiteX42" fmla="*/ 2721 w 10000"/>
                <a:gd name="connsiteY42" fmla="*/ 9592 h 10000"/>
                <a:gd name="connsiteX43" fmla="*/ 2979 w 10000"/>
                <a:gd name="connsiteY43" fmla="*/ 9527 h 10000"/>
                <a:gd name="connsiteX44" fmla="*/ 3757 w 10000"/>
                <a:gd name="connsiteY44" fmla="*/ 9508 h 10000"/>
                <a:gd name="connsiteX45" fmla="*/ 3863 w 10000"/>
                <a:gd name="connsiteY45" fmla="*/ 9778 h 10000"/>
                <a:gd name="connsiteX46" fmla="*/ 4219 w 10000"/>
                <a:gd name="connsiteY46" fmla="*/ 9620 h 10000"/>
                <a:gd name="connsiteX47" fmla="*/ 4373 w 10000"/>
                <a:gd name="connsiteY47" fmla="*/ 9293 h 10000"/>
                <a:gd name="connsiteX48" fmla="*/ 5064 w 10000"/>
                <a:gd name="connsiteY48" fmla="*/ 9311 h 10000"/>
                <a:gd name="connsiteX49" fmla="*/ 5457 w 10000"/>
                <a:gd name="connsiteY49" fmla="*/ 8984 h 10000"/>
                <a:gd name="connsiteX50" fmla="*/ 5884 w 10000"/>
                <a:gd name="connsiteY50" fmla="*/ 8740 h 10000"/>
                <a:gd name="connsiteX51" fmla="*/ 6040 w 10000"/>
                <a:gd name="connsiteY51" fmla="*/ 8368 h 10000"/>
                <a:gd name="connsiteX52" fmla="*/ 6382 w 10000"/>
                <a:gd name="connsiteY52" fmla="*/ 7982 h 10000"/>
                <a:gd name="connsiteX53" fmla="*/ 6428 w 10000"/>
                <a:gd name="connsiteY53" fmla="*/ 8181 h 10000"/>
                <a:gd name="connsiteX54" fmla="*/ 6444 w 10000"/>
                <a:gd name="connsiteY54" fmla="*/ 8428 h 10000"/>
                <a:gd name="connsiteX55" fmla="*/ 6766 w 10000"/>
                <a:gd name="connsiteY55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1059 w 10000"/>
                <a:gd name="connsiteY38" fmla="*/ 10000 h 10000"/>
                <a:gd name="connsiteX39" fmla="*/ 1587 w 10000"/>
                <a:gd name="connsiteY39" fmla="*/ 9088 h 10000"/>
                <a:gd name="connsiteX40" fmla="*/ 2566 w 10000"/>
                <a:gd name="connsiteY40" fmla="*/ 9433 h 10000"/>
                <a:gd name="connsiteX41" fmla="*/ 2605 w 10000"/>
                <a:gd name="connsiteY41" fmla="*/ 9461 h 10000"/>
                <a:gd name="connsiteX42" fmla="*/ 2721 w 10000"/>
                <a:gd name="connsiteY42" fmla="*/ 9592 h 10000"/>
                <a:gd name="connsiteX43" fmla="*/ 2979 w 10000"/>
                <a:gd name="connsiteY43" fmla="*/ 9527 h 10000"/>
                <a:gd name="connsiteX44" fmla="*/ 3757 w 10000"/>
                <a:gd name="connsiteY44" fmla="*/ 9508 h 10000"/>
                <a:gd name="connsiteX45" fmla="*/ 3863 w 10000"/>
                <a:gd name="connsiteY45" fmla="*/ 9778 h 10000"/>
                <a:gd name="connsiteX46" fmla="*/ 4219 w 10000"/>
                <a:gd name="connsiteY46" fmla="*/ 9620 h 10000"/>
                <a:gd name="connsiteX47" fmla="*/ 4373 w 10000"/>
                <a:gd name="connsiteY47" fmla="*/ 9293 h 10000"/>
                <a:gd name="connsiteX48" fmla="*/ 5064 w 10000"/>
                <a:gd name="connsiteY48" fmla="*/ 9311 h 10000"/>
                <a:gd name="connsiteX49" fmla="*/ 5457 w 10000"/>
                <a:gd name="connsiteY49" fmla="*/ 8984 h 10000"/>
                <a:gd name="connsiteX50" fmla="*/ 5884 w 10000"/>
                <a:gd name="connsiteY50" fmla="*/ 8740 h 10000"/>
                <a:gd name="connsiteX51" fmla="*/ 6040 w 10000"/>
                <a:gd name="connsiteY51" fmla="*/ 8368 h 10000"/>
                <a:gd name="connsiteX52" fmla="*/ 6382 w 10000"/>
                <a:gd name="connsiteY52" fmla="*/ 7982 h 10000"/>
                <a:gd name="connsiteX53" fmla="*/ 6428 w 10000"/>
                <a:gd name="connsiteY53" fmla="*/ 8181 h 10000"/>
                <a:gd name="connsiteX54" fmla="*/ 6444 w 10000"/>
                <a:gd name="connsiteY54" fmla="*/ 8428 h 10000"/>
                <a:gd name="connsiteX55" fmla="*/ 6766 w 10000"/>
                <a:gd name="connsiteY55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1059 w 10000"/>
                <a:gd name="connsiteY38" fmla="*/ 10000 h 10000"/>
                <a:gd name="connsiteX39" fmla="*/ 1587 w 10000"/>
                <a:gd name="connsiteY39" fmla="*/ 9088 h 10000"/>
                <a:gd name="connsiteX40" fmla="*/ 2566 w 10000"/>
                <a:gd name="connsiteY40" fmla="*/ 9433 h 10000"/>
                <a:gd name="connsiteX41" fmla="*/ 2605 w 10000"/>
                <a:gd name="connsiteY41" fmla="*/ 9461 h 10000"/>
                <a:gd name="connsiteX42" fmla="*/ 2721 w 10000"/>
                <a:gd name="connsiteY42" fmla="*/ 9592 h 10000"/>
                <a:gd name="connsiteX43" fmla="*/ 2979 w 10000"/>
                <a:gd name="connsiteY43" fmla="*/ 9527 h 10000"/>
                <a:gd name="connsiteX44" fmla="*/ 3757 w 10000"/>
                <a:gd name="connsiteY44" fmla="*/ 9508 h 10000"/>
                <a:gd name="connsiteX45" fmla="*/ 3863 w 10000"/>
                <a:gd name="connsiteY45" fmla="*/ 9778 h 10000"/>
                <a:gd name="connsiteX46" fmla="*/ 4219 w 10000"/>
                <a:gd name="connsiteY46" fmla="*/ 9620 h 10000"/>
                <a:gd name="connsiteX47" fmla="*/ 4373 w 10000"/>
                <a:gd name="connsiteY47" fmla="*/ 9293 h 10000"/>
                <a:gd name="connsiteX48" fmla="*/ 5064 w 10000"/>
                <a:gd name="connsiteY48" fmla="*/ 9311 h 10000"/>
                <a:gd name="connsiteX49" fmla="*/ 5457 w 10000"/>
                <a:gd name="connsiteY49" fmla="*/ 8984 h 10000"/>
                <a:gd name="connsiteX50" fmla="*/ 5884 w 10000"/>
                <a:gd name="connsiteY50" fmla="*/ 8740 h 10000"/>
                <a:gd name="connsiteX51" fmla="*/ 6040 w 10000"/>
                <a:gd name="connsiteY51" fmla="*/ 8368 h 10000"/>
                <a:gd name="connsiteX52" fmla="*/ 6382 w 10000"/>
                <a:gd name="connsiteY52" fmla="*/ 7982 h 10000"/>
                <a:gd name="connsiteX53" fmla="*/ 6428 w 10000"/>
                <a:gd name="connsiteY53" fmla="*/ 8181 h 10000"/>
                <a:gd name="connsiteX54" fmla="*/ 6444 w 10000"/>
                <a:gd name="connsiteY54" fmla="*/ 8428 h 10000"/>
                <a:gd name="connsiteX55" fmla="*/ 6766 w 10000"/>
                <a:gd name="connsiteY55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1059 w 10000"/>
                <a:gd name="connsiteY38" fmla="*/ 10000 h 10000"/>
                <a:gd name="connsiteX39" fmla="*/ 1597 w 10000"/>
                <a:gd name="connsiteY39" fmla="*/ 9125 h 10000"/>
                <a:gd name="connsiteX40" fmla="*/ 2566 w 10000"/>
                <a:gd name="connsiteY40" fmla="*/ 9433 h 10000"/>
                <a:gd name="connsiteX41" fmla="*/ 2605 w 10000"/>
                <a:gd name="connsiteY41" fmla="*/ 9461 h 10000"/>
                <a:gd name="connsiteX42" fmla="*/ 2721 w 10000"/>
                <a:gd name="connsiteY42" fmla="*/ 9592 h 10000"/>
                <a:gd name="connsiteX43" fmla="*/ 2979 w 10000"/>
                <a:gd name="connsiteY43" fmla="*/ 9527 h 10000"/>
                <a:gd name="connsiteX44" fmla="*/ 3757 w 10000"/>
                <a:gd name="connsiteY44" fmla="*/ 9508 h 10000"/>
                <a:gd name="connsiteX45" fmla="*/ 3863 w 10000"/>
                <a:gd name="connsiteY45" fmla="*/ 9778 h 10000"/>
                <a:gd name="connsiteX46" fmla="*/ 4219 w 10000"/>
                <a:gd name="connsiteY46" fmla="*/ 9620 h 10000"/>
                <a:gd name="connsiteX47" fmla="*/ 4373 w 10000"/>
                <a:gd name="connsiteY47" fmla="*/ 9293 h 10000"/>
                <a:gd name="connsiteX48" fmla="*/ 5064 w 10000"/>
                <a:gd name="connsiteY48" fmla="*/ 9311 h 10000"/>
                <a:gd name="connsiteX49" fmla="*/ 5457 w 10000"/>
                <a:gd name="connsiteY49" fmla="*/ 8984 h 10000"/>
                <a:gd name="connsiteX50" fmla="*/ 5884 w 10000"/>
                <a:gd name="connsiteY50" fmla="*/ 8740 h 10000"/>
                <a:gd name="connsiteX51" fmla="*/ 6040 w 10000"/>
                <a:gd name="connsiteY51" fmla="*/ 8368 h 10000"/>
                <a:gd name="connsiteX52" fmla="*/ 6382 w 10000"/>
                <a:gd name="connsiteY52" fmla="*/ 7982 h 10000"/>
                <a:gd name="connsiteX53" fmla="*/ 6428 w 10000"/>
                <a:gd name="connsiteY53" fmla="*/ 8181 h 10000"/>
                <a:gd name="connsiteX54" fmla="*/ 6444 w 10000"/>
                <a:gd name="connsiteY54" fmla="*/ 8428 h 10000"/>
                <a:gd name="connsiteX55" fmla="*/ 6766 w 10000"/>
                <a:gd name="connsiteY55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1059 w 10000"/>
                <a:gd name="connsiteY38" fmla="*/ 10000 h 10000"/>
                <a:gd name="connsiteX39" fmla="*/ 1597 w 10000"/>
                <a:gd name="connsiteY39" fmla="*/ 9125 h 10000"/>
                <a:gd name="connsiteX40" fmla="*/ 2566 w 10000"/>
                <a:gd name="connsiteY40" fmla="*/ 9433 h 10000"/>
                <a:gd name="connsiteX41" fmla="*/ 2605 w 10000"/>
                <a:gd name="connsiteY41" fmla="*/ 9461 h 10000"/>
                <a:gd name="connsiteX42" fmla="*/ 2721 w 10000"/>
                <a:gd name="connsiteY42" fmla="*/ 9592 h 10000"/>
                <a:gd name="connsiteX43" fmla="*/ 2979 w 10000"/>
                <a:gd name="connsiteY43" fmla="*/ 9527 h 10000"/>
                <a:gd name="connsiteX44" fmla="*/ 3757 w 10000"/>
                <a:gd name="connsiteY44" fmla="*/ 9508 h 10000"/>
                <a:gd name="connsiteX45" fmla="*/ 3863 w 10000"/>
                <a:gd name="connsiteY45" fmla="*/ 9778 h 10000"/>
                <a:gd name="connsiteX46" fmla="*/ 4219 w 10000"/>
                <a:gd name="connsiteY46" fmla="*/ 9620 h 10000"/>
                <a:gd name="connsiteX47" fmla="*/ 4373 w 10000"/>
                <a:gd name="connsiteY47" fmla="*/ 9293 h 10000"/>
                <a:gd name="connsiteX48" fmla="*/ 5064 w 10000"/>
                <a:gd name="connsiteY48" fmla="*/ 9311 h 10000"/>
                <a:gd name="connsiteX49" fmla="*/ 5457 w 10000"/>
                <a:gd name="connsiteY49" fmla="*/ 8984 h 10000"/>
                <a:gd name="connsiteX50" fmla="*/ 5884 w 10000"/>
                <a:gd name="connsiteY50" fmla="*/ 8740 h 10000"/>
                <a:gd name="connsiteX51" fmla="*/ 6040 w 10000"/>
                <a:gd name="connsiteY51" fmla="*/ 8368 h 10000"/>
                <a:gd name="connsiteX52" fmla="*/ 6382 w 10000"/>
                <a:gd name="connsiteY52" fmla="*/ 7982 h 10000"/>
                <a:gd name="connsiteX53" fmla="*/ 6428 w 10000"/>
                <a:gd name="connsiteY53" fmla="*/ 8181 h 10000"/>
                <a:gd name="connsiteX54" fmla="*/ 6444 w 10000"/>
                <a:gd name="connsiteY54" fmla="*/ 8428 h 10000"/>
                <a:gd name="connsiteX55" fmla="*/ 6766 w 10000"/>
                <a:gd name="connsiteY55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1059 w 10000"/>
                <a:gd name="connsiteY38" fmla="*/ 10000 h 10000"/>
                <a:gd name="connsiteX39" fmla="*/ 1597 w 10000"/>
                <a:gd name="connsiteY39" fmla="*/ 9125 h 10000"/>
                <a:gd name="connsiteX40" fmla="*/ 2566 w 10000"/>
                <a:gd name="connsiteY40" fmla="*/ 9433 h 10000"/>
                <a:gd name="connsiteX41" fmla="*/ 2605 w 10000"/>
                <a:gd name="connsiteY41" fmla="*/ 9461 h 10000"/>
                <a:gd name="connsiteX42" fmla="*/ 2721 w 10000"/>
                <a:gd name="connsiteY42" fmla="*/ 9592 h 10000"/>
                <a:gd name="connsiteX43" fmla="*/ 2979 w 10000"/>
                <a:gd name="connsiteY43" fmla="*/ 9527 h 10000"/>
                <a:gd name="connsiteX44" fmla="*/ 3757 w 10000"/>
                <a:gd name="connsiteY44" fmla="*/ 9508 h 10000"/>
                <a:gd name="connsiteX45" fmla="*/ 3863 w 10000"/>
                <a:gd name="connsiteY45" fmla="*/ 9778 h 10000"/>
                <a:gd name="connsiteX46" fmla="*/ 4219 w 10000"/>
                <a:gd name="connsiteY46" fmla="*/ 9620 h 10000"/>
                <a:gd name="connsiteX47" fmla="*/ 4373 w 10000"/>
                <a:gd name="connsiteY47" fmla="*/ 9293 h 10000"/>
                <a:gd name="connsiteX48" fmla="*/ 5064 w 10000"/>
                <a:gd name="connsiteY48" fmla="*/ 9311 h 10000"/>
                <a:gd name="connsiteX49" fmla="*/ 5457 w 10000"/>
                <a:gd name="connsiteY49" fmla="*/ 8984 h 10000"/>
                <a:gd name="connsiteX50" fmla="*/ 5884 w 10000"/>
                <a:gd name="connsiteY50" fmla="*/ 8740 h 10000"/>
                <a:gd name="connsiteX51" fmla="*/ 6040 w 10000"/>
                <a:gd name="connsiteY51" fmla="*/ 8368 h 10000"/>
                <a:gd name="connsiteX52" fmla="*/ 6382 w 10000"/>
                <a:gd name="connsiteY52" fmla="*/ 7982 h 10000"/>
                <a:gd name="connsiteX53" fmla="*/ 6428 w 10000"/>
                <a:gd name="connsiteY53" fmla="*/ 8181 h 10000"/>
                <a:gd name="connsiteX54" fmla="*/ 6444 w 10000"/>
                <a:gd name="connsiteY54" fmla="*/ 8428 h 10000"/>
                <a:gd name="connsiteX55" fmla="*/ 6766 w 10000"/>
                <a:gd name="connsiteY55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1059 w 10000"/>
                <a:gd name="connsiteY38" fmla="*/ 10000 h 10000"/>
                <a:gd name="connsiteX39" fmla="*/ 1568 w 10000"/>
                <a:gd name="connsiteY39" fmla="*/ 9153 h 10000"/>
                <a:gd name="connsiteX40" fmla="*/ 2566 w 10000"/>
                <a:gd name="connsiteY40" fmla="*/ 9433 h 10000"/>
                <a:gd name="connsiteX41" fmla="*/ 2605 w 10000"/>
                <a:gd name="connsiteY41" fmla="*/ 9461 h 10000"/>
                <a:gd name="connsiteX42" fmla="*/ 2721 w 10000"/>
                <a:gd name="connsiteY42" fmla="*/ 9592 h 10000"/>
                <a:gd name="connsiteX43" fmla="*/ 2979 w 10000"/>
                <a:gd name="connsiteY43" fmla="*/ 9527 h 10000"/>
                <a:gd name="connsiteX44" fmla="*/ 3757 w 10000"/>
                <a:gd name="connsiteY44" fmla="*/ 9508 h 10000"/>
                <a:gd name="connsiteX45" fmla="*/ 3863 w 10000"/>
                <a:gd name="connsiteY45" fmla="*/ 9778 h 10000"/>
                <a:gd name="connsiteX46" fmla="*/ 4219 w 10000"/>
                <a:gd name="connsiteY46" fmla="*/ 9620 h 10000"/>
                <a:gd name="connsiteX47" fmla="*/ 4373 w 10000"/>
                <a:gd name="connsiteY47" fmla="*/ 9293 h 10000"/>
                <a:gd name="connsiteX48" fmla="*/ 5064 w 10000"/>
                <a:gd name="connsiteY48" fmla="*/ 9311 h 10000"/>
                <a:gd name="connsiteX49" fmla="*/ 5457 w 10000"/>
                <a:gd name="connsiteY49" fmla="*/ 8984 h 10000"/>
                <a:gd name="connsiteX50" fmla="*/ 5884 w 10000"/>
                <a:gd name="connsiteY50" fmla="*/ 8740 h 10000"/>
                <a:gd name="connsiteX51" fmla="*/ 6040 w 10000"/>
                <a:gd name="connsiteY51" fmla="*/ 8368 h 10000"/>
                <a:gd name="connsiteX52" fmla="*/ 6382 w 10000"/>
                <a:gd name="connsiteY52" fmla="*/ 7982 h 10000"/>
                <a:gd name="connsiteX53" fmla="*/ 6428 w 10000"/>
                <a:gd name="connsiteY53" fmla="*/ 8181 h 10000"/>
                <a:gd name="connsiteX54" fmla="*/ 6444 w 10000"/>
                <a:gd name="connsiteY54" fmla="*/ 8428 h 10000"/>
                <a:gd name="connsiteX55" fmla="*/ 6766 w 10000"/>
                <a:gd name="connsiteY55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1059 w 10000"/>
                <a:gd name="connsiteY38" fmla="*/ 10000 h 10000"/>
                <a:gd name="connsiteX39" fmla="*/ 1568 w 10000"/>
                <a:gd name="connsiteY39" fmla="*/ 9153 h 10000"/>
                <a:gd name="connsiteX40" fmla="*/ 2566 w 10000"/>
                <a:gd name="connsiteY40" fmla="*/ 9433 h 10000"/>
                <a:gd name="connsiteX41" fmla="*/ 2605 w 10000"/>
                <a:gd name="connsiteY41" fmla="*/ 9461 h 10000"/>
                <a:gd name="connsiteX42" fmla="*/ 2721 w 10000"/>
                <a:gd name="connsiteY42" fmla="*/ 9592 h 10000"/>
                <a:gd name="connsiteX43" fmla="*/ 2979 w 10000"/>
                <a:gd name="connsiteY43" fmla="*/ 9527 h 10000"/>
                <a:gd name="connsiteX44" fmla="*/ 3757 w 10000"/>
                <a:gd name="connsiteY44" fmla="*/ 9508 h 10000"/>
                <a:gd name="connsiteX45" fmla="*/ 3863 w 10000"/>
                <a:gd name="connsiteY45" fmla="*/ 9778 h 10000"/>
                <a:gd name="connsiteX46" fmla="*/ 4219 w 10000"/>
                <a:gd name="connsiteY46" fmla="*/ 9620 h 10000"/>
                <a:gd name="connsiteX47" fmla="*/ 4373 w 10000"/>
                <a:gd name="connsiteY47" fmla="*/ 9293 h 10000"/>
                <a:gd name="connsiteX48" fmla="*/ 5064 w 10000"/>
                <a:gd name="connsiteY48" fmla="*/ 9311 h 10000"/>
                <a:gd name="connsiteX49" fmla="*/ 5457 w 10000"/>
                <a:gd name="connsiteY49" fmla="*/ 8984 h 10000"/>
                <a:gd name="connsiteX50" fmla="*/ 5884 w 10000"/>
                <a:gd name="connsiteY50" fmla="*/ 8740 h 10000"/>
                <a:gd name="connsiteX51" fmla="*/ 6040 w 10000"/>
                <a:gd name="connsiteY51" fmla="*/ 8368 h 10000"/>
                <a:gd name="connsiteX52" fmla="*/ 6382 w 10000"/>
                <a:gd name="connsiteY52" fmla="*/ 7982 h 10000"/>
                <a:gd name="connsiteX53" fmla="*/ 6428 w 10000"/>
                <a:gd name="connsiteY53" fmla="*/ 8181 h 10000"/>
                <a:gd name="connsiteX54" fmla="*/ 6444 w 10000"/>
                <a:gd name="connsiteY54" fmla="*/ 8428 h 10000"/>
                <a:gd name="connsiteX55" fmla="*/ 6766 w 10000"/>
                <a:gd name="connsiteY55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982 w 10000"/>
                <a:gd name="connsiteY38" fmla="*/ 9237 h 10000"/>
                <a:gd name="connsiteX39" fmla="*/ 1059 w 10000"/>
                <a:gd name="connsiteY39" fmla="*/ 10000 h 10000"/>
                <a:gd name="connsiteX40" fmla="*/ 1568 w 10000"/>
                <a:gd name="connsiteY40" fmla="*/ 9153 h 10000"/>
                <a:gd name="connsiteX41" fmla="*/ 2566 w 10000"/>
                <a:gd name="connsiteY41" fmla="*/ 9433 h 10000"/>
                <a:gd name="connsiteX42" fmla="*/ 2605 w 10000"/>
                <a:gd name="connsiteY42" fmla="*/ 9461 h 10000"/>
                <a:gd name="connsiteX43" fmla="*/ 2721 w 10000"/>
                <a:gd name="connsiteY43" fmla="*/ 9592 h 10000"/>
                <a:gd name="connsiteX44" fmla="*/ 2979 w 10000"/>
                <a:gd name="connsiteY44" fmla="*/ 9527 h 10000"/>
                <a:gd name="connsiteX45" fmla="*/ 3757 w 10000"/>
                <a:gd name="connsiteY45" fmla="*/ 9508 h 10000"/>
                <a:gd name="connsiteX46" fmla="*/ 3863 w 10000"/>
                <a:gd name="connsiteY46" fmla="*/ 9778 h 10000"/>
                <a:gd name="connsiteX47" fmla="*/ 4219 w 10000"/>
                <a:gd name="connsiteY47" fmla="*/ 9620 h 10000"/>
                <a:gd name="connsiteX48" fmla="*/ 4373 w 10000"/>
                <a:gd name="connsiteY48" fmla="*/ 9293 h 10000"/>
                <a:gd name="connsiteX49" fmla="*/ 5064 w 10000"/>
                <a:gd name="connsiteY49" fmla="*/ 9311 h 10000"/>
                <a:gd name="connsiteX50" fmla="*/ 5457 w 10000"/>
                <a:gd name="connsiteY50" fmla="*/ 8984 h 10000"/>
                <a:gd name="connsiteX51" fmla="*/ 5884 w 10000"/>
                <a:gd name="connsiteY51" fmla="*/ 8740 h 10000"/>
                <a:gd name="connsiteX52" fmla="*/ 6040 w 10000"/>
                <a:gd name="connsiteY52" fmla="*/ 8368 h 10000"/>
                <a:gd name="connsiteX53" fmla="*/ 6382 w 10000"/>
                <a:gd name="connsiteY53" fmla="*/ 7982 h 10000"/>
                <a:gd name="connsiteX54" fmla="*/ 6428 w 10000"/>
                <a:gd name="connsiteY54" fmla="*/ 8181 h 10000"/>
                <a:gd name="connsiteX55" fmla="*/ 6444 w 10000"/>
                <a:gd name="connsiteY55" fmla="*/ 8428 h 10000"/>
                <a:gd name="connsiteX56" fmla="*/ 6766 w 10000"/>
                <a:gd name="connsiteY56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982 w 10000"/>
                <a:gd name="connsiteY38" fmla="*/ 9237 h 10000"/>
                <a:gd name="connsiteX39" fmla="*/ 1059 w 10000"/>
                <a:gd name="connsiteY39" fmla="*/ 10000 h 10000"/>
                <a:gd name="connsiteX40" fmla="*/ 1568 w 10000"/>
                <a:gd name="connsiteY40" fmla="*/ 9153 h 10000"/>
                <a:gd name="connsiteX41" fmla="*/ 2566 w 10000"/>
                <a:gd name="connsiteY41" fmla="*/ 9433 h 10000"/>
                <a:gd name="connsiteX42" fmla="*/ 2605 w 10000"/>
                <a:gd name="connsiteY42" fmla="*/ 9461 h 10000"/>
                <a:gd name="connsiteX43" fmla="*/ 2721 w 10000"/>
                <a:gd name="connsiteY43" fmla="*/ 9592 h 10000"/>
                <a:gd name="connsiteX44" fmla="*/ 2979 w 10000"/>
                <a:gd name="connsiteY44" fmla="*/ 9527 h 10000"/>
                <a:gd name="connsiteX45" fmla="*/ 3757 w 10000"/>
                <a:gd name="connsiteY45" fmla="*/ 9508 h 10000"/>
                <a:gd name="connsiteX46" fmla="*/ 3863 w 10000"/>
                <a:gd name="connsiteY46" fmla="*/ 9778 h 10000"/>
                <a:gd name="connsiteX47" fmla="*/ 4219 w 10000"/>
                <a:gd name="connsiteY47" fmla="*/ 9620 h 10000"/>
                <a:gd name="connsiteX48" fmla="*/ 4373 w 10000"/>
                <a:gd name="connsiteY48" fmla="*/ 9293 h 10000"/>
                <a:gd name="connsiteX49" fmla="*/ 5064 w 10000"/>
                <a:gd name="connsiteY49" fmla="*/ 9311 h 10000"/>
                <a:gd name="connsiteX50" fmla="*/ 5457 w 10000"/>
                <a:gd name="connsiteY50" fmla="*/ 8984 h 10000"/>
                <a:gd name="connsiteX51" fmla="*/ 5884 w 10000"/>
                <a:gd name="connsiteY51" fmla="*/ 8740 h 10000"/>
                <a:gd name="connsiteX52" fmla="*/ 6040 w 10000"/>
                <a:gd name="connsiteY52" fmla="*/ 8368 h 10000"/>
                <a:gd name="connsiteX53" fmla="*/ 6382 w 10000"/>
                <a:gd name="connsiteY53" fmla="*/ 7982 h 10000"/>
                <a:gd name="connsiteX54" fmla="*/ 6428 w 10000"/>
                <a:gd name="connsiteY54" fmla="*/ 8181 h 10000"/>
                <a:gd name="connsiteX55" fmla="*/ 6444 w 10000"/>
                <a:gd name="connsiteY55" fmla="*/ 8428 h 10000"/>
                <a:gd name="connsiteX56" fmla="*/ 6766 w 10000"/>
                <a:gd name="connsiteY56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982 w 10000"/>
                <a:gd name="connsiteY38" fmla="*/ 9237 h 10000"/>
                <a:gd name="connsiteX39" fmla="*/ 1059 w 10000"/>
                <a:gd name="connsiteY39" fmla="*/ 10000 h 10000"/>
                <a:gd name="connsiteX40" fmla="*/ 1568 w 10000"/>
                <a:gd name="connsiteY40" fmla="*/ 9153 h 10000"/>
                <a:gd name="connsiteX41" fmla="*/ 2566 w 10000"/>
                <a:gd name="connsiteY41" fmla="*/ 9433 h 10000"/>
                <a:gd name="connsiteX42" fmla="*/ 2605 w 10000"/>
                <a:gd name="connsiteY42" fmla="*/ 9461 h 10000"/>
                <a:gd name="connsiteX43" fmla="*/ 2721 w 10000"/>
                <a:gd name="connsiteY43" fmla="*/ 9592 h 10000"/>
                <a:gd name="connsiteX44" fmla="*/ 2979 w 10000"/>
                <a:gd name="connsiteY44" fmla="*/ 9527 h 10000"/>
                <a:gd name="connsiteX45" fmla="*/ 3757 w 10000"/>
                <a:gd name="connsiteY45" fmla="*/ 9508 h 10000"/>
                <a:gd name="connsiteX46" fmla="*/ 3863 w 10000"/>
                <a:gd name="connsiteY46" fmla="*/ 9778 h 10000"/>
                <a:gd name="connsiteX47" fmla="*/ 4219 w 10000"/>
                <a:gd name="connsiteY47" fmla="*/ 9620 h 10000"/>
                <a:gd name="connsiteX48" fmla="*/ 4373 w 10000"/>
                <a:gd name="connsiteY48" fmla="*/ 9293 h 10000"/>
                <a:gd name="connsiteX49" fmla="*/ 5064 w 10000"/>
                <a:gd name="connsiteY49" fmla="*/ 9311 h 10000"/>
                <a:gd name="connsiteX50" fmla="*/ 5457 w 10000"/>
                <a:gd name="connsiteY50" fmla="*/ 8984 h 10000"/>
                <a:gd name="connsiteX51" fmla="*/ 5884 w 10000"/>
                <a:gd name="connsiteY51" fmla="*/ 8740 h 10000"/>
                <a:gd name="connsiteX52" fmla="*/ 6040 w 10000"/>
                <a:gd name="connsiteY52" fmla="*/ 8368 h 10000"/>
                <a:gd name="connsiteX53" fmla="*/ 6382 w 10000"/>
                <a:gd name="connsiteY53" fmla="*/ 7982 h 10000"/>
                <a:gd name="connsiteX54" fmla="*/ 6428 w 10000"/>
                <a:gd name="connsiteY54" fmla="*/ 8181 h 10000"/>
                <a:gd name="connsiteX55" fmla="*/ 6444 w 10000"/>
                <a:gd name="connsiteY55" fmla="*/ 8428 h 10000"/>
                <a:gd name="connsiteX56" fmla="*/ 6766 w 10000"/>
                <a:gd name="connsiteY56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982 w 10000"/>
                <a:gd name="connsiteY38" fmla="*/ 9237 h 10000"/>
                <a:gd name="connsiteX39" fmla="*/ 1059 w 10000"/>
                <a:gd name="connsiteY39" fmla="*/ 10000 h 10000"/>
                <a:gd name="connsiteX40" fmla="*/ 1568 w 10000"/>
                <a:gd name="connsiteY40" fmla="*/ 9153 h 10000"/>
                <a:gd name="connsiteX41" fmla="*/ 2566 w 10000"/>
                <a:gd name="connsiteY41" fmla="*/ 9433 h 10000"/>
                <a:gd name="connsiteX42" fmla="*/ 2605 w 10000"/>
                <a:gd name="connsiteY42" fmla="*/ 9461 h 10000"/>
                <a:gd name="connsiteX43" fmla="*/ 2721 w 10000"/>
                <a:gd name="connsiteY43" fmla="*/ 9592 h 10000"/>
                <a:gd name="connsiteX44" fmla="*/ 2979 w 10000"/>
                <a:gd name="connsiteY44" fmla="*/ 9527 h 10000"/>
                <a:gd name="connsiteX45" fmla="*/ 3757 w 10000"/>
                <a:gd name="connsiteY45" fmla="*/ 9508 h 10000"/>
                <a:gd name="connsiteX46" fmla="*/ 3863 w 10000"/>
                <a:gd name="connsiteY46" fmla="*/ 9778 h 10000"/>
                <a:gd name="connsiteX47" fmla="*/ 4219 w 10000"/>
                <a:gd name="connsiteY47" fmla="*/ 9620 h 10000"/>
                <a:gd name="connsiteX48" fmla="*/ 4373 w 10000"/>
                <a:gd name="connsiteY48" fmla="*/ 9293 h 10000"/>
                <a:gd name="connsiteX49" fmla="*/ 5064 w 10000"/>
                <a:gd name="connsiteY49" fmla="*/ 9311 h 10000"/>
                <a:gd name="connsiteX50" fmla="*/ 5457 w 10000"/>
                <a:gd name="connsiteY50" fmla="*/ 8984 h 10000"/>
                <a:gd name="connsiteX51" fmla="*/ 5884 w 10000"/>
                <a:gd name="connsiteY51" fmla="*/ 8740 h 10000"/>
                <a:gd name="connsiteX52" fmla="*/ 6040 w 10000"/>
                <a:gd name="connsiteY52" fmla="*/ 8368 h 10000"/>
                <a:gd name="connsiteX53" fmla="*/ 6382 w 10000"/>
                <a:gd name="connsiteY53" fmla="*/ 7982 h 10000"/>
                <a:gd name="connsiteX54" fmla="*/ 6428 w 10000"/>
                <a:gd name="connsiteY54" fmla="*/ 8181 h 10000"/>
                <a:gd name="connsiteX55" fmla="*/ 6444 w 10000"/>
                <a:gd name="connsiteY55" fmla="*/ 8428 h 10000"/>
                <a:gd name="connsiteX56" fmla="*/ 6766 w 10000"/>
                <a:gd name="connsiteY56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982 w 10000"/>
                <a:gd name="connsiteY38" fmla="*/ 9237 h 10000"/>
                <a:gd name="connsiteX39" fmla="*/ 1059 w 10000"/>
                <a:gd name="connsiteY39" fmla="*/ 10000 h 10000"/>
                <a:gd name="connsiteX40" fmla="*/ 1578 w 10000"/>
                <a:gd name="connsiteY40" fmla="*/ 9153 h 10000"/>
                <a:gd name="connsiteX41" fmla="*/ 2566 w 10000"/>
                <a:gd name="connsiteY41" fmla="*/ 9433 h 10000"/>
                <a:gd name="connsiteX42" fmla="*/ 2605 w 10000"/>
                <a:gd name="connsiteY42" fmla="*/ 9461 h 10000"/>
                <a:gd name="connsiteX43" fmla="*/ 2721 w 10000"/>
                <a:gd name="connsiteY43" fmla="*/ 9592 h 10000"/>
                <a:gd name="connsiteX44" fmla="*/ 2979 w 10000"/>
                <a:gd name="connsiteY44" fmla="*/ 9527 h 10000"/>
                <a:gd name="connsiteX45" fmla="*/ 3757 w 10000"/>
                <a:gd name="connsiteY45" fmla="*/ 9508 h 10000"/>
                <a:gd name="connsiteX46" fmla="*/ 3863 w 10000"/>
                <a:gd name="connsiteY46" fmla="*/ 9778 h 10000"/>
                <a:gd name="connsiteX47" fmla="*/ 4219 w 10000"/>
                <a:gd name="connsiteY47" fmla="*/ 9620 h 10000"/>
                <a:gd name="connsiteX48" fmla="*/ 4373 w 10000"/>
                <a:gd name="connsiteY48" fmla="*/ 9293 h 10000"/>
                <a:gd name="connsiteX49" fmla="*/ 5064 w 10000"/>
                <a:gd name="connsiteY49" fmla="*/ 9311 h 10000"/>
                <a:gd name="connsiteX50" fmla="*/ 5457 w 10000"/>
                <a:gd name="connsiteY50" fmla="*/ 8984 h 10000"/>
                <a:gd name="connsiteX51" fmla="*/ 5884 w 10000"/>
                <a:gd name="connsiteY51" fmla="*/ 8740 h 10000"/>
                <a:gd name="connsiteX52" fmla="*/ 6040 w 10000"/>
                <a:gd name="connsiteY52" fmla="*/ 8368 h 10000"/>
                <a:gd name="connsiteX53" fmla="*/ 6382 w 10000"/>
                <a:gd name="connsiteY53" fmla="*/ 7982 h 10000"/>
                <a:gd name="connsiteX54" fmla="*/ 6428 w 10000"/>
                <a:gd name="connsiteY54" fmla="*/ 8181 h 10000"/>
                <a:gd name="connsiteX55" fmla="*/ 6444 w 10000"/>
                <a:gd name="connsiteY55" fmla="*/ 8428 h 10000"/>
                <a:gd name="connsiteX56" fmla="*/ 6766 w 10000"/>
                <a:gd name="connsiteY56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982 w 10000"/>
                <a:gd name="connsiteY38" fmla="*/ 9237 h 10000"/>
                <a:gd name="connsiteX39" fmla="*/ 1059 w 10000"/>
                <a:gd name="connsiteY39" fmla="*/ 10000 h 10000"/>
                <a:gd name="connsiteX40" fmla="*/ 1578 w 10000"/>
                <a:gd name="connsiteY40" fmla="*/ 9153 h 10000"/>
                <a:gd name="connsiteX41" fmla="*/ 2566 w 10000"/>
                <a:gd name="connsiteY41" fmla="*/ 9433 h 10000"/>
                <a:gd name="connsiteX42" fmla="*/ 2605 w 10000"/>
                <a:gd name="connsiteY42" fmla="*/ 9461 h 10000"/>
                <a:gd name="connsiteX43" fmla="*/ 2721 w 10000"/>
                <a:gd name="connsiteY43" fmla="*/ 9592 h 10000"/>
                <a:gd name="connsiteX44" fmla="*/ 2979 w 10000"/>
                <a:gd name="connsiteY44" fmla="*/ 9527 h 10000"/>
                <a:gd name="connsiteX45" fmla="*/ 3757 w 10000"/>
                <a:gd name="connsiteY45" fmla="*/ 9508 h 10000"/>
                <a:gd name="connsiteX46" fmla="*/ 3863 w 10000"/>
                <a:gd name="connsiteY46" fmla="*/ 9778 h 10000"/>
                <a:gd name="connsiteX47" fmla="*/ 4219 w 10000"/>
                <a:gd name="connsiteY47" fmla="*/ 9620 h 10000"/>
                <a:gd name="connsiteX48" fmla="*/ 4373 w 10000"/>
                <a:gd name="connsiteY48" fmla="*/ 9293 h 10000"/>
                <a:gd name="connsiteX49" fmla="*/ 5064 w 10000"/>
                <a:gd name="connsiteY49" fmla="*/ 9311 h 10000"/>
                <a:gd name="connsiteX50" fmla="*/ 5457 w 10000"/>
                <a:gd name="connsiteY50" fmla="*/ 8984 h 10000"/>
                <a:gd name="connsiteX51" fmla="*/ 5884 w 10000"/>
                <a:gd name="connsiteY51" fmla="*/ 8740 h 10000"/>
                <a:gd name="connsiteX52" fmla="*/ 6040 w 10000"/>
                <a:gd name="connsiteY52" fmla="*/ 8368 h 10000"/>
                <a:gd name="connsiteX53" fmla="*/ 6382 w 10000"/>
                <a:gd name="connsiteY53" fmla="*/ 7982 h 10000"/>
                <a:gd name="connsiteX54" fmla="*/ 6428 w 10000"/>
                <a:gd name="connsiteY54" fmla="*/ 8181 h 10000"/>
                <a:gd name="connsiteX55" fmla="*/ 6444 w 10000"/>
                <a:gd name="connsiteY55" fmla="*/ 8428 h 10000"/>
                <a:gd name="connsiteX56" fmla="*/ 6766 w 10000"/>
                <a:gd name="connsiteY56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982 w 10000"/>
                <a:gd name="connsiteY38" fmla="*/ 9237 h 10000"/>
                <a:gd name="connsiteX39" fmla="*/ 1059 w 10000"/>
                <a:gd name="connsiteY39" fmla="*/ 10000 h 10000"/>
                <a:gd name="connsiteX40" fmla="*/ 1578 w 10000"/>
                <a:gd name="connsiteY40" fmla="*/ 9153 h 10000"/>
                <a:gd name="connsiteX41" fmla="*/ 2547 w 10000"/>
                <a:gd name="connsiteY41" fmla="*/ 9256 h 10000"/>
                <a:gd name="connsiteX42" fmla="*/ 2605 w 10000"/>
                <a:gd name="connsiteY42" fmla="*/ 9461 h 10000"/>
                <a:gd name="connsiteX43" fmla="*/ 2721 w 10000"/>
                <a:gd name="connsiteY43" fmla="*/ 9592 h 10000"/>
                <a:gd name="connsiteX44" fmla="*/ 2979 w 10000"/>
                <a:gd name="connsiteY44" fmla="*/ 9527 h 10000"/>
                <a:gd name="connsiteX45" fmla="*/ 3757 w 10000"/>
                <a:gd name="connsiteY45" fmla="*/ 9508 h 10000"/>
                <a:gd name="connsiteX46" fmla="*/ 3863 w 10000"/>
                <a:gd name="connsiteY46" fmla="*/ 9778 h 10000"/>
                <a:gd name="connsiteX47" fmla="*/ 4219 w 10000"/>
                <a:gd name="connsiteY47" fmla="*/ 9620 h 10000"/>
                <a:gd name="connsiteX48" fmla="*/ 4373 w 10000"/>
                <a:gd name="connsiteY48" fmla="*/ 9293 h 10000"/>
                <a:gd name="connsiteX49" fmla="*/ 5064 w 10000"/>
                <a:gd name="connsiteY49" fmla="*/ 9311 h 10000"/>
                <a:gd name="connsiteX50" fmla="*/ 5457 w 10000"/>
                <a:gd name="connsiteY50" fmla="*/ 8984 h 10000"/>
                <a:gd name="connsiteX51" fmla="*/ 5884 w 10000"/>
                <a:gd name="connsiteY51" fmla="*/ 8740 h 10000"/>
                <a:gd name="connsiteX52" fmla="*/ 6040 w 10000"/>
                <a:gd name="connsiteY52" fmla="*/ 8368 h 10000"/>
                <a:gd name="connsiteX53" fmla="*/ 6382 w 10000"/>
                <a:gd name="connsiteY53" fmla="*/ 7982 h 10000"/>
                <a:gd name="connsiteX54" fmla="*/ 6428 w 10000"/>
                <a:gd name="connsiteY54" fmla="*/ 8181 h 10000"/>
                <a:gd name="connsiteX55" fmla="*/ 6444 w 10000"/>
                <a:gd name="connsiteY55" fmla="*/ 8428 h 10000"/>
                <a:gd name="connsiteX56" fmla="*/ 6766 w 10000"/>
                <a:gd name="connsiteY56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982 w 10000"/>
                <a:gd name="connsiteY38" fmla="*/ 9237 h 10000"/>
                <a:gd name="connsiteX39" fmla="*/ 1059 w 10000"/>
                <a:gd name="connsiteY39" fmla="*/ 10000 h 10000"/>
                <a:gd name="connsiteX40" fmla="*/ 1578 w 10000"/>
                <a:gd name="connsiteY40" fmla="*/ 9153 h 10000"/>
                <a:gd name="connsiteX41" fmla="*/ 2201 w 10000"/>
                <a:gd name="connsiteY41" fmla="*/ 9069 h 10000"/>
                <a:gd name="connsiteX42" fmla="*/ 2605 w 10000"/>
                <a:gd name="connsiteY42" fmla="*/ 9461 h 10000"/>
                <a:gd name="connsiteX43" fmla="*/ 2721 w 10000"/>
                <a:gd name="connsiteY43" fmla="*/ 9592 h 10000"/>
                <a:gd name="connsiteX44" fmla="*/ 2979 w 10000"/>
                <a:gd name="connsiteY44" fmla="*/ 9527 h 10000"/>
                <a:gd name="connsiteX45" fmla="*/ 3757 w 10000"/>
                <a:gd name="connsiteY45" fmla="*/ 9508 h 10000"/>
                <a:gd name="connsiteX46" fmla="*/ 3863 w 10000"/>
                <a:gd name="connsiteY46" fmla="*/ 9778 h 10000"/>
                <a:gd name="connsiteX47" fmla="*/ 4219 w 10000"/>
                <a:gd name="connsiteY47" fmla="*/ 9620 h 10000"/>
                <a:gd name="connsiteX48" fmla="*/ 4373 w 10000"/>
                <a:gd name="connsiteY48" fmla="*/ 9293 h 10000"/>
                <a:gd name="connsiteX49" fmla="*/ 5064 w 10000"/>
                <a:gd name="connsiteY49" fmla="*/ 9311 h 10000"/>
                <a:gd name="connsiteX50" fmla="*/ 5457 w 10000"/>
                <a:gd name="connsiteY50" fmla="*/ 8984 h 10000"/>
                <a:gd name="connsiteX51" fmla="*/ 5884 w 10000"/>
                <a:gd name="connsiteY51" fmla="*/ 8740 h 10000"/>
                <a:gd name="connsiteX52" fmla="*/ 6040 w 10000"/>
                <a:gd name="connsiteY52" fmla="*/ 8368 h 10000"/>
                <a:gd name="connsiteX53" fmla="*/ 6382 w 10000"/>
                <a:gd name="connsiteY53" fmla="*/ 7982 h 10000"/>
                <a:gd name="connsiteX54" fmla="*/ 6428 w 10000"/>
                <a:gd name="connsiteY54" fmla="*/ 8181 h 10000"/>
                <a:gd name="connsiteX55" fmla="*/ 6444 w 10000"/>
                <a:gd name="connsiteY55" fmla="*/ 8428 h 10000"/>
                <a:gd name="connsiteX56" fmla="*/ 6766 w 10000"/>
                <a:gd name="connsiteY56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982 w 10000"/>
                <a:gd name="connsiteY38" fmla="*/ 9237 h 10000"/>
                <a:gd name="connsiteX39" fmla="*/ 1059 w 10000"/>
                <a:gd name="connsiteY39" fmla="*/ 10000 h 10000"/>
                <a:gd name="connsiteX40" fmla="*/ 1578 w 10000"/>
                <a:gd name="connsiteY40" fmla="*/ 9153 h 10000"/>
                <a:gd name="connsiteX41" fmla="*/ 2268 w 10000"/>
                <a:gd name="connsiteY41" fmla="*/ 8780 h 10000"/>
                <a:gd name="connsiteX42" fmla="*/ 2605 w 10000"/>
                <a:gd name="connsiteY42" fmla="*/ 9461 h 10000"/>
                <a:gd name="connsiteX43" fmla="*/ 2721 w 10000"/>
                <a:gd name="connsiteY43" fmla="*/ 9592 h 10000"/>
                <a:gd name="connsiteX44" fmla="*/ 2979 w 10000"/>
                <a:gd name="connsiteY44" fmla="*/ 9527 h 10000"/>
                <a:gd name="connsiteX45" fmla="*/ 3757 w 10000"/>
                <a:gd name="connsiteY45" fmla="*/ 9508 h 10000"/>
                <a:gd name="connsiteX46" fmla="*/ 3863 w 10000"/>
                <a:gd name="connsiteY46" fmla="*/ 9778 h 10000"/>
                <a:gd name="connsiteX47" fmla="*/ 4219 w 10000"/>
                <a:gd name="connsiteY47" fmla="*/ 9620 h 10000"/>
                <a:gd name="connsiteX48" fmla="*/ 4373 w 10000"/>
                <a:gd name="connsiteY48" fmla="*/ 9293 h 10000"/>
                <a:gd name="connsiteX49" fmla="*/ 5064 w 10000"/>
                <a:gd name="connsiteY49" fmla="*/ 9311 h 10000"/>
                <a:gd name="connsiteX50" fmla="*/ 5457 w 10000"/>
                <a:gd name="connsiteY50" fmla="*/ 8984 h 10000"/>
                <a:gd name="connsiteX51" fmla="*/ 5884 w 10000"/>
                <a:gd name="connsiteY51" fmla="*/ 8740 h 10000"/>
                <a:gd name="connsiteX52" fmla="*/ 6040 w 10000"/>
                <a:gd name="connsiteY52" fmla="*/ 8368 h 10000"/>
                <a:gd name="connsiteX53" fmla="*/ 6382 w 10000"/>
                <a:gd name="connsiteY53" fmla="*/ 7982 h 10000"/>
                <a:gd name="connsiteX54" fmla="*/ 6428 w 10000"/>
                <a:gd name="connsiteY54" fmla="*/ 8181 h 10000"/>
                <a:gd name="connsiteX55" fmla="*/ 6444 w 10000"/>
                <a:gd name="connsiteY55" fmla="*/ 8428 h 10000"/>
                <a:gd name="connsiteX56" fmla="*/ 6766 w 10000"/>
                <a:gd name="connsiteY56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982 w 10000"/>
                <a:gd name="connsiteY38" fmla="*/ 9237 h 10000"/>
                <a:gd name="connsiteX39" fmla="*/ 1059 w 10000"/>
                <a:gd name="connsiteY39" fmla="*/ 10000 h 10000"/>
                <a:gd name="connsiteX40" fmla="*/ 1578 w 10000"/>
                <a:gd name="connsiteY40" fmla="*/ 9153 h 10000"/>
                <a:gd name="connsiteX41" fmla="*/ 2268 w 10000"/>
                <a:gd name="connsiteY41" fmla="*/ 8780 h 10000"/>
                <a:gd name="connsiteX42" fmla="*/ 2605 w 10000"/>
                <a:gd name="connsiteY42" fmla="*/ 9461 h 10000"/>
                <a:gd name="connsiteX43" fmla="*/ 2721 w 10000"/>
                <a:gd name="connsiteY43" fmla="*/ 9592 h 10000"/>
                <a:gd name="connsiteX44" fmla="*/ 2979 w 10000"/>
                <a:gd name="connsiteY44" fmla="*/ 9527 h 10000"/>
                <a:gd name="connsiteX45" fmla="*/ 3757 w 10000"/>
                <a:gd name="connsiteY45" fmla="*/ 9508 h 10000"/>
                <a:gd name="connsiteX46" fmla="*/ 3863 w 10000"/>
                <a:gd name="connsiteY46" fmla="*/ 9778 h 10000"/>
                <a:gd name="connsiteX47" fmla="*/ 4219 w 10000"/>
                <a:gd name="connsiteY47" fmla="*/ 9620 h 10000"/>
                <a:gd name="connsiteX48" fmla="*/ 4373 w 10000"/>
                <a:gd name="connsiteY48" fmla="*/ 9293 h 10000"/>
                <a:gd name="connsiteX49" fmla="*/ 5064 w 10000"/>
                <a:gd name="connsiteY49" fmla="*/ 9311 h 10000"/>
                <a:gd name="connsiteX50" fmla="*/ 5457 w 10000"/>
                <a:gd name="connsiteY50" fmla="*/ 8984 h 10000"/>
                <a:gd name="connsiteX51" fmla="*/ 5884 w 10000"/>
                <a:gd name="connsiteY51" fmla="*/ 8740 h 10000"/>
                <a:gd name="connsiteX52" fmla="*/ 6040 w 10000"/>
                <a:gd name="connsiteY52" fmla="*/ 8368 h 10000"/>
                <a:gd name="connsiteX53" fmla="*/ 6382 w 10000"/>
                <a:gd name="connsiteY53" fmla="*/ 7982 h 10000"/>
                <a:gd name="connsiteX54" fmla="*/ 6428 w 10000"/>
                <a:gd name="connsiteY54" fmla="*/ 8181 h 10000"/>
                <a:gd name="connsiteX55" fmla="*/ 6444 w 10000"/>
                <a:gd name="connsiteY55" fmla="*/ 8428 h 10000"/>
                <a:gd name="connsiteX56" fmla="*/ 6766 w 10000"/>
                <a:gd name="connsiteY56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982 w 10000"/>
                <a:gd name="connsiteY38" fmla="*/ 9237 h 10000"/>
                <a:gd name="connsiteX39" fmla="*/ 1059 w 10000"/>
                <a:gd name="connsiteY39" fmla="*/ 10000 h 10000"/>
                <a:gd name="connsiteX40" fmla="*/ 1578 w 10000"/>
                <a:gd name="connsiteY40" fmla="*/ 9153 h 10000"/>
                <a:gd name="connsiteX41" fmla="*/ 2153 w 10000"/>
                <a:gd name="connsiteY41" fmla="*/ 8780 h 10000"/>
                <a:gd name="connsiteX42" fmla="*/ 2605 w 10000"/>
                <a:gd name="connsiteY42" fmla="*/ 9461 h 10000"/>
                <a:gd name="connsiteX43" fmla="*/ 2721 w 10000"/>
                <a:gd name="connsiteY43" fmla="*/ 9592 h 10000"/>
                <a:gd name="connsiteX44" fmla="*/ 2979 w 10000"/>
                <a:gd name="connsiteY44" fmla="*/ 9527 h 10000"/>
                <a:gd name="connsiteX45" fmla="*/ 3757 w 10000"/>
                <a:gd name="connsiteY45" fmla="*/ 9508 h 10000"/>
                <a:gd name="connsiteX46" fmla="*/ 3863 w 10000"/>
                <a:gd name="connsiteY46" fmla="*/ 9778 h 10000"/>
                <a:gd name="connsiteX47" fmla="*/ 4219 w 10000"/>
                <a:gd name="connsiteY47" fmla="*/ 9620 h 10000"/>
                <a:gd name="connsiteX48" fmla="*/ 4373 w 10000"/>
                <a:gd name="connsiteY48" fmla="*/ 9293 h 10000"/>
                <a:gd name="connsiteX49" fmla="*/ 5064 w 10000"/>
                <a:gd name="connsiteY49" fmla="*/ 9311 h 10000"/>
                <a:gd name="connsiteX50" fmla="*/ 5457 w 10000"/>
                <a:gd name="connsiteY50" fmla="*/ 8984 h 10000"/>
                <a:gd name="connsiteX51" fmla="*/ 5884 w 10000"/>
                <a:gd name="connsiteY51" fmla="*/ 8740 h 10000"/>
                <a:gd name="connsiteX52" fmla="*/ 6040 w 10000"/>
                <a:gd name="connsiteY52" fmla="*/ 8368 h 10000"/>
                <a:gd name="connsiteX53" fmla="*/ 6382 w 10000"/>
                <a:gd name="connsiteY53" fmla="*/ 7982 h 10000"/>
                <a:gd name="connsiteX54" fmla="*/ 6428 w 10000"/>
                <a:gd name="connsiteY54" fmla="*/ 8181 h 10000"/>
                <a:gd name="connsiteX55" fmla="*/ 6444 w 10000"/>
                <a:gd name="connsiteY55" fmla="*/ 8428 h 10000"/>
                <a:gd name="connsiteX56" fmla="*/ 6766 w 10000"/>
                <a:gd name="connsiteY56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982 w 10000"/>
                <a:gd name="connsiteY38" fmla="*/ 9237 h 10000"/>
                <a:gd name="connsiteX39" fmla="*/ 1059 w 10000"/>
                <a:gd name="connsiteY39" fmla="*/ 10000 h 10000"/>
                <a:gd name="connsiteX40" fmla="*/ 1578 w 10000"/>
                <a:gd name="connsiteY40" fmla="*/ 9153 h 10000"/>
                <a:gd name="connsiteX41" fmla="*/ 2153 w 10000"/>
                <a:gd name="connsiteY41" fmla="*/ 8780 h 10000"/>
                <a:gd name="connsiteX42" fmla="*/ 2336 w 10000"/>
                <a:gd name="connsiteY42" fmla="*/ 8985 h 10000"/>
                <a:gd name="connsiteX43" fmla="*/ 2605 w 10000"/>
                <a:gd name="connsiteY43" fmla="*/ 9461 h 10000"/>
                <a:gd name="connsiteX44" fmla="*/ 2721 w 10000"/>
                <a:gd name="connsiteY44" fmla="*/ 9592 h 10000"/>
                <a:gd name="connsiteX45" fmla="*/ 2979 w 10000"/>
                <a:gd name="connsiteY45" fmla="*/ 9527 h 10000"/>
                <a:gd name="connsiteX46" fmla="*/ 3757 w 10000"/>
                <a:gd name="connsiteY46" fmla="*/ 9508 h 10000"/>
                <a:gd name="connsiteX47" fmla="*/ 3863 w 10000"/>
                <a:gd name="connsiteY47" fmla="*/ 9778 h 10000"/>
                <a:gd name="connsiteX48" fmla="*/ 4219 w 10000"/>
                <a:gd name="connsiteY48" fmla="*/ 9620 h 10000"/>
                <a:gd name="connsiteX49" fmla="*/ 4373 w 10000"/>
                <a:gd name="connsiteY49" fmla="*/ 9293 h 10000"/>
                <a:gd name="connsiteX50" fmla="*/ 5064 w 10000"/>
                <a:gd name="connsiteY50" fmla="*/ 9311 h 10000"/>
                <a:gd name="connsiteX51" fmla="*/ 5457 w 10000"/>
                <a:gd name="connsiteY51" fmla="*/ 8984 h 10000"/>
                <a:gd name="connsiteX52" fmla="*/ 5884 w 10000"/>
                <a:gd name="connsiteY52" fmla="*/ 8740 h 10000"/>
                <a:gd name="connsiteX53" fmla="*/ 6040 w 10000"/>
                <a:gd name="connsiteY53" fmla="*/ 8368 h 10000"/>
                <a:gd name="connsiteX54" fmla="*/ 6382 w 10000"/>
                <a:gd name="connsiteY54" fmla="*/ 7982 h 10000"/>
                <a:gd name="connsiteX55" fmla="*/ 6428 w 10000"/>
                <a:gd name="connsiteY55" fmla="*/ 8181 h 10000"/>
                <a:gd name="connsiteX56" fmla="*/ 6444 w 10000"/>
                <a:gd name="connsiteY56" fmla="*/ 8428 h 10000"/>
                <a:gd name="connsiteX57" fmla="*/ 6766 w 10000"/>
                <a:gd name="connsiteY57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982 w 10000"/>
                <a:gd name="connsiteY38" fmla="*/ 9237 h 10000"/>
                <a:gd name="connsiteX39" fmla="*/ 1059 w 10000"/>
                <a:gd name="connsiteY39" fmla="*/ 10000 h 10000"/>
                <a:gd name="connsiteX40" fmla="*/ 1578 w 10000"/>
                <a:gd name="connsiteY40" fmla="*/ 9153 h 10000"/>
                <a:gd name="connsiteX41" fmla="*/ 2076 w 10000"/>
                <a:gd name="connsiteY41" fmla="*/ 8799 h 10000"/>
                <a:gd name="connsiteX42" fmla="*/ 2336 w 10000"/>
                <a:gd name="connsiteY42" fmla="*/ 8985 h 10000"/>
                <a:gd name="connsiteX43" fmla="*/ 2605 w 10000"/>
                <a:gd name="connsiteY43" fmla="*/ 9461 h 10000"/>
                <a:gd name="connsiteX44" fmla="*/ 2721 w 10000"/>
                <a:gd name="connsiteY44" fmla="*/ 9592 h 10000"/>
                <a:gd name="connsiteX45" fmla="*/ 2979 w 10000"/>
                <a:gd name="connsiteY45" fmla="*/ 9527 h 10000"/>
                <a:gd name="connsiteX46" fmla="*/ 3757 w 10000"/>
                <a:gd name="connsiteY46" fmla="*/ 9508 h 10000"/>
                <a:gd name="connsiteX47" fmla="*/ 3863 w 10000"/>
                <a:gd name="connsiteY47" fmla="*/ 9778 h 10000"/>
                <a:gd name="connsiteX48" fmla="*/ 4219 w 10000"/>
                <a:gd name="connsiteY48" fmla="*/ 9620 h 10000"/>
                <a:gd name="connsiteX49" fmla="*/ 4373 w 10000"/>
                <a:gd name="connsiteY49" fmla="*/ 9293 h 10000"/>
                <a:gd name="connsiteX50" fmla="*/ 5064 w 10000"/>
                <a:gd name="connsiteY50" fmla="*/ 9311 h 10000"/>
                <a:gd name="connsiteX51" fmla="*/ 5457 w 10000"/>
                <a:gd name="connsiteY51" fmla="*/ 8984 h 10000"/>
                <a:gd name="connsiteX52" fmla="*/ 5884 w 10000"/>
                <a:gd name="connsiteY52" fmla="*/ 8740 h 10000"/>
                <a:gd name="connsiteX53" fmla="*/ 6040 w 10000"/>
                <a:gd name="connsiteY53" fmla="*/ 8368 h 10000"/>
                <a:gd name="connsiteX54" fmla="*/ 6382 w 10000"/>
                <a:gd name="connsiteY54" fmla="*/ 7982 h 10000"/>
                <a:gd name="connsiteX55" fmla="*/ 6428 w 10000"/>
                <a:gd name="connsiteY55" fmla="*/ 8181 h 10000"/>
                <a:gd name="connsiteX56" fmla="*/ 6444 w 10000"/>
                <a:gd name="connsiteY56" fmla="*/ 8428 h 10000"/>
                <a:gd name="connsiteX57" fmla="*/ 6766 w 10000"/>
                <a:gd name="connsiteY57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982 w 10000"/>
                <a:gd name="connsiteY38" fmla="*/ 9237 h 10000"/>
                <a:gd name="connsiteX39" fmla="*/ 1059 w 10000"/>
                <a:gd name="connsiteY39" fmla="*/ 10000 h 10000"/>
                <a:gd name="connsiteX40" fmla="*/ 1578 w 10000"/>
                <a:gd name="connsiteY40" fmla="*/ 9153 h 10000"/>
                <a:gd name="connsiteX41" fmla="*/ 2076 w 10000"/>
                <a:gd name="connsiteY41" fmla="*/ 8799 h 10000"/>
                <a:gd name="connsiteX42" fmla="*/ 2336 w 10000"/>
                <a:gd name="connsiteY42" fmla="*/ 8985 h 10000"/>
                <a:gd name="connsiteX43" fmla="*/ 2605 w 10000"/>
                <a:gd name="connsiteY43" fmla="*/ 9461 h 10000"/>
                <a:gd name="connsiteX44" fmla="*/ 2721 w 10000"/>
                <a:gd name="connsiteY44" fmla="*/ 9592 h 10000"/>
                <a:gd name="connsiteX45" fmla="*/ 2979 w 10000"/>
                <a:gd name="connsiteY45" fmla="*/ 9527 h 10000"/>
                <a:gd name="connsiteX46" fmla="*/ 3757 w 10000"/>
                <a:gd name="connsiteY46" fmla="*/ 9508 h 10000"/>
                <a:gd name="connsiteX47" fmla="*/ 3863 w 10000"/>
                <a:gd name="connsiteY47" fmla="*/ 9778 h 10000"/>
                <a:gd name="connsiteX48" fmla="*/ 4219 w 10000"/>
                <a:gd name="connsiteY48" fmla="*/ 9620 h 10000"/>
                <a:gd name="connsiteX49" fmla="*/ 4373 w 10000"/>
                <a:gd name="connsiteY49" fmla="*/ 9293 h 10000"/>
                <a:gd name="connsiteX50" fmla="*/ 5064 w 10000"/>
                <a:gd name="connsiteY50" fmla="*/ 9311 h 10000"/>
                <a:gd name="connsiteX51" fmla="*/ 5457 w 10000"/>
                <a:gd name="connsiteY51" fmla="*/ 8984 h 10000"/>
                <a:gd name="connsiteX52" fmla="*/ 5884 w 10000"/>
                <a:gd name="connsiteY52" fmla="*/ 8740 h 10000"/>
                <a:gd name="connsiteX53" fmla="*/ 6040 w 10000"/>
                <a:gd name="connsiteY53" fmla="*/ 8368 h 10000"/>
                <a:gd name="connsiteX54" fmla="*/ 6382 w 10000"/>
                <a:gd name="connsiteY54" fmla="*/ 7982 h 10000"/>
                <a:gd name="connsiteX55" fmla="*/ 6428 w 10000"/>
                <a:gd name="connsiteY55" fmla="*/ 8181 h 10000"/>
                <a:gd name="connsiteX56" fmla="*/ 6444 w 10000"/>
                <a:gd name="connsiteY56" fmla="*/ 8428 h 10000"/>
                <a:gd name="connsiteX57" fmla="*/ 6766 w 10000"/>
                <a:gd name="connsiteY57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982 w 10000"/>
                <a:gd name="connsiteY38" fmla="*/ 9237 h 10000"/>
                <a:gd name="connsiteX39" fmla="*/ 1059 w 10000"/>
                <a:gd name="connsiteY39" fmla="*/ 10000 h 10000"/>
                <a:gd name="connsiteX40" fmla="*/ 1578 w 10000"/>
                <a:gd name="connsiteY40" fmla="*/ 9153 h 10000"/>
                <a:gd name="connsiteX41" fmla="*/ 2076 w 10000"/>
                <a:gd name="connsiteY41" fmla="*/ 8799 h 10000"/>
                <a:gd name="connsiteX42" fmla="*/ 2250 w 10000"/>
                <a:gd name="connsiteY42" fmla="*/ 9060 h 10000"/>
                <a:gd name="connsiteX43" fmla="*/ 2605 w 10000"/>
                <a:gd name="connsiteY43" fmla="*/ 9461 h 10000"/>
                <a:gd name="connsiteX44" fmla="*/ 2721 w 10000"/>
                <a:gd name="connsiteY44" fmla="*/ 9592 h 10000"/>
                <a:gd name="connsiteX45" fmla="*/ 2979 w 10000"/>
                <a:gd name="connsiteY45" fmla="*/ 9527 h 10000"/>
                <a:gd name="connsiteX46" fmla="*/ 3757 w 10000"/>
                <a:gd name="connsiteY46" fmla="*/ 9508 h 10000"/>
                <a:gd name="connsiteX47" fmla="*/ 3863 w 10000"/>
                <a:gd name="connsiteY47" fmla="*/ 9778 h 10000"/>
                <a:gd name="connsiteX48" fmla="*/ 4219 w 10000"/>
                <a:gd name="connsiteY48" fmla="*/ 9620 h 10000"/>
                <a:gd name="connsiteX49" fmla="*/ 4373 w 10000"/>
                <a:gd name="connsiteY49" fmla="*/ 9293 h 10000"/>
                <a:gd name="connsiteX50" fmla="*/ 5064 w 10000"/>
                <a:gd name="connsiteY50" fmla="*/ 9311 h 10000"/>
                <a:gd name="connsiteX51" fmla="*/ 5457 w 10000"/>
                <a:gd name="connsiteY51" fmla="*/ 8984 h 10000"/>
                <a:gd name="connsiteX52" fmla="*/ 5884 w 10000"/>
                <a:gd name="connsiteY52" fmla="*/ 8740 h 10000"/>
                <a:gd name="connsiteX53" fmla="*/ 6040 w 10000"/>
                <a:gd name="connsiteY53" fmla="*/ 8368 h 10000"/>
                <a:gd name="connsiteX54" fmla="*/ 6382 w 10000"/>
                <a:gd name="connsiteY54" fmla="*/ 7982 h 10000"/>
                <a:gd name="connsiteX55" fmla="*/ 6428 w 10000"/>
                <a:gd name="connsiteY55" fmla="*/ 8181 h 10000"/>
                <a:gd name="connsiteX56" fmla="*/ 6444 w 10000"/>
                <a:gd name="connsiteY56" fmla="*/ 8428 h 10000"/>
                <a:gd name="connsiteX57" fmla="*/ 6766 w 10000"/>
                <a:gd name="connsiteY57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982 w 10000"/>
                <a:gd name="connsiteY38" fmla="*/ 9237 h 10000"/>
                <a:gd name="connsiteX39" fmla="*/ 1059 w 10000"/>
                <a:gd name="connsiteY39" fmla="*/ 10000 h 10000"/>
                <a:gd name="connsiteX40" fmla="*/ 1578 w 10000"/>
                <a:gd name="connsiteY40" fmla="*/ 9153 h 10000"/>
                <a:gd name="connsiteX41" fmla="*/ 2076 w 10000"/>
                <a:gd name="connsiteY41" fmla="*/ 8799 h 10000"/>
                <a:gd name="connsiteX42" fmla="*/ 2250 w 10000"/>
                <a:gd name="connsiteY42" fmla="*/ 9060 h 10000"/>
                <a:gd name="connsiteX43" fmla="*/ 2605 w 10000"/>
                <a:gd name="connsiteY43" fmla="*/ 9461 h 10000"/>
                <a:gd name="connsiteX44" fmla="*/ 2721 w 10000"/>
                <a:gd name="connsiteY44" fmla="*/ 9592 h 10000"/>
                <a:gd name="connsiteX45" fmla="*/ 2979 w 10000"/>
                <a:gd name="connsiteY45" fmla="*/ 9527 h 10000"/>
                <a:gd name="connsiteX46" fmla="*/ 3757 w 10000"/>
                <a:gd name="connsiteY46" fmla="*/ 9508 h 10000"/>
                <a:gd name="connsiteX47" fmla="*/ 3863 w 10000"/>
                <a:gd name="connsiteY47" fmla="*/ 9778 h 10000"/>
                <a:gd name="connsiteX48" fmla="*/ 4219 w 10000"/>
                <a:gd name="connsiteY48" fmla="*/ 9620 h 10000"/>
                <a:gd name="connsiteX49" fmla="*/ 4373 w 10000"/>
                <a:gd name="connsiteY49" fmla="*/ 9293 h 10000"/>
                <a:gd name="connsiteX50" fmla="*/ 5064 w 10000"/>
                <a:gd name="connsiteY50" fmla="*/ 9311 h 10000"/>
                <a:gd name="connsiteX51" fmla="*/ 5457 w 10000"/>
                <a:gd name="connsiteY51" fmla="*/ 8984 h 10000"/>
                <a:gd name="connsiteX52" fmla="*/ 5884 w 10000"/>
                <a:gd name="connsiteY52" fmla="*/ 8740 h 10000"/>
                <a:gd name="connsiteX53" fmla="*/ 6040 w 10000"/>
                <a:gd name="connsiteY53" fmla="*/ 8368 h 10000"/>
                <a:gd name="connsiteX54" fmla="*/ 6382 w 10000"/>
                <a:gd name="connsiteY54" fmla="*/ 7982 h 10000"/>
                <a:gd name="connsiteX55" fmla="*/ 6428 w 10000"/>
                <a:gd name="connsiteY55" fmla="*/ 8181 h 10000"/>
                <a:gd name="connsiteX56" fmla="*/ 6444 w 10000"/>
                <a:gd name="connsiteY56" fmla="*/ 8428 h 10000"/>
                <a:gd name="connsiteX57" fmla="*/ 6766 w 10000"/>
                <a:gd name="connsiteY57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982 w 10000"/>
                <a:gd name="connsiteY38" fmla="*/ 9237 h 10000"/>
                <a:gd name="connsiteX39" fmla="*/ 1059 w 10000"/>
                <a:gd name="connsiteY39" fmla="*/ 10000 h 10000"/>
                <a:gd name="connsiteX40" fmla="*/ 1578 w 10000"/>
                <a:gd name="connsiteY40" fmla="*/ 9153 h 10000"/>
                <a:gd name="connsiteX41" fmla="*/ 2076 w 10000"/>
                <a:gd name="connsiteY41" fmla="*/ 8799 h 10000"/>
                <a:gd name="connsiteX42" fmla="*/ 2250 w 10000"/>
                <a:gd name="connsiteY42" fmla="*/ 9060 h 10000"/>
                <a:gd name="connsiteX43" fmla="*/ 2605 w 10000"/>
                <a:gd name="connsiteY43" fmla="*/ 9461 h 10000"/>
                <a:gd name="connsiteX44" fmla="*/ 2721 w 10000"/>
                <a:gd name="connsiteY44" fmla="*/ 9592 h 10000"/>
                <a:gd name="connsiteX45" fmla="*/ 2979 w 10000"/>
                <a:gd name="connsiteY45" fmla="*/ 9527 h 10000"/>
                <a:gd name="connsiteX46" fmla="*/ 3757 w 10000"/>
                <a:gd name="connsiteY46" fmla="*/ 9508 h 10000"/>
                <a:gd name="connsiteX47" fmla="*/ 3863 w 10000"/>
                <a:gd name="connsiteY47" fmla="*/ 9778 h 10000"/>
                <a:gd name="connsiteX48" fmla="*/ 4219 w 10000"/>
                <a:gd name="connsiteY48" fmla="*/ 9620 h 10000"/>
                <a:gd name="connsiteX49" fmla="*/ 4373 w 10000"/>
                <a:gd name="connsiteY49" fmla="*/ 9293 h 10000"/>
                <a:gd name="connsiteX50" fmla="*/ 5064 w 10000"/>
                <a:gd name="connsiteY50" fmla="*/ 9311 h 10000"/>
                <a:gd name="connsiteX51" fmla="*/ 5457 w 10000"/>
                <a:gd name="connsiteY51" fmla="*/ 8984 h 10000"/>
                <a:gd name="connsiteX52" fmla="*/ 5884 w 10000"/>
                <a:gd name="connsiteY52" fmla="*/ 8740 h 10000"/>
                <a:gd name="connsiteX53" fmla="*/ 6040 w 10000"/>
                <a:gd name="connsiteY53" fmla="*/ 8368 h 10000"/>
                <a:gd name="connsiteX54" fmla="*/ 6382 w 10000"/>
                <a:gd name="connsiteY54" fmla="*/ 7982 h 10000"/>
                <a:gd name="connsiteX55" fmla="*/ 6428 w 10000"/>
                <a:gd name="connsiteY55" fmla="*/ 8181 h 10000"/>
                <a:gd name="connsiteX56" fmla="*/ 6444 w 10000"/>
                <a:gd name="connsiteY56" fmla="*/ 8428 h 10000"/>
                <a:gd name="connsiteX57" fmla="*/ 6766 w 10000"/>
                <a:gd name="connsiteY57" fmla="*/ 9268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0000" h="10000">
                  <a:moveTo>
                    <a:pt x="7446" y="9488"/>
                  </a:moveTo>
                  <a:cubicBezTo>
                    <a:pt x="7596" y="9168"/>
                    <a:pt x="7370" y="9271"/>
                    <a:pt x="7446" y="8978"/>
                  </a:cubicBezTo>
                  <a:cubicBezTo>
                    <a:pt x="7671" y="8613"/>
                    <a:pt x="7671" y="9051"/>
                    <a:pt x="7821" y="8978"/>
                  </a:cubicBezTo>
                  <a:cubicBezTo>
                    <a:pt x="7896" y="8831"/>
                    <a:pt x="7821" y="8245"/>
                    <a:pt x="8047" y="8029"/>
                  </a:cubicBezTo>
                  <a:cubicBezTo>
                    <a:pt x="8272" y="7956"/>
                    <a:pt x="8197" y="7444"/>
                    <a:pt x="8648" y="7444"/>
                  </a:cubicBezTo>
                  <a:cubicBezTo>
                    <a:pt x="8497" y="7153"/>
                    <a:pt x="8722" y="7006"/>
                    <a:pt x="8873" y="6351"/>
                  </a:cubicBezTo>
                  <a:cubicBezTo>
                    <a:pt x="8873" y="6131"/>
                    <a:pt x="8648" y="5912"/>
                    <a:pt x="8722" y="5768"/>
                  </a:cubicBezTo>
                  <a:cubicBezTo>
                    <a:pt x="8873" y="5547"/>
                    <a:pt x="9098" y="5179"/>
                    <a:pt x="9098" y="4525"/>
                  </a:cubicBezTo>
                  <a:cubicBezTo>
                    <a:pt x="8948" y="4086"/>
                    <a:pt x="9173" y="4599"/>
                    <a:pt x="9399" y="4160"/>
                  </a:cubicBezTo>
                  <a:cubicBezTo>
                    <a:pt x="9549" y="3942"/>
                    <a:pt x="9774" y="4306"/>
                    <a:pt x="10000" y="3576"/>
                  </a:cubicBezTo>
                  <a:cubicBezTo>
                    <a:pt x="10000" y="3502"/>
                    <a:pt x="9850" y="3357"/>
                    <a:pt x="9774" y="3502"/>
                  </a:cubicBezTo>
                  <a:cubicBezTo>
                    <a:pt x="9624" y="3502"/>
                    <a:pt x="9624" y="3140"/>
                    <a:pt x="9399" y="3140"/>
                  </a:cubicBezTo>
                  <a:cubicBezTo>
                    <a:pt x="9323" y="3285"/>
                    <a:pt x="9098" y="2117"/>
                    <a:pt x="9173" y="2044"/>
                  </a:cubicBezTo>
                  <a:cubicBezTo>
                    <a:pt x="9323" y="1678"/>
                    <a:pt x="8948" y="1460"/>
                    <a:pt x="9173" y="1460"/>
                  </a:cubicBezTo>
                  <a:cubicBezTo>
                    <a:pt x="9399" y="1533"/>
                    <a:pt x="9098" y="1311"/>
                    <a:pt x="9098" y="729"/>
                  </a:cubicBezTo>
                  <a:cubicBezTo>
                    <a:pt x="8948" y="658"/>
                    <a:pt x="8948" y="511"/>
                    <a:pt x="8873" y="511"/>
                  </a:cubicBezTo>
                  <a:cubicBezTo>
                    <a:pt x="8648" y="511"/>
                    <a:pt x="8722" y="219"/>
                    <a:pt x="8497" y="219"/>
                  </a:cubicBezTo>
                  <a:cubicBezTo>
                    <a:pt x="8422" y="219"/>
                    <a:pt x="8272" y="74"/>
                    <a:pt x="8272" y="0"/>
                  </a:cubicBezTo>
                  <a:cubicBezTo>
                    <a:pt x="8047" y="293"/>
                    <a:pt x="7896" y="0"/>
                    <a:pt x="7821" y="293"/>
                  </a:cubicBezTo>
                  <a:cubicBezTo>
                    <a:pt x="7671" y="658"/>
                    <a:pt x="7446" y="511"/>
                    <a:pt x="7370" y="729"/>
                  </a:cubicBezTo>
                  <a:cubicBezTo>
                    <a:pt x="7220" y="1021"/>
                    <a:pt x="6995" y="1094"/>
                    <a:pt x="6769" y="729"/>
                  </a:cubicBezTo>
                  <a:lnTo>
                    <a:pt x="5717" y="729"/>
                  </a:lnTo>
                  <a:lnTo>
                    <a:pt x="5717" y="658"/>
                  </a:lnTo>
                  <a:cubicBezTo>
                    <a:pt x="5692" y="681"/>
                    <a:pt x="5668" y="707"/>
                    <a:pt x="5643" y="729"/>
                  </a:cubicBezTo>
                  <a:lnTo>
                    <a:pt x="1961" y="729"/>
                  </a:lnTo>
                  <a:lnTo>
                    <a:pt x="1961" y="2263"/>
                  </a:lnTo>
                  <a:lnTo>
                    <a:pt x="1285" y="2263"/>
                  </a:lnTo>
                  <a:lnTo>
                    <a:pt x="1285" y="2556"/>
                  </a:lnTo>
                  <a:lnTo>
                    <a:pt x="1285" y="5179"/>
                  </a:lnTo>
                  <a:lnTo>
                    <a:pt x="1135" y="5327"/>
                  </a:lnTo>
                  <a:cubicBezTo>
                    <a:pt x="909" y="5327"/>
                    <a:pt x="684" y="5327"/>
                    <a:pt x="684" y="5621"/>
                  </a:cubicBezTo>
                  <a:cubicBezTo>
                    <a:pt x="684" y="5986"/>
                    <a:pt x="458" y="5768"/>
                    <a:pt x="609" y="5986"/>
                  </a:cubicBezTo>
                  <a:cubicBezTo>
                    <a:pt x="609" y="6351"/>
                    <a:pt x="234" y="5986"/>
                    <a:pt x="384" y="6351"/>
                  </a:cubicBezTo>
                  <a:cubicBezTo>
                    <a:pt x="609" y="6642"/>
                    <a:pt x="8" y="6568"/>
                    <a:pt x="234" y="6935"/>
                  </a:cubicBezTo>
                  <a:cubicBezTo>
                    <a:pt x="458" y="7225"/>
                    <a:pt x="-67" y="7225"/>
                    <a:pt x="8" y="7593"/>
                  </a:cubicBezTo>
                  <a:cubicBezTo>
                    <a:pt x="158" y="7664"/>
                    <a:pt x="384" y="7371"/>
                    <a:pt x="384" y="7664"/>
                  </a:cubicBezTo>
                  <a:cubicBezTo>
                    <a:pt x="384" y="8029"/>
                    <a:pt x="458" y="7956"/>
                    <a:pt x="458" y="8245"/>
                  </a:cubicBezTo>
                  <a:cubicBezTo>
                    <a:pt x="458" y="8613"/>
                    <a:pt x="835" y="8392"/>
                    <a:pt x="684" y="8831"/>
                  </a:cubicBezTo>
                  <a:cubicBezTo>
                    <a:pt x="765" y="8992"/>
                    <a:pt x="920" y="9042"/>
                    <a:pt x="982" y="9237"/>
                  </a:cubicBezTo>
                  <a:cubicBezTo>
                    <a:pt x="1044" y="9432"/>
                    <a:pt x="1186" y="9449"/>
                    <a:pt x="1059" y="10000"/>
                  </a:cubicBezTo>
                  <a:cubicBezTo>
                    <a:pt x="1163" y="9440"/>
                    <a:pt x="1836" y="9946"/>
                    <a:pt x="1578" y="9153"/>
                  </a:cubicBezTo>
                  <a:cubicBezTo>
                    <a:pt x="1379" y="8778"/>
                    <a:pt x="2034" y="8798"/>
                    <a:pt x="2076" y="8799"/>
                  </a:cubicBezTo>
                  <a:cubicBezTo>
                    <a:pt x="2250" y="8835"/>
                    <a:pt x="2175" y="8947"/>
                    <a:pt x="2250" y="9060"/>
                  </a:cubicBezTo>
                  <a:cubicBezTo>
                    <a:pt x="2287" y="9201"/>
                    <a:pt x="2570" y="9088"/>
                    <a:pt x="2605" y="9461"/>
                  </a:cubicBezTo>
                  <a:cubicBezTo>
                    <a:pt x="2688" y="9582"/>
                    <a:pt x="2654" y="9583"/>
                    <a:pt x="2721" y="9592"/>
                  </a:cubicBezTo>
                  <a:cubicBezTo>
                    <a:pt x="2788" y="9601"/>
                    <a:pt x="2834" y="9598"/>
                    <a:pt x="2979" y="9527"/>
                  </a:cubicBezTo>
                  <a:cubicBezTo>
                    <a:pt x="3195" y="9495"/>
                    <a:pt x="3447" y="9466"/>
                    <a:pt x="3757" y="9508"/>
                  </a:cubicBezTo>
                  <a:cubicBezTo>
                    <a:pt x="3870" y="9662"/>
                    <a:pt x="3740" y="9750"/>
                    <a:pt x="3863" y="9778"/>
                  </a:cubicBezTo>
                  <a:cubicBezTo>
                    <a:pt x="3938" y="9834"/>
                    <a:pt x="4239" y="9749"/>
                    <a:pt x="4219" y="9620"/>
                  </a:cubicBezTo>
                  <a:cubicBezTo>
                    <a:pt x="4362" y="9594"/>
                    <a:pt x="4191" y="9348"/>
                    <a:pt x="4373" y="9293"/>
                  </a:cubicBezTo>
                  <a:cubicBezTo>
                    <a:pt x="4851" y="9186"/>
                    <a:pt x="4698" y="9336"/>
                    <a:pt x="5064" y="9311"/>
                  </a:cubicBezTo>
                  <a:cubicBezTo>
                    <a:pt x="5266" y="9314"/>
                    <a:pt x="5218" y="8965"/>
                    <a:pt x="5457" y="8984"/>
                  </a:cubicBezTo>
                  <a:cubicBezTo>
                    <a:pt x="5797" y="9049"/>
                    <a:pt x="6015" y="9089"/>
                    <a:pt x="5884" y="8740"/>
                  </a:cubicBezTo>
                  <a:cubicBezTo>
                    <a:pt x="5964" y="8593"/>
                    <a:pt x="6043" y="8363"/>
                    <a:pt x="6040" y="8368"/>
                  </a:cubicBezTo>
                  <a:cubicBezTo>
                    <a:pt x="6032" y="8083"/>
                    <a:pt x="6101" y="8080"/>
                    <a:pt x="6382" y="7982"/>
                  </a:cubicBezTo>
                  <a:cubicBezTo>
                    <a:pt x="6464" y="8031"/>
                    <a:pt x="6373" y="8102"/>
                    <a:pt x="6428" y="8181"/>
                  </a:cubicBezTo>
                  <a:cubicBezTo>
                    <a:pt x="6437" y="8304"/>
                    <a:pt x="6435" y="8305"/>
                    <a:pt x="6444" y="8428"/>
                  </a:cubicBezTo>
                  <a:cubicBezTo>
                    <a:pt x="6530" y="9042"/>
                    <a:pt x="6771" y="9273"/>
                    <a:pt x="6766" y="9268"/>
                  </a:cubicBezTo>
                </a:path>
              </a:pathLst>
            </a:custGeom>
            <a:grpFill/>
            <a:ln w="6350" cmpd="sng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latin typeface="Lato" panose="020F0502020204030203" pitchFamily="34" charset="0"/>
              </a:endParaRPr>
            </a:p>
          </p:txBody>
        </p:sp>
        <p:sp>
          <p:nvSpPr>
            <p:cNvPr id="935" name="Freeform 1260">
              <a:extLst>
                <a:ext uri="{FF2B5EF4-FFF2-40B4-BE49-F238E27FC236}">
                  <a16:creationId xmlns:a16="http://schemas.microsoft.com/office/drawing/2014/main" id="{E01BD09C-89A2-22CB-1792-A6C805515D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21586" y="3595050"/>
              <a:ext cx="724376" cy="911823"/>
            </a:xfrm>
            <a:custGeom>
              <a:avLst/>
              <a:gdLst>
                <a:gd name="connsiteX0" fmla="*/ 167645 w 724376"/>
                <a:gd name="connsiteY0" fmla="*/ 0 h 911823"/>
                <a:gd name="connsiteX1" fmla="*/ 177724 w 724376"/>
                <a:gd name="connsiteY1" fmla="*/ 2263 h 911823"/>
                <a:gd name="connsiteX2" fmla="*/ 185716 w 724376"/>
                <a:gd name="connsiteY2" fmla="*/ 110 h 911823"/>
                <a:gd name="connsiteX3" fmla="*/ 187702 w 724376"/>
                <a:gd name="connsiteY3" fmla="*/ 6568 h 911823"/>
                <a:gd name="connsiteX4" fmla="*/ 217889 w 724376"/>
                <a:gd name="connsiteY4" fmla="*/ 29032 h 911823"/>
                <a:gd name="connsiteX5" fmla="*/ 219416 w 724376"/>
                <a:gd name="connsiteY5" fmla="*/ 37091 h 911823"/>
                <a:gd name="connsiteX6" fmla="*/ 231837 w 724376"/>
                <a:gd name="connsiteY6" fmla="*/ 41230 h 911823"/>
                <a:gd name="connsiteX7" fmla="*/ 232265 w 724376"/>
                <a:gd name="connsiteY7" fmla="*/ 43312 h 911823"/>
                <a:gd name="connsiteX8" fmla="*/ 236925 w 724376"/>
                <a:gd name="connsiteY8" fmla="*/ 38670 h 911823"/>
                <a:gd name="connsiteX9" fmla="*/ 243160 w 724376"/>
                <a:gd name="connsiteY9" fmla="*/ 38670 h 911823"/>
                <a:gd name="connsiteX10" fmla="*/ 271217 w 724376"/>
                <a:gd name="connsiteY10" fmla="*/ 26194 h 911823"/>
                <a:gd name="connsiteX11" fmla="*/ 286414 w 724376"/>
                <a:gd name="connsiteY11" fmla="*/ 32432 h 911823"/>
                <a:gd name="connsiteX12" fmla="*/ 289901 w 724376"/>
                <a:gd name="connsiteY12" fmla="*/ 38635 h 911823"/>
                <a:gd name="connsiteX13" fmla="*/ 294553 w 724376"/>
                <a:gd name="connsiteY13" fmla="*/ 39850 h 911823"/>
                <a:gd name="connsiteX14" fmla="*/ 295256 w 724376"/>
                <a:gd name="connsiteY14" fmla="*/ 40805 h 911823"/>
                <a:gd name="connsiteX15" fmla="*/ 295766 w 724376"/>
                <a:gd name="connsiteY15" fmla="*/ 41009 h 911823"/>
                <a:gd name="connsiteX16" fmla="*/ 299273 w 724376"/>
                <a:gd name="connsiteY16" fmla="*/ 38670 h 911823"/>
                <a:gd name="connsiteX17" fmla="*/ 302780 w 724376"/>
                <a:gd name="connsiteY17" fmla="*/ 38670 h 911823"/>
                <a:gd name="connsiteX18" fmla="*/ 299712 w 724376"/>
                <a:gd name="connsiteY18" fmla="*/ 46855 h 911823"/>
                <a:gd name="connsiteX19" fmla="*/ 300407 w 724376"/>
                <a:gd name="connsiteY19" fmla="*/ 47798 h 911823"/>
                <a:gd name="connsiteX20" fmla="*/ 299490 w 724376"/>
                <a:gd name="connsiteY20" fmla="*/ 50745 h 911823"/>
                <a:gd name="connsiteX21" fmla="*/ 300053 w 724376"/>
                <a:gd name="connsiteY21" fmla="*/ 57774 h 911823"/>
                <a:gd name="connsiteX22" fmla="*/ 296156 w 724376"/>
                <a:gd name="connsiteY22" fmla="*/ 69860 h 911823"/>
                <a:gd name="connsiteX23" fmla="*/ 295566 w 724376"/>
                <a:gd name="connsiteY23" fmla="*/ 70393 h 911823"/>
                <a:gd name="connsiteX24" fmla="*/ 295215 w 724376"/>
                <a:gd name="connsiteY24" fmla="*/ 76334 h 911823"/>
                <a:gd name="connsiteX25" fmla="*/ 289717 w 724376"/>
                <a:gd name="connsiteY25" fmla="*/ 77934 h 911823"/>
                <a:gd name="connsiteX26" fmla="*/ 285994 w 724376"/>
                <a:gd name="connsiteY26" fmla="*/ 80497 h 911823"/>
                <a:gd name="connsiteX27" fmla="*/ 284465 w 724376"/>
                <a:gd name="connsiteY27" fmla="*/ 83895 h 911823"/>
                <a:gd name="connsiteX28" fmla="*/ 284047 w 724376"/>
                <a:gd name="connsiteY28" fmla="*/ 84899 h 911823"/>
                <a:gd name="connsiteX29" fmla="*/ 284372 w 724376"/>
                <a:gd name="connsiteY29" fmla="*/ 90077 h 911823"/>
                <a:gd name="connsiteX30" fmla="*/ 279179 w 724376"/>
                <a:gd name="connsiteY30" fmla="*/ 95045 h 911823"/>
                <a:gd name="connsiteX31" fmla="*/ 273631 w 724376"/>
                <a:gd name="connsiteY31" fmla="*/ 94161 h 911823"/>
                <a:gd name="connsiteX32" fmla="*/ 267257 w 724376"/>
                <a:gd name="connsiteY32" fmla="*/ 96554 h 911823"/>
                <a:gd name="connsiteX33" fmla="*/ 267461 w 724376"/>
                <a:gd name="connsiteY33" fmla="*/ 97643 h 911823"/>
                <a:gd name="connsiteX34" fmla="*/ 271594 w 724376"/>
                <a:gd name="connsiteY34" fmla="*/ 106856 h 911823"/>
                <a:gd name="connsiteX35" fmla="*/ 267522 w 724376"/>
                <a:gd name="connsiteY35" fmla="*/ 109064 h 911823"/>
                <a:gd name="connsiteX36" fmla="*/ 267677 w 724376"/>
                <a:gd name="connsiteY36" fmla="*/ 110465 h 911823"/>
                <a:gd name="connsiteX37" fmla="*/ 271996 w 724376"/>
                <a:gd name="connsiteY37" fmla="*/ 115475 h 911823"/>
                <a:gd name="connsiteX38" fmla="*/ 274582 w 724376"/>
                <a:gd name="connsiteY38" fmla="*/ 117710 h 911823"/>
                <a:gd name="connsiteX39" fmla="*/ 279230 w 724376"/>
                <a:gd name="connsiteY39" fmla="*/ 118999 h 911823"/>
                <a:gd name="connsiteX40" fmla="*/ 279151 w 724376"/>
                <a:gd name="connsiteY40" fmla="*/ 121658 h 911823"/>
                <a:gd name="connsiteX41" fmla="*/ 280569 w 724376"/>
                <a:gd name="connsiteY41" fmla="*/ 122883 h 911823"/>
                <a:gd name="connsiteX42" fmla="*/ 282517 w 724376"/>
                <a:gd name="connsiteY42" fmla="*/ 131070 h 911823"/>
                <a:gd name="connsiteX43" fmla="*/ 282658 w 724376"/>
                <a:gd name="connsiteY43" fmla="*/ 134209 h 911823"/>
                <a:gd name="connsiteX44" fmla="*/ 283557 w 724376"/>
                <a:gd name="connsiteY44" fmla="*/ 135833 h 911823"/>
                <a:gd name="connsiteX45" fmla="*/ 282753 w 724376"/>
                <a:gd name="connsiteY45" fmla="*/ 136315 h 911823"/>
                <a:gd name="connsiteX46" fmla="*/ 282761 w 724376"/>
                <a:gd name="connsiteY46" fmla="*/ 136480 h 911823"/>
                <a:gd name="connsiteX47" fmla="*/ 277451 w 724376"/>
                <a:gd name="connsiteY47" fmla="*/ 141597 h 911823"/>
                <a:gd name="connsiteX48" fmla="*/ 271607 w 724376"/>
                <a:gd name="connsiteY48" fmla="*/ 145106 h 911823"/>
                <a:gd name="connsiteX49" fmla="*/ 270469 w 724376"/>
                <a:gd name="connsiteY49" fmla="*/ 143968 h 911823"/>
                <a:gd name="connsiteX50" fmla="*/ 269049 w 724376"/>
                <a:gd name="connsiteY50" fmla="*/ 144940 h 911823"/>
                <a:gd name="connsiteX51" fmla="*/ 265231 w 724376"/>
                <a:gd name="connsiteY51" fmla="*/ 142456 h 911823"/>
                <a:gd name="connsiteX52" fmla="*/ 264500 w 724376"/>
                <a:gd name="connsiteY52" fmla="*/ 139946 h 911823"/>
                <a:gd name="connsiteX53" fmla="*/ 259301 w 724376"/>
                <a:gd name="connsiteY53" fmla="*/ 137562 h 911823"/>
                <a:gd name="connsiteX54" fmla="*/ 258747 w 724376"/>
                <a:gd name="connsiteY54" fmla="*/ 138100 h 911823"/>
                <a:gd name="connsiteX55" fmla="*/ 258747 w 724376"/>
                <a:gd name="connsiteY55" fmla="*/ 144716 h 911823"/>
                <a:gd name="connsiteX56" fmla="*/ 261864 w 724376"/>
                <a:gd name="connsiteY56" fmla="*/ 175906 h 911823"/>
                <a:gd name="connsiteX57" fmla="*/ 277451 w 724376"/>
                <a:gd name="connsiteY57" fmla="*/ 179025 h 911823"/>
                <a:gd name="connsiteX58" fmla="*/ 296156 w 724376"/>
                <a:gd name="connsiteY58" fmla="*/ 194620 h 911823"/>
                <a:gd name="connsiteX59" fmla="*/ 317978 w 724376"/>
                <a:gd name="connsiteY59" fmla="*/ 213333 h 911823"/>
                <a:gd name="connsiteX60" fmla="*/ 299273 w 724376"/>
                <a:gd name="connsiteY60" fmla="*/ 238285 h 911823"/>
                <a:gd name="connsiteX61" fmla="*/ 299273 w 724376"/>
                <a:gd name="connsiteY61" fmla="*/ 253880 h 911823"/>
                <a:gd name="connsiteX62" fmla="*/ 308626 w 724376"/>
                <a:gd name="connsiteY62" fmla="*/ 266356 h 911823"/>
                <a:gd name="connsiteX63" fmla="*/ 333565 w 724376"/>
                <a:gd name="connsiteY63" fmla="*/ 288189 h 911823"/>
                <a:gd name="connsiteX64" fmla="*/ 352270 w 724376"/>
                <a:gd name="connsiteY64" fmla="*/ 297546 h 911823"/>
                <a:gd name="connsiteX65" fmla="*/ 361622 w 724376"/>
                <a:gd name="connsiteY65" fmla="*/ 300665 h 911823"/>
                <a:gd name="connsiteX66" fmla="*/ 389679 w 724376"/>
                <a:gd name="connsiteY66" fmla="*/ 306903 h 911823"/>
                <a:gd name="connsiteX67" fmla="*/ 405266 w 724376"/>
                <a:gd name="connsiteY67" fmla="*/ 306903 h 911823"/>
                <a:gd name="connsiteX68" fmla="*/ 414618 w 724376"/>
                <a:gd name="connsiteY68" fmla="*/ 319379 h 911823"/>
                <a:gd name="connsiteX69" fmla="*/ 430206 w 724376"/>
                <a:gd name="connsiteY69" fmla="*/ 325617 h 911823"/>
                <a:gd name="connsiteX70" fmla="*/ 442675 w 724376"/>
                <a:gd name="connsiteY70" fmla="*/ 328736 h 911823"/>
                <a:gd name="connsiteX71" fmla="*/ 467615 w 724376"/>
                <a:gd name="connsiteY71" fmla="*/ 334974 h 911823"/>
                <a:gd name="connsiteX72" fmla="*/ 480084 w 724376"/>
                <a:gd name="connsiteY72" fmla="*/ 341212 h 911823"/>
                <a:gd name="connsiteX73" fmla="*/ 495672 w 724376"/>
                <a:gd name="connsiteY73" fmla="*/ 334974 h 911823"/>
                <a:gd name="connsiteX74" fmla="*/ 495672 w 724376"/>
                <a:gd name="connsiteY74" fmla="*/ 306903 h 911823"/>
                <a:gd name="connsiteX75" fmla="*/ 495672 w 724376"/>
                <a:gd name="connsiteY75" fmla="*/ 291308 h 911823"/>
                <a:gd name="connsiteX76" fmla="*/ 514376 w 724376"/>
                <a:gd name="connsiteY76" fmla="*/ 310022 h 911823"/>
                <a:gd name="connsiteX77" fmla="*/ 523728 w 724376"/>
                <a:gd name="connsiteY77" fmla="*/ 325617 h 911823"/>
                <a:gd name="connsiteX78" fmla="*/ 548668 w 724376"/>
                <a:gd name="connsiteY78" fmla="*/ 325617 h 911823"/>
                <a:gd name="connsiteX79" fmla="*/ 570490 w 724376"/>
                <a:gd name="connsiteY79" fmla="*/ 325617 h 911823"/>
                <a:gd name="connsiteX80" fmla="*/ 586077 w 724376"/>
                <a:gd name="connsiteY80" fmla="*/ 325617 h 911823"/>
                <a:gd name="connsiteX81" fmla="*/ 595429 w 724376"/>
                <a:gd name="connsiteY81" fmla="*/ 319379 h 911823"/>
                <a:gd name="connsiteX82" fmla="*/ 589195 w 724376"/>
                <a:gd name="connsiteY82" fmla="*/ 306903 h 911823"/>
                <a:gd name="connsiteX83" fmla="*/ 579842 w 724376"/>
                <a:gd name="connsiteY83" fmla="*/ 297546 h 911823"/>
                <a:gd name="connsiteX84" fmla="*/ 607899 w 724376"/>
                <a:gd name="connsiteY84" fmla="*/ 288189 h 911823"/>
                <a:gd name="connsiteX85" fmla="*/ 620369 w 724376"/>
                <a:gd name="connsiteY85" fmla="*/ 272594 h 911823"/>
                <a:gd name="connsiteX86" fmla="*/ 642191 w 724376"/>
                <a:gd name="connsiteY86" fmla="*/ 256999 h 911823"/>
                <a:gd name="connsiteX87" fmla="*/ 660896 w 724376"/>
                <a:gd name="connsiteY87" fmla="*/ 247642 h 911823"/>
                <a:gd name="connsiteX88" fmla="*/ 679600 w 724376"/>
                <a:gd name="connsiteY88" fmla="*/ 247642 h 911823"/>
                <a:gd name="connsiteX89" fmla="*/ 695187 w 724376"/>
                <a:gd name="connsiteY89" fmla="*/ 241404 h 911823"/>
                <a:gd name="connsiteX90" fmla="*/ 698305 w 724376"/>
                <a:gd name="connsiteY90" fmla="*/ 253880 h 911823"/>
                <a:gd name="connsiteX91" fmla="*/ 704540 w 724376"/>
                <a:gd name="connsiteY91" fmla="*/ 256999 h 911823"/>
                <a:gd name="connsiteX92" fmla="*/ 704540 w 724376"/>
                <a:gd name="connsiteY92" fmla="*/ 275713 h 911823"/>
                <a:gd name="connsiteX93" fmla="*/ 723244 w 724376"/>
                <a:gd name="connsiteY93" fmla="*/ 281951 h 911823"/>
                <a:gd name="connsiteX94" fmla="*/ 713892 w 724376"/>
                <a:gd name="connsiteY94" fmla="*/ 306903 h 911823"/>
                <a:gd name="connsiteX95" fmla="*/ 713892 w 724376"/>
                <a:gd name="connsiteY95" fmla="*/ 310022 h 911823"/>
                <a:gd name="connsiteX96" fmla="*/ 679600 w 724376"/>
                <a:gd name="connsiteY96" fmla="*/ 325617 h 911823"/>
                <a:gd name="connsiteX97" fmla="*/ 670248 w 724376"/>
                <a:gd name="connsiteY97" fmla="*/ 334974 h 911823"/>
                <a:gd name="connsiteX98" fmla="*/ 670248 w 724376"/>
                <a:gd name="connsiteY98" fmla="*/ 353688 h 911823"/>
                <a:gd name="connsiteX99" fmla="*/ 657778 w 724376"/>
                <a:gd name="connsiteY99" fmla="*/ 378640 h 911823"/>
                <a:gd name="connsiteX100" fmla="*/ 648426 w 724376"/>
                <a:gd name="connsiteY100" fmla="*/ 406711 h 911823"/>
                <a:gd name="connsiteX101" fmla="*/ 632839 w 724376"/>
                <a:gd name="connsiteY101" fmla="*/ 416068 h 911823"/>
                <a:gd name="connsiteX102" fmla="*/ 623486 w 724376"/>
                <a:gd name="connsiteY102" fmla="*/ 428544 h 911823"/>
                <a:gd name="connsiteX103" fmla="*/ 620369 w 724376"/>
                <a:gd name="connsiteY103" fmla="*/ 456615 h 911823"/>
                <a:gd name="connsiteX104" fmla="*/ 620369 w 724376"/>
                <a:gd name="connsiteY104" fmla="*/ 475329 h 911823"/>
                <a:gd name="connsiteX105" fmla="*/ 604782 w 724376"/>
                <a:gd name="connsiteY105" fmla="*/ 481567 h 911823"/>
                <a:gd name="connsiteX106" fmla="*/ 598547 w 724376"/>
                <a:gd name="connsiteY106" fmla="*/ 431663 h 911823"/>
                <a:gd name="connsiteX107" fmla="*/ 589195 w 724376"/>
                <a:gd name="connsiteY107" fmla="*/ 431663 h 911823"/>
                <a:gd name="connsiteX108" fmla="*/ 570490 w 724376"/>
                <a:gd name="connsiteY108" fmla="*/ 428544 h 911823"/>
                <a:gd name="connsiteX109" fmla="*/ 595429 w 724376"/>
                <a:gd name="connsiteY109" fmla="*/ 394235 h 911823"/>
                <a:gd name="connsiteX110" fmla="*/ 604782 w 724376"/>
                <a:gd name="connsiteY110" fmla="*/ 384878 h 911823"/>
                <a:gd name="connsiteX111" fmla="*/ 539316 w 724376"/>
                <a:gd name="connsiteY111" fmla="*/ 372402 h 911823"/>
                <a:gd name="connsiteX112" fmla="*/ 533081 w 724376"/>
                <a:gd name="connsiteY112" fmla="*/ 350569 h 911823"/>
                <a:gd name="connsiteX113" fmla="*/ 520611 w 724376"/>
                <a:gd name="connsiteY113" fmla="*/ 341212 h 911823"/>
                <a:gd name="connsiteX114" fmla="*/ 505024 w 724376"/>
                <a:gd name="connsiteY114" fmla="*/ 334974 h 911823"/>
                <a:gd name="connsiteX115" fmla="*/ 505024 w 724376"/>
                <a:gd name="connsiteY115" fmla="*/ 341212 h 911823"/>
                <a:gd name="connsiteX116" fmla="*/ 495672 w 724376"/>
                <a:gd name="connsiteY116" fmla="*/ 359926 h 911823"/>
                <a:gd name="connsiteX117" fmla="*/ 508141 w 724376"/>
                <a:gd name="connsiteY117" fmla="*/ 369283 h 911823"/>
                <a:gd name="connsiteX118" fmla="*/ 514376 w 724376"/>
                <a:gd name="connsiteY118" fmla="*/ 372402 h 911823"/>
                <a:gd name="connsiteX119" fmla="*/ 505024 w 724376"/>
                <a:gd name="connsiteY119" fmla="*/ 378640 h 911823"/>
                <a:gd name="connsiteX120" fmla="*/ 495672 w 724376"/>
                <a:gd name="connsiteY120" fmla="*/ 394235 h 911823"/>
                <a:gd name="connsiteX121" fmla="*/ 508141 w 724376"/>
                <a:gd name="connsiteY121" fmla="*/ 412949 h 911823"/>
                <a:gd name="connsiteX122" fmla="*/ 508141 w 724376"/>
                <a:gd name="connsiteY122" fmla="*/ 428544 h 911823"/>
                <a:gd name="connsiteX123" fmla="*/ 514376 w 724376"/>
                <a:gd name="connsiteY123" fmla="*/ 441020 h 911823"/>
                <a:gd name="connsiteX124" fmla="*/ 514376 w 724376"/>
                <a:gd name="connsiteY124" fmla="*/ 459734 h 911823"/>
                <a:gd name="connsiteX125" fmla="*/ 520611 w 724376"/>
                <a:gd name="connsiteY125" fmla="*/ 481567 h 911823"/>
                <a:gd name="connsiteX126" fmla="*/ 520611 w 724376"/>
                <a:gd name="connsiteY126" fmla="*/ 484686 h 911823"/>
                <a:gd name="connsiteX127" fmla="*/ 514376 w 724376"/>
                <a:gd name="connsiteY127" fmla="*/ 490924 h 911823"/>
                <a:gd name="connsiteX128" fmla="*/ 498789 w 724376"/>
                <a:gd name="connsiteY128" fmla="*/ 484686 h 911823"/>
                <a:gd name="connsiteX129" fmla="*/ 476967 w 724376"/>
                <a:gd name="connsiteY129" fmla="*/ 494043 h 911823"/>
                <a:gd name="connsiteX130" fmla="*/ 461380 w 724376"/>
                <a:gd name="connsiteY130" fmla="*/ 534589 h 911823"/>
                <a:gd name="connsiteX131" fmla="*/ 433323 w 724376"/>
                <a:gd name="connsiteY131" fmla="*/ 553303 h 911823"/>
                <a:gd name="connsiteX132" fmla="*/ 370974 w 724376"/>
                <a:gd name="connsiteY132" fmla="*/ 621921 h 911823"/>
                <a:gd name="connsiteX133" fmla="*/ 349152 w 724376"/>
                <a:gd name="connsiteY133" fmla="*/ 656230 h 911823"/>
                <a:gd name="connsiteX134" fmla="*/ 324213 w 724376"/>
                <a:gd name="connsiteY134" fmla="*/ 665587 h 911823"/>
                <a:gd name="connsiteX135" fmla="*/ 296156 w 724376"/>
                <a:gd name="connsiteY135" fmla="*/ 699896 h 911823"/>
                <a:gd name="connsiteX136" fmla="*/ 299273 w 724376"/>
                <a:gd name="connsiteY136" fmla="*/ 727967 h 911823"/>
                <a:gd name="connsiteX137" fmla="*/ 289921 w 724376"/>
                <a:gd name="connsiteY137" fmla="*/ 787228 h 911823"/>
                <a:gd name="connsiteX138" fmla="*/ 286804 w 724376"/>
                <a:gd name="connsiteY138" fmla="*/ 843369 h 911823"/>
                <a:gd name="connsiteX139" fmla="*/ 271217 w 724376"/>
                <a:gd name="connsiteY139" fmla="*/ 858964 h 911823"/>
                <a:gd name="connsiteX140" fmla="*/ 280569 w 724376"/>
                <a:gd name="connsiteY140" fmla="*/ 877678 h 911823"/>
                <a:gd name="connsiteX141" fmla="*/ 258747 w 724376"/>
                <a:gd name="connsiteY141" fmla="*/ 877678 h 911823"/>
                <a:gd name="connsiteX142" fmla="*/ 236925 w 724376"/>
                <a:gd name="connsiteY142" fmla="*/ 905749 h 911823"/>
                <a:gd name="connsiteX143" fmla="*/ 196398 w 724376"/>
                <a:gd name="connsiteY143" fmla="*/ 840250 h 911823"/>
                <a:gd name="connsiteX144" fmla="*/ 168341 w 724376"/>
                <a:gd name="connsiteY144" fmla="*/ 762276 h 911823"/>
                <a:gd name="connsiteX145" fmla="*/ 134050 w 724376"/>
                <a:gd name="connsiteY145" fmla="*/ 668706 h 911823"/>
                <a:gd name="connsiteX146" fmla="*/ 115345 w 724376"/>
                <a:gd name="connsiteY146" fmla="*/ 578255 h 911823"/>
                <a:gd name="connsiteX147" fmla="*/ 115345 w 724376"/>
                <a:gd name="connsiteY147" fmla="*/ 509637 h 911823"/>
                <a:gd name="connsiteX148" fmla="*/ 109110 w 724376"/>
                <a:gd name="connsiteY148" fmla="*/ 484686 h 911823"/>
                <a:gd name="connsiteX149" fmla="*/ 105993 w 724376"/>
                <a:gd name="connsiteY149" fmla="*/ 472210 h 911823"/>
                <a:gd name="connsiteX150" fmla="*/ 96640 w 724376"/>
                <a:gd name="connsiteY150" fmla="*/ 503399 h 911823"/>
                <a:gd name="connsiteX151" fmla="*/ 34292 w 724376"/>
                <a:gd name="connsiteY151" fmla="*/ 490924 h 911823"/>
                <a:gd name="connsiteX152" fmla="*/ 37409 w 724376"/>
                <a:gd name="connsiteY152" fmla="*/ 465972 h 911823"/>
                <a:gd name="connsiteX153" fmla="*/ 43644 w 724376"/>
                <a:gd name="connsiteY153" fmla="*/ 450377 h 911823"/>
                <a:gd name="connsiteX154" fmla="*/ 9352 w 724376"/>
                <a:gd name="connsiteY154" fmla="*/ 437901 h 911823"/>
                <a:gd name="connsiteX155" fmla="*/ 0 w 724376"/>
                <a:gd name="connsiteY155" fmla="*/ 428544 h 911823"/>
                <a:gd name="connsiteX156" fmla="*/ 15587 w 724376"/>
                <a:gd name="connsiteY156" fmla="*/ 412949 h 911823"/>
                <a:gd name="connsiteX157" fmla="*/ 28057 w 724376"/>
                <a:gd name="connsiteY157" fmla="*/ 406711 h 911823"/>
                <a:gd name="connsiteX158" fmla="*/ 46761 w 724376"/>
                <a:gd name="connsiteY158" fmla="*/ 406711 h 911823"/>
                <a:gd name="connsiteX159" fmla="*/ 62349 w 724376"/>
                <a:gd name="connsiteY159" fmla="*/ 406711 h 911823"/>
                <a:gd name="connsiteX160" fmla="*/ 71701 w 724376"/>
                <a:gd name="connsiteY160" fmla="*/ 403592 h 911823"/>
                <a:gd name="connsiteX161" fmla="*/ 71701 w 724376"/>
                <a:gd name="connsiteY161" fmla="*/ 387997 h 911823"/>
                <a:gd name="connsiteX162" fmla="*/ 59231 w 724376"/>
                <a:gd name="connsiteY162" fmla="*/ 359926 h 911823"/>
                <a:gd name="connsiteX163" fmla="*/ 43644 w 724376"/>
                <a:gd name="connsiteY163" fmla="*/ 328736 h 911823"/>
                <a:gd name="connsiteX164" fmla="*/ 43644 w 724376"/>
                <a:gd name="connsiteY164" fmla="*/ 306903 h 911823"/>
                <a:gd name="connsiteX165" fmla="*/ 62349 w 724376"/>
                <a:gd name="connsiteY165" fmla="*/ 291308 h 911823"/>
                <a:gd name="connsiteX166" fmla="*/ 90406 w 724376"/>
                <a:gd name="connsiteY166" fmla="*/ 291308 h 911823"/>
                <a:gd name="connsiteX167" fmla="*/ 99758 w 724376"/>
                <a:gd name="connsiteY167" fmla="*/ 275713 h 911823"/>
                <a:gd name="connsiteX168" fmla="*/ 115345 w 724376"/>
                <a:gd name="connsiteY168" fmla="*/ 256999 h 911823"/>
                <a:gd name="connsiteX169" fmla="*/ 137167 w 724376"/>
                <a:gd name="connsiteY169" fmla="*/ 219571 h 911823"/>
                <a:gd name="connsiteX170" fmla="*/ 149637 w 724376"/>
                <a:gd name="connsiteY170" fmla="*/ 200857 h 911823"/>
                <a:gd name="connsiteX171" fmla="*/ 168341 w 724376"/>
                <a:gd name="connsiteY171" fmla="*/ 154073 h 911823"/>
                <a:gd name="connsiteX172" fmla="*/ 168341 w 724376"/>
                <a:gd name="connsiteY172" fmla="*/ 141597 h 911823"/>
                <a:gd name="connsiteX173" fmla="*/ 164834 w 724376"/>
                <a:gd name="connsiteY173" fmla="*/ 134579 h 911823"/>
                <a:gd name="connsiteX174" fmla="*/ 164676 w 724376"/>
                <a:gd name="connsiteY174" fmla="*/ 133316 h 911823"/>
                <a:gd name="connsiteX175" fmla="*/ 161932 w 724376"/>
                <a:gd name="connsiteY175" fmla="*/ 131603 h 911823"/>
                <a:gd name="connsiteX176" fmla="*/ 158989 w 724376"/>
                <a:gd name="connsiteY176" fmla="*/ 132240 h 911823"/>
                <a:gd name="connsiteX177" fmla="*/ 155482 w 724376"/>
                <a:gd name="connsiteY177" fmla="*/ 128731 h 911823"/>
                <a:gd name="connsiteX178" fmla="*/ 152420 w 724376"/>
                <a:gd name="connsiteY178" fmla="*/ 125667 h 911823"/>
                <a:gd name="connsiteX179" fmla="*/ 141734 w 724376"/>
                <a:gd name="connsiteY179" fmla="*/ 118999 h 911823"/>
                <a:gd name="connsiteX180" fmla="*/ 143363 w 724376"/>
                <a:gd name="connsiteY180" fmla="*/ 98522 h 911823"/>
                <a:gd name="connsiteX181" fmla="*/ 139443 w 724376"/>
                <a:gd name="connsiteY181" fmla="*/ 78762 h 911823"/>
                <a:gd name="connsiteX182" fmla="*/ 142168 w 724376"/>
                <a:gd name="connsiteY182" fmla="*/ 76391 h 911823"/>
                <a:gd name="connsiteX183" fmla="*/ 140869 w 724376"/>
                <a:gd name="connsiteY183" fmla="*/ 73418 h 911823"/>
                <a:gd name="connsiteX184" fmla="*/ 146520 w 724376"/>
                <a:gd name="connsiteY184" fmla="*/ 67911 h 911823"/>
                <a:gd name="connsiteX185" fmla="*/ 151760 w 724376"/>
                <a:gd name="connsiteY185" fmla="*/ 67326 h 911823"/>
                <a:gd name="connsiteX186" fmla="*/ 156802 w 724376"/>
                <a:gd name="connsiteY186" fmla="*/ 60493 h 911823"/>
                <a:gd name="connsiteX187" fmla="*/ 149471 w 724376"/>
                <a:gd name="connsiteY187" fmla="*/ 56961 h 911823"/>
                <a:gd name="connsiteX188" fmla="*/ 149319 w 724376"/>
                <a:gd name="connsiteY188" fmla="*/ 45646 h 911823"/>
                <a:gd name="connsiteX189" fmla="*/ 144177 w 724376"/>
                <a:gd name="connsiteY189" fmla="*/ 47026 h 911823"/>
                <a:gd name="connsiteX190" fmla="*/ 139494 w 724376"/>
                <a:gd name="connsiteY190" fmla="*/ 42831 h 911823"/>
                <a:gd name="connsiteX191" fmla="*/ 133894 w 724376"/>
                <a:gd name="connsiteY191" fmla="*/ 34552 h 911823"/>
                <a:gd name="connsiteX192" fmla="*/ 120964 w 724376"/>
                <a:gd name="connsiteY192" fmla="*/ 32068 h 911823"/>
                <a:gd name="connsiteX193" fmla="*/ 122440 w 724376"/>
                <a:gd name="connsiteY193" fmla="*/ 22961 h 911823"/>
                <a:gd name="connsiteX194" fmla="*/ 130331 w 724376"/>
                <a:gd name="connsiteY194" fmla="*/ 17441 h 911823"/>
                <a:gd name="connsiteX195" fmla="*/ 137712 w 724376"/>
                <a:gd name="connsiteY195" fmla="*/ 8058 h 911823"/>
                <a:gd name="connsiteX196" fmla="*/ 153747 w 724376"/>
                <a:gd name="connsiteY196" fmla="*/ 5630 h 911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</a:cxnLst>
              <a:rect l="l" t="t" r="r" b="b"/>
              <a:pathLst>
                <a:path w="724376" h="911823">
                  <a:moveTo>
                    <a:pt x="167645" y="0"/>
                  </a:moveTo>
                  <a:lnTo>
                    <a:pt x="177724" y="2263"/>
                  </a:lnTo>
                  <a:lnTo>
                    <a:pt x="185716" y="110"/>
                  </a:lnTo>
                  <a:lnTo>
                    <a:pt x="187702" y="6568"/>
                  </a:lnTo>
                  <a:lnTo>
                    <a:pt x="217889" y="29032"/>
                  </a:lnTo>
                  <a:lnTo>
                    <a:pt x="219416" y="37091"/>
                  </a:lnTo>
                  <a:lnTo>
                    <a:pt x="231837" y="41230"/>
                  </a:lnTo>
                  <a:lnTo>
                    <a:pt x="232265" y="43312"/>
                  </a:lnTo>
                  <a:lnTo>
                    <a:pt x="236925" y="38670"/>
                  </a:lnTo>
                  <a:cubicBezTo>
                    <a:pt x="243160" y="38670"/>
                    <a:pt x="243160" y="38670"/>
                    <a:pt x="243160" y="38670"/>
                  </a:cubicBezTo>
                  <a:cubicBezTo>
                    <a:pt x="258747" y="35551"/>
                    <a:pt x="252512" y="29313"/>
                    <a:pt x="271217" y="26194"/>
                  </a:cubicBezTo>
                  <a:cubicBezTo>
                    <a:pt x="280569" y="26194"/>
                    <a:pt x="284466" y="29313"/>
                    <a:pt x="286414" y="32432"/>
                  </a:cubicBezTo>
                  <a:lnTo>
                    <a:pt x="289901" y="38635"/>
                  </a:lnTo>
                  <a:lnTo>
                    <a:pt x="294553" y="39850"/>
                  </a:lnTo>
                  <a:lnTo>
                    <a:pt x="295256" y="40805"/>
                  </a:lnTo>
                  <a:lnTo>
                    <a:pt x="295766" y="41009"/>
                  </a:lnTo>
                  <a:cubicBezTo>
                    <a:pt x="296935" y="42569"/>
                    <a:pt x="297715" y="43349"/>
                    <a:pt x="299273" y="38670"/>
                  </a:cubicBezTo>
                  <a:cubicBezTo>
                    <a:pt x="299273" y="37111"/>
                    <a:pt x="301611" y="37111"/>
                    <a:pt x="302780" y="38670"/>
                  </a:cubicBezTo>
                  <a:lnTo>
                    <a:pt x="299712" y="46855"/>
                  </a:lnTo>
                  <a:lnTo>
                    <a:pt x="300407" y="47798"/>
                  </a:lnTo>
                  <a:lnTo>
                    <a:pt x="299490" y="50745"/>
                  </a:lnTo>
                  <a:lnTo>
                    <a:pt x="300053" y="57774"/>
                  </a:lnTo>
                  <a:cubicBezTo>
                    <a:pt x="300832" y="60503"/>
                    <a:pt x="300832" y="63622"/>
                    <a:pt x="296156" y="69860"/>
                  </a:cubicBezTo>
                  <a:lnTo>
                    <a:pt x="295566" y="70393"/>
                  </a:lnTo>
                  <a:lnTo>
                    <a:pt x="295215" y="76334"/>
                  </a:lnTo>
                  <a:lnTo>
                    <a:pt x="289717" y="77934"/>
                  </a:lnTo>
                  <a:lnTo>
                    <a:pt x="285994" y="80497"/>
                  </a:lnTo>
                  <a:lnTo>
                    <a:pt x="284465" y="83895"/>
                  </a:lnTo>
                  <a:lnTo>
                    <a:pt x="284047" y="84899"/>
                  </a:lnTo>
                  <a:lnTo>
                    <a:pt x="284372" y="90077"/>
                  </a:lnTo>
                  <a:lnTo>
                    <a:pt x="279179" y="95045"/>
                  </a:lnTo>
                  <a:lnTo>
                    <a:pt x="273631" y="94161"/>
                  </a:lnTo>
                  <a:lnTo>
                    <a:pt x="267257" y="96554"/>
                  </a:lnTo>
                  <a:lnTo>
                    <a:pt x="267461" y="97643"/>
                  </a:lnTo>
                  <a:lnTo>
                    <a:pt x="271594" y="106856"/>
                  </a:lnTo>
                  <a:lnTo>
                    <a:pt x="267522" y="109064"/>
                  </a:lnTo>
                  <a:lnTo>
                    <a:pt x="267677" y="110465"/>
                  </a:lnTo>
                  <a:lnTo>
                    <a:pt x="271996" y="115475"/>
                  </a:lnTo>
                  <a:lnTo>
                    <a:pt x="274582" y="117710"/>
                  </a:lnTo>
                  <a:lnTo>
                    <a:pt x="279230" y="118999"/>
                  </a:lnTo>
                  <a:lnTo>
                    <a:pt x="279151" y="121658"/>
                  </a:lnTo>
                  <a:lnTo>
                    <a:pt x="280569" y="122883"/>
                  </a:lnTo>
                  <a:cubicBezTo>
                    <a:pt x="279010" y="124442"/>
                    <a:pt x="281348" y="127561"/>
                    <a:pt x="282517" y="131070"/>
                  </a:cubicBezTo>
                  <a:lnTo>
                    <a:pt x="282658" y="134209"/>
                  </a:lnTo>
                  <a:lnTo>
                    <a:pt x="283557" y="135833"/>
                  </a:lnTo>
                  <a:lnTo>
                    <a:pt x="282753" y="136315"/>
                  </a:lnTo>
                  <a:lnTo>
                    <a:pt x="282761" y="136480"/>
                  </a:lnTo>
                  <a:cubicBezTo>
                    <a:pt x="282127" y="138283"/>
                    <a:pt x="280569" y="140037"/>
                    <a:pt x="277451" y="141597"/>
                  </a:cubicBezTo>
                  <a:cubicBezTo>
                    <a:pt x="274334" y="141597"/>
                    <a:pt x="272776" y="143936"/>
                    <a:pt x="271607" y="145106"/>
                  </a:cubicBezTo>
                  <a:lnTo>
                    <a:pt x="270469" y="143968"/>
                  </a:lnTo>
                  <a:lnTo>
                    <a:pt x="269049" y="144940"/>
                  </a:lnTo>
                  <a:lnTo>
                    <a:pt x="265231" y="142456"/>
                  </a:lnTo>
                  <a:lnTo>
                    <a:pt x="264500" y="139946"/>
                  </a:lnTo>
                  <a:lnTo>
                    <a:pt x="259301" y="137562"/>
                  </a:lnTo>
                  <a:lnTo>
                    <a:pt x="258747" y="138100"/>
                  </a:lnTo>
                  <a:lnTo>
                    <a:pt x="258747" y="144716"/>
                  </a:lnTo>
                  <a:cubicBezTo>
                    <a:pt x="261864" y="150954"/>
                    <a:pt x="268099" y="160311"/>
                    <a:pt x="261864" y="175906"/>
                  </a:cubicBezTo>
                  <a:cubicBezTo>
                    <a:pt x="261864" y="188382"/>
                    <a:pt x="271217" y="169668"/>
                    <a:pt x="277451" y="179025"/>
                  </a:cubicBezTo>
                  <a:cubicBezTo>
                    <a:pt x="286804" y="200857"/>
                    <a:pt x="286804" y="185263"/>
                    <a:pt x="296156" y="194620"/>
                  </a:cubicBezTo>
                  <a:cubicBezTo>
                    <a:pt x="305508" y="203976"/>
                    <a:pt x="317978" y="210214"/>
                    <a:pt x="317978" y="213333"/>
                  </a:cubicBezTo>
                  <a:cubicBezTo>
                    <a:pt x="296156" y="228928"/>
                    <a:pt x="308626" y="232047"/>
                    <a:pt x="299273" y="238285"/>
                  </a:cubicBezTo>
                  <a:cubicBezTo>
                    <a:pt x="296156" y="247642"/>
                    <a:pt x="305508" y="247642"/>
                    <a:pt x="299273" y="253880"/>
                  </a:cubicBezTo>
                  <a:cubicBezTo>
                    <a:pt x="289921" y="256999"/>
                    <a:pt x="305508" y="272594"/>
                    <a:pt x="308626" y="266356"/>
                  </a:cubicBezTo>
                  <a:cubicBezTo>
                    <a:pt x="308626" y="256999"/>
                    <a:pt x="324213" y="275713"/>
                    <a:pt x="333565" y="288189"/>
                  </a:cubicBezTo>
                  <a:cubicBezTo>
                    <a:pt x="349152" y="297546"/>
                    <a:pt x="336683" y="281951"/>
                    <a:pt x="352270" y="297546"/>
                  </a:cubicBezTo>
                  <a:cubicBezTo>
                    <a:pt x="361622" y="306903"/>
                    <a:pt x="358505" y="291308"/>
                    <a:pt x="361622" y="300665"/>
                  </a:cubicBezTo>
                  <a:cubicBezTo>
                    <a:pt x="367857" y="310022"/>
                    <a:pt x="380327" y="300665"/>
                    <a:pt x="389679" y="306903"/>
                  </a:cubicBezTo>
                  <a:cubicBezTo>
                    <a:pt x="395914" y="310022"/>
                    <a:pt x="389679" y="300665"/>
                    <a:pt x="405266" y="306903"/>
                  </a:cubicBezTo>
                  <a:cubicBezTo>
                    <a:pt x="417736" y="316260"/>
                    <a:pt x="405266" y="319379"/>
                    <a:pt x="414618" y="319379"/>
                  </a:cubicBezTo>
                  <a:cubicBezTo>
                    <a:pt x="430206" y="325617"/>
                    <a:pt x="417736" y="328736"/>
                    <a:pt x="430206" y="325617"/>
                  </a:cubicBezTo>
                  <a:cubicBezTo>
                    <a:pt x="439558" y="319379"/>
                    <a:pt x="433323" y="334974"/>
                    <a:pt x="442675" y="328736"/>
                  </a:cubicBezTo>
                  <a:cubicBezTo>
                    <a:pt x="452028" y="325617"/>
                    <a:pt x="458262" y="344331"/>
                    <a:pt x="467615" y="334974"/>
                  </a:cubicBezTo>
                  <a:cubicBezTo>
                    <a:pt x="476967" y="328736"/>
                    <a:pt x="467615" y="344331"/>
                    <a:pt x="480084" y="341212"/>
                  </a:cubicBezTo>
                  <a:cubicBezTo>
                    <a:pt x="495672" y="334974"/>
                    <a:pt x="489437" y="344331"/>
                    <a:pt x="495672" y="334974"/>
                  </a:cubicBezTo>
                  <a:cubicBezTo>
                    <a:pt x="498789" y="319379"/>
                    <a:pt x="489437" y="319379"/>
                    <a:pt x="495672" y="306903"/>
                  </a:cubicBezTo>
                  <a:cubicBezTo>
                    <a:pt x="498789" y="291308"/>
                    <a:pt x="498789" y="297546"/>
                    <a:pt x="495672" y="291308"/>
                  </a:cubicBezTo>
                  <a:cubicBezTo>
                    <a:pt x="529963" y="272594"/>
                    <a:pt x="508141" y="297546"/>
                    <a:pt x="514376" y="310022"/>
                  </a:cubicBezTo>
                  <a:cubicBezTo>
                    <a:pt x="505024" y="316260"/>
                    <a:pt x="520611" y="325617"/>
                    <a:pt x="523728" y="325617"/>
                  </a:cubicBezTo>
                  <a:cubicBezTo>
                    <a:pt x="533081" y="319379"/>
                    <a:pt x="533081" y="334974"/>
                    <a:pt x="548668" y="325617"/>
                  </a:cubicBezTo>
                  <a:cubicBezTo>
                    <a:pt x="561138" y="319379"/>
                    <a:pt x="558020" y="334974"/>
                    <a:pt x="570490" y="325617"/>
                  </a:cubicBezTo>
                  <a:cubicBezTo>
                    <a:pt x="586077" y="319379"/>
                    <a:pt x="579842" y="328736"/>
                    <a:pt x="586077" y="325617"/>
                  </a:cubicBezTo>
                  <a:cubicBezTo>
                    <a:pt x="589195" y="319379"/>
                    <a:pt x="595429" y="328736"/>
                    <a:pt x="595429" y="319379"/>
                  </a:cubicBezTo>
                  <a:cubicBezTo>
                    <a:pt x="589195" y="310022"/>
                    <a:pt x="598547" y="300665"/>
                    <a:pt x="589195" y="306903"/>
                  </a:cubicBezTo>
                  <a:cubicBezTo>
                    <a:pt x="579842" y="306903"/>
                    <a:pt x="579842" y="297546"/>
                    <a:pt x="579842" y="297546"/>
                  </a:cubicBezTo>
                  <a:cubicBezTo>
                    <a:pt x="598547" y="297546"/>
                    <a:pt x="607899" y="291308"/>
                    <a:pt x="607899" y="288189"/>
                  </a:cubicBezTo>
                  <a:cubicBezTo>
                    <a:pt x="607899" y="275713"/>
                    <a:pt x="620369" y="281951"/>
                    <a:pt x="620369" y="272594"/>
                  </a:cubicBezTo>
                  <a:cubicBezTo>
                    <a:pt x="623486" y="263237"/>
                    <a:pt x="632839" y="266356"/>
                    <a:pt x="642191" y="256999"/>
                  </a:cubicBezTo>
                  <a:cubicBezTo>
                    <a:pt x="651543" y="247642"/>
                    <a:pt x="657778" y="241404"/>
                    <a:pt x="660896" y="247642"/>
                  </a:cubicBezTo>
                  <a:cubicBezTo>
                    <a:pt x="670248" y="253880"/>
                    <a:pt x="676483" y="253880"/>
                    <a:pt x="679600" y="247642"/>
                  </a:cubicBezTo>
                  <a:cubicBezTo>
                    <a:pt x="679600" y="241404"/>
                    <a:pt x="695187" y="238285"/>
                    <a:pt x="695187" y="241404"/>
                  </a:cubicBezTo>
                  <a:cubicBezTo>
                    <a:pt x="698305" y="253880"/>
                    <a:pt x="704540" y="241404"/>
                    <a:pt x="698305" y="253880"/>
                  </a:cubicBezTo>
                  <a:cubicBezTo>
                    <a:pt x="688952" y="263237"/>
                    <a:pt x="704540" y="247642"/>
                    <a:pt x="704540" y="256999"/>
                  </a:cubicBezTo>
                  <a:cubicBezTo>
                    <a:pt x="707657" y="272594"/>
                    <a:pt x="685835" y="275713"/>
                    <a:pt x="704540" y="275713"/>
                  </a:cubicBezTo>
                  <a:cubicBezTo>
                    <a:pt x="720127" y="272594"/>
                    <a:pt x="720127" y="275713"/>
                    <a:pt x="723244" y="281951"/>
                  </a:cubicBezTo>
                  <a:cubicBezTo>
                    <a:pt x="729479" y="297546"/>
                    <a:pt x="707657" y="297546"/>
                    <a:pt x="713892" y="306903"/>
                  </a:cubicBezTo>
                  <a:cubicBezTo>
                    <a:pt x="723244" y="319379"/>
                    <a:pt x="720127" y="319379"/>
                    <a:pt x="713892" y="310022"/>
                  </a:cubicBezTo>
                  <a:cubicBezTo>
                    <a:pt x="704540" y="300665"/>
                    <a:pt x="688952" y="316260"/>
                    <a:pt x="679600" y="325617"/>
                  </a:cubicBezTo>
                  <a:cubicBezTo>
                    <a:pt x="670248" y="334974"/>
                    <a:pt x="670248" y="325617"/>
                    <a:pt x="670248" y="334974"/>
                  </a:cubicBezTo>
                  <a:cubicBezTo>
                    <a:pt x="667130" y="344331"/>
                    <a:pt x="676483" y="341212"/>
                    <a:pt x="670248" y="353688"/>
                  </a:cubicBezTo>
                  <a:cubicBezTo>
                    <a:pt x="660896" y="372402"/>
                    <a:pt x="651543" y="372402"/>
                    <a:pt x="657778" y="378640"/>
                  </a:cubicBezTo>
                  <a:cubicBezTo>
                    <a:pt x="667130" y="387997"/>
                    <a:pt x="651543" y="387997"/>
                    <a:pt x="648426" y="406711"/>
                  </a:cubicBezTo>
                  <a:cubicBezTo>
                    <a:pt x="642191" y="431663"/>
                    <a:pt x="642191" y="416068"/>
                    <a:pt x="632839" y="416068"/>
                  </a:cubicBezTo>
                  <a:cubicBezTo>
                    <a:pt x="623486" y="412949"/>
                    <a:pt x="623486" y="403592"/>
                    <a:pt x="623486" y="428544"/>
                  </a:cubicBezTo>
                  <a:cubicBezTo>
                    <a:pt x="629721" y="465972"/>
                    <a:pt x="620369" y="431663"/>
                    <a:pt x="620369" y="456615"/>
                  </a:cubicBezTo>
                  <a:cubicBezTo>
                    <a:pt x="620369" y="465972"/>
                    <a:pt x="623486" y="459734"/>
                    <a:pt x="620369" y="475329"/>
                  </a:cubicBezTo>
                  <a:cubicBezTo>
                    <a:pt x="607899" y="490924"/>
                    <a:pt x="614134" y="465972"/>
                    <a:pt x="604782" y="481567"/>
                  </a:cubicBezTo>
                  <a:cubicBezTo>
                    <a:pt x="604782" y="450377"/>
                    <a:pt x="595429" y="450377"/>
                    <a:pt x="598547" y="431663"/>
                  </a:cubicBezTo>
                  <a:cubicBezTo>
                    <a:pt x="598547" y="422306"/>
                    <a:pt x="589195" y="422306"/>
                    <a:pt x="589195" y="431663"/>
                  </a:cubicBezTo>
                  <a:cubicBezTo>
                    <a:pt x="586077" y="456615"/>
                    <a:pt x="576725" y="450377"/>
                    <a:pt x="570490" y="428544"/>
                  </a:cubicBezTo>
                  <a:cubicBezTo>
                    <a:pt x="567373" y="406711"/>
                    <a:pt x="595429" y="412949"/>
                    <a:pt x="595429" y="394235"/>
                  </a:cubicBezTo>
                  <a:cubicBezTo>
                    <a:pt x="595429" y="378640"/>
                    <a:pt x="607899" y="394235"/>
                    <a:pt x="604782" y="384878"/>
                  </a:cubicBezTo>
                  <a:cubicBezTo>
                    <a:pt x="595429" y="372402"/>
                    <a:pt x="539316" y="384878"/>
                    <a:pt x="539316" y="372402"/>
                  </a:cubicBezTo>
                  <a:cubicBezTo>
                    <a:pt x="539316" y="359926"/>
                    <a:pt x="539316" y="341212"/>
                    <a:pt x="533081" y="350569"/>
                  </a:cubicBezTo>
                  <a:cubicBezTo>
                    <a:pt x="529963" y="363045"/>
                    <a:pt x="523728" y="341212"/>
                    <a:pt x="520611" y="341212"/>
                  </a:cubicBezTo>
                  <a:cubicBezTo>
                    <a:pt x="505024" y="350569"/>
                    <a:pt x="508141" y="334974"/>
                    <a:pt x="505024" y="334974"/>
                  </a:cubicBezTo>
                  <a:cubicBezTo>
                    <a:pt x="498789" y="328736"/>
                    <a:pt x="498789" y="334974"/>
                    <a:pt x="505024" y="341212"/>
                  </a:cubicBezTo>
                  <a:cubicBezTo>
                    <a:pt x="508141" y="341212"/>
                    <a:pt x="486319" y="353688"/>
                    <a:pt x="495672" y="359926"/>
                  </a:cubicBezTo>
                  <a:cubicBezTo>
                    <a:pt x="505024" y="359926"/>
                    <a:pt x="505024" y="369283"/>
                    <a:pt x="508141" y="369283"/>
                  </a:cubicBezTo>
                  <a:cubicBezTo>
                    <a:pt x="514376" y="369283"/>
                    <a:pt x="514376" y="369283"/>
                    <a:pt x="514376" y="372402"/>
                  </a:cubicBezTo>
                  <a:cubicBezTo>
                    <a:pt x="523728" y="384878"/>
                    <a:pt x="498789" y="369283"/>
                    <a:pt x="505024" y="378640"/>
                  </a:cubicBezTo>
                  <a:cubicBezTo>
                    <a:pt x="505024" y="394235"/>
                    <a:pt x="495672" y="378640"/>
                    <a:pt x="495672" y="394235"/>
                  </a:cubicBezTo>
                  <a:cubicBezTo>
                    <a:pt x="489437" y="406711"/>
                    <a:pt x="508141" y="397354"/>
                    <a:pt x="508141" y="412949"/>
                  </a:cubicBezTo>
                  <a:cubicBezTo>
                    <a:pt x="514376" y="428544"/>
                    <a:pt x="498789" y="422306"/>
                    <a:pt x="508141" y="428544"/>
                  </a:cubicBezTo>
                  <a:cubicBezTo>
                    <a:pt x="514376" y="437901"/>
                    <a:pt x="505024" y="441020"/>
                    <a:pt x="514376" y="441020"/>
                  </a:cubicBezTo>
                  <a:cubicBezTo>
                    <a:pt x="520611" y="441020"/>
                    <a:pt x="514376" y="441020"/>
                    <a:pt x="514376" y="459734"/>
                  </a:cubicBezTo>
                  <a:cubicBezTo>
                    <a:pt x="520611" y="472210"/>
                    <a:pt x="520611" y="475329"/>
                    <a:pt x="520611" y="481567"/>
                  </a:cubicBezTo>
                  <a:cubicBezTo>
                    <a:pt x="514376" y="481567"/>
                    <a:pt x="514376" y="481567"/>
                    <a:pt x="520611" y="484686"/>
                  </a:cubicBezTo>
                  <a:cubicBezTo>
                    <a:pt x="523728" y="494043"/>
                    <a:pt x="520611" y="494043"/>
                    <a:pt x="514376" y="490924"/>
                  </a:cubicBezTo>
                  <a:cubicBezTo>
                    <a:pt x="505024" y="490924"/>
                    <a:pt x="498789" y="500281"/>
                    <a:pt x="498789" y="484686"/>
                  </a:cubicBezTo>
                  <a:cubicBezTo>
                    <a:pt x="495672" y="472210"/>
                    <a:pt x="495672" y="484686"/>
                    <a:pt x="476967" y="494043"/>
                  </a:cubicBezTo>
                  <a:cubicBezTo>
                    <a:pt x="452028" y="503399"/>
                    <a:pt x="480084" y="509637"/>
                    <a:pt x="461380" y="534589"/>
                  </a:cubicBezTo>
                  <a:cubicBezTo>
                    <a:pt x="442675" y="559541"/>
                    <a:pt x="448910" y="543946"/>
                    <a:pt x="433323" y="553303"/>
                  </a:cubicBezTo>
                  <a:cubicBezTo>
                    <a:pt x="408384" y="568898"/>
                    <a:pt x="405266" y="590731"/>
                    <a:pt x="370974" y="621921"/>
                  </a:cubicBezTo>
                  <a:cubicBezTo>
                    <a:pt x="336683" y="649992"/>
                    <a:pt x="361622" y="634397"/>
                    <a:pt x="349152" y="656230"/>
                  </a:cubicBezTo>
                  <a:cubicBezTo>
                    <a:pt x="333565" y="668706"/>
                    <a:pt x="327330" y="646873"/>
                    <a:pt x="324213" y="665587"/>
                  </a:cubicBezTo>
                  <a:cubicBezTo>
                    <a:pt x="317978" y="684301"/>
                    <a:pt x="286804" y="659349"/>
                    <a:pt x="296156" y="699896"/>
                  </a:cubicBezTo>
                  <a:cubicBezTo>
                    <a:pt x="305508" y="721729"/>
                    <a:pt x="296156" y="718610"/>
                    <a:pt x="299273" y="727967"/>
                  </a:cubicBezTo>
                  <a:cubicBezTo>
                    <a:pt x="305508" y="762276"/>
                    <a:pt x="299273" y="765395"/>
                    <a:pt x="289921" y="787228"/>
                  </a:cubicBezTo>
                  <a:cubicBezTo>
                    <a:pt x="280569" y="818418"/>
                    <a:pt x="299273" y="843369"/>
                    <a:pt x="286804" y="843369"/>
                  </a:cubicBezTo>
                  <a:cubicBezTo>
                    <a:pt x="268099" y="843369"/>
                    <a:pt x="280569" y="843369"/>
                    <a:pt x="271217" y="858964"/>
                  </a:cubicBezTo>
                  <a:cubicBezTo>
                    <a:pt x="261864" y="874559"/>
                    <a:pt x="280569" y="874559"/>
                    <a:pt x="280569" y="877678"/>
                  </a:cubicBezTo>
                  <a:cubicBezTo>
                    <a:pt x="280569" y="877678"/>
                    <a:pt x="277451" y="874559"/>
                    <a:pt x="258747" y="877678"/>
                  </a:cubicBezTo>
                  <a:cubicBezTo>
                    <a:pt x="243160" y="883916"/>
                    <a:pt x="258747" y="893273"/>
                    <a:pt x="236925" y="905749"/>
                  </a:cubicBezTo>
                  <a:cubicBezTo>
                    <a:pt x="224455" y="927582"/>
                    <a:pt x="205750" y="887035"/>
                    <a:pt x="196398" y="840250"/>
                  </a:cubicBezTo>
                  <a:cubicBezTo>
                    <a:pt x="187046" y="790347"/>
                    <a:pt x="168341" y="790347"/>
                    <a:pt x="168341" y="762276"/>
                  </a:cubicBezTo>
                  <a:cubicBezTo>
                    <a:pt x="162106" y="734205"/>
                    <a:pt x="143402" y="684301"/>
                    <a:pt x="134050" y="668706"/>
                  </a:cubicBezTo>
                  <a:cubicBezTo>
                    <a:pt x="127815" y="659349"/>
                    <a:pt x="124697" y="631278"/>
                    <a:pt x="115345" y="578255"/>
                  </a:cubicBezTo>
                  <a:cubicBezTo>
                    <a:pt x="105993" y="525232"/>
                    <a:pt x="124697" y="528351"/>
                    <a:pt x="115345" y="509637"/>
                  </a:cubicBezTo>
                  <a:cubicBezTo>
                    <a:pt x="105993" y="490924"/>
                    <a:pt x="115345" y="494043"/>
                    <a:pt x="109110" y="484686"/>
                  </a:cubicBezTo>
                  <a:cubicBezTo>
                    <a:pt x="105993" y="475329"/>
                    <a:pt x="118462" y="465972"/>
                    <a:pt x="105993" y="472210"/>
                  </a:cubicBezTo>
                  <a:cubicBezTo>
                    <a:pt x="96640" y="475329"/>
                    <a:pt x="109110" y="494043"/>
                    <a:pt x="96640" y="503399"/>
                  </a:cubicBezTo>
                  <a:cubicBezTo>
                    <a:pt x="68583" y="528351"/>
                    <a:pt x="62349" y="525232"/>
                    <a:pt x="34292" y="490924"/>
                  </a:cubicBezTo>
                  <a:cubicBezTo>
                    <a:pt x="6235" y="450377"/>
                    <a:pt x="18705" y="472210"/>
                    <a:pt x="37409" y="465972"/>
                  </a:cubicBezTo>
                  <a:cubicBezTo>
                    <a:pt x="62349" y="459734"/>
                    <a:pt x="59231" y="441020"/>
                    <a:pt x="43644" y="450377"/>
                  </a:cubicBezTo>
                  <a:cubicBezTo>
                    <a:pt x="34292" y="459734"/>
                    <a:pt x="15587" y="447258"/>
                    <a:pt x="9352" y="437901"/>
                  </a:cubicBezTo>
                  <a:cubicBezTo>
                    <a:pt x="6235" y="428544"/>
                    <a:pt x="0" y="431663"/>
                    <a:pt x="0" y="428544"/>
                  </a:cubicBezTo>
                  <a:cubicBezTo>
                    <a:pt x="0" y="412949"/>
                    <a:pt x="18705" y="422306"/>
                    <a:pt x="15587" y="412949"/>
                  </a:cubicBezTo>
                  <a:cubicBezTo>
                    <a:pt x="15587" y="403592"/>
                    <a:pt x="24939" y="406711"/>
                    <a:pt x="28057" y="406711"/>
                  </a:cubicBezTo>
                  <a:cubicBezTo>
                    <a:pt x="43644" y="403592"/>
                    <a:pt x="43644" y="416068"/>
                    <a:pt x="46761" y="406711"/>
                  </a:cubicBezTo>
                  <a:cubicBezTo>
                    <a:pt x="52996" y="403592"/>
                    <a:pt x="59231" y="397354"/>
                    <a:pt x="62349" y="406711"/>
                  </a:cubicBezTo>
                  <a:cubicBezTo>
                    <a:pt x="62349" y="412949"/>
                    <a:pt x="77936" y="403592"/>
                    <a:pt x="71701" y="403592"/>
                  </a:cubicBezTo>
                  <a:cubicBezTo>
                    <a:pt x="68583" y="397354"/>
                    <a:pt x="77936" y="394235"/>
                    <a:pt x="71701" y="387997"/>
                  </a:cubicBezTo>
                  <a:cubicBezTo>
                    <a:pt x="52996" y="363045"/>
                    <a:pt x="71701" y="363045"/>
                    <a:pt x="59231" y="359926"/>
                  </a:cubicBezTo>
                  <a:cubicBezTo>
                    <a:pt x="37409" y="359926"/>
                    <a:pt x="62349" y="334974"/>
                    <a:pt x="43644" y="328736"/>
                  </a:cubicBezTo>
                  <a:cubicBezTo>
                    <a:pt x="24939" y="328736"/>
                    <a:pt x="34292" y="316260"/>
                    <a:pt x="43644" y="306903"/>
                  </a:cubicBezTo>
                  <a:cubicBezTo>
                    <a:pt x="52996" y="297546"/>
                    <a:pt x="52996" y="275713"/>
                    <a:pt x="62349" y="291308"/>
                  </a:cubicBezTo>
                  <a:cubicBezTo>
                    <a:pt x="68583" y="300665"/>
                    <a:pt x="71701" y="291308"/>
                    <a:pt x="90406" y="291308"/>
                  </a:cubicBezTo>
                  <a:cubicBezTo>
                    <a:pt x="99758" y="291308"/>
                    <a:pt x="90406" y="281951"/>
                    <a:pt x="99758" y="275713"/>
                  </a:cubicBezTo>
                  <a:cubicBezTo>
                    <a:pt x="105993" y="272594"/>
                    <a:pt x="99758" y="263237"/>
                    <a:pt x="115345" y="256999"/>
                  </a:cubicBezTo>
                  <a:cubicBezTo>
                    <a:pt x="127815" y="253880"/>
                    <a:pt x="118462" y="228928"/>
                    <a:pt x="137167" y="219571"/>
                  </a:cubicBezTo>
                  <a:cubicBezTo>
                    <a:pt x="158989" y="213333"/>
                    <a:pt x="137167" y="219571"/>
                    <a:pt x="149637" y="200857"/>
                  </a:cubicBezTo>
                  <a:cubicBezTo>
                    <a:pt x="171459" y="166549"/>
                    <a:pt x="143402" y="166549"/>
                    <a:pt x="168341" y="154073"/>
                  </a:cubicBezTo>
                  <a:cubicBezTo>
                    <a:pt x="187046" y="144716"/>
                    <a:pt x="180811" y="144716"/>
                    <a:pt x="168341" y="141597"/>
                  </a:cubicBezTo>
                  <a:cubicBezTo>
                    <a:pt x="163665" y="141597"/>
                    <a:pt x="164445" y="137698"/>
                    <a:pt x="164834" y="134579"/>
                  </a:cubicBezTo>
                  <a:lnTo>
                    <a:pt x="164676" y="133316"/>
                  </a:lnTo>
                  <a:lnTo>
                    <a:pt x="161932" y="131603"/>
                  </a:lnTo>
                  <a:lnTo>
                    <a:pt x="158989" y="132240"/>
                  </a:lnTo>
                  <a:cubicBezTo>
                    <a:pt x="155872" y="132240"/>
                    <a:pt x="155872" y="130680"/>
                    <a:pt x="155482" y="128731"/>
                  </a:cubicBezTo>
                  <a:lnTo>
                    <a:pt x="152420" y="125667"/>
                  </a:lnTo>
                  <a:lnTo>
                    <a:pt x="141734" y="118999"/>
                  </a:lnTo>
                  <a:lnTo>
                    <a:pt x="143363" y="98522"/>
                  </a:lnTo>
                  <a:lnTo>
                    <a:pt x="139443" y="78762"/>
                  </a:lnTo>
                  <a:lnTo>
                    <a:pt x="142168" y="76391"/>
                  </a:lnTo>
                  <a:lnTo>
                    <a:pt x="140869" y="73418"/>
                  </a:lnTo>
                  <a:cubicBezTo>
                    <a:pt x="141454" y="71322"/>
                    <a:pt x="143402" y="69275"/>
                    <a:pt x="146520" y="67911"/>
                  </a:cubicBezTo>
                  <a:lnTo>
                    <a:pt x="151760" y="67326"/>
                  </a:lnTo>
                  <a:lnTo>
                    <a:pt x="156802" y="60493"/>
                  </a:lnTo>
                  <a:lnTo>
                    <a:pt x="149471" y="56961"/>
                  </a:lnTo>
                  <a:lnTo>
                    <a:pt x="149319" y="45646"/>
                  </a:lnTo>
                  <a:lnTo>
                    <a:pt x="144177" y="47026"/>
                  </a:lnTo>
                  <a:lnTo>
                    <a:pt x="139494" y="42831"/>
                  </a:lnTo>
                  <a:lnTo>
                    <a:pt x="133894" y="34552"/>
                  </a:lnTo>
                  <a:lnTo>
                    <a:pt x="120964" y="32068"/>
                  </a:lnTo>
                  <a:lnTo>
                    <a:pt x="122440" y="22961"/>
                  </a:lnTo>
                  <a:lnTo>
                    <a:pt x="130331" y="17441"/>
                  </a:lnTo>
                  <a:lnTo>
                    <a:pt x="137712" y="8058"/>
                  </a:lnTo>
                  <a:lnTo>
                    <a:pt x="153747" y="563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wrap="square">
              <a:noAutofit/>
            </a:bodyPr>
            <a:lstStyle/>
            <a:p>
              <a:endParaRPr lang="zh-CN" altLang="en-US" dirty="0">
                <a:latin typeface="Lato" panose="020F0502020204030203" pitchFamily="34" charset="0"/>
              </a:endParaRPr>
            </a:p>
          </p:txBody>
        </p:sp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7B2BA7-7089-E874-8161-6C591AFB4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4021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23</TotalTime>
  <Words>98</Words>
  <Application>Microsoft Office PowerPoint</Application>
  <PresentationFormat>Custom</PresentationFormat>
  <Paragraphs>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Symbol</vt:lpstr>
      <vt:lpstr>Lato</vt:lpstr>
      <vt:lpstr>Arial</vt:lpstr>
      <vt:lpstr>Custom Design</vt:lpstr>
      <vt:lpstr>think-cell Slide</vt:lpstr>
      <vt:lpstr>Map Insigh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334</cp:revision>
  <dcterms:created xsi:type="dcterms:W3CDTF">2006-08-16T00:00:00Z</dcterms:created>
  <dcterms:modified xsi:type="dcterms:W3CDTF">2025-10-06T09:27:53Z</dcterms:modified>
  <cp:category/>
  <dc:identifier>DAGkDf5R9EM</dc:identifier>
</cp:coreProperties>
</file>